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4"/>
  </p:notesMasterIdLst>
  <p:sldIdLst>
    <p:sldId id="257" r:id="rId2"/>
    <p:sldId id="258" r:id="rId3"/>
    <p:sldId id="261" r:id="rId4"/>
    <p:sldId id="263" r:id="rId5"/>
    <p:sldId id="264" r:id="rId6"/>
    <p:sldId id="265" r:id="rId7"/>
    <p:sldId id="267" r:id="rId8"/>
    <p:sldId id="268" r:id="rId9"/>
    <p:sldId id="269" r:id="rId10"/>
    <p:sldId id="270" r:id="rId11"/>
    <p:sldId id="385" r:id="rId12"/>
    <p:sldId id="384" r:id="rId13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EF6F0"/>
    <a:srgbClr val="FBE5D6"/>
    <a:srgbClr val="D1B59B"/>
    <a:srgbClr val="E3C09D"/>
    <a:srgbClr val="FFFFFF"/>
    <a:srgbClr val="E8EFF5"/>
    <a:srgbClr val="5F86CD"/>
    <a:srgbClr val="FC9E04"/>
    <a:srgbClr val="FFB601"/>
    <a:srgbClr val="8CAE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3" autoAdjust="0"/>
    <p:restoredTop sz="94660"/>
  </p:normalViewPr>
  <p:slideViewPr>
    <p:cSldViewPr snapToGrid="0" showGuides="1">
      <p:cViewPr varScale="1">
        <p:scale>
          <a:sx n="77" d="100"/>
          <a:sy n="77" d="100"/>
        </p:scale>
        <p:origin x="75" y="111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FF469F-2126-452F-902D-9798AD7F6CBC}" type="datetimeFigureOut">
              <a:rPr lang="zh-CN" altLang="en-US" smtClean="0"/>
              <a:t>2022/10/1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AACA48-CAAF-46B1-BCB9-63A8EBA0C84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822242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BC4399-5C0C-4B37-98D8-7A075A38A321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11320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b="1" dirty="0">
                <a:effectLst/>
              </a:rPr>
              <a:t>（</a:t>
            </a:r>
            <a:r>
              <a:rPr lang="en-US" altLang="zh-CN" b="1" dirty="0">
                <a:effectLst/>
              </a:rPr>
              <a:t>1</a:t>
            </a:r>
            <a:r>
              <a:rPr lang="zh-CN" altLang="en-US" b="1" dirty="0">
                <a:effectLst/>
              </a:rPr>
              <a:t>）规划与规则的辩证关系</a:t>
            </a:r>
            <a:br>
              <a:rPr lang="zh-CN" altLang="en-US" dirty="0">
                <a:effectLst/>
              </a:rPr>
            </a:br>
            <a:r>
              <a:rPr lang="zh-CN" altLang="en-US" dirty="0">
                <a:effectLst/>
              </a:rPr>
              <a:t>有学者提出“规划和规则对各类行为都具有指导作用，而两者不同点在于指导方式的差异”“规划具有未来导向性”“规则具有普遍约束性”。其实规划和规则不是截然孤立的两种指导方式，而是互相关联的辩证统一关系。规划是面向长远的发展计划和一种可能但未必最优的方案，需要制定系统的规则来保证规划的有效执行，因此规划是规则制定要实现的目标，规则是保障规划实现的举措，现实则是按规则执行规划的结果。</a:t>
            </a:r>
            <a:endParaRPr lang="en-US" altLang="zh-CN" sz="1200" b="1" kern="100" dirty="0">
              <a:solidFill>
                <a:srgbClr val="4D81B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楷体_GB2312" panose="02010609030101010101" pitchFamily="49" charset="-12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sz="1200" b="1" kern="100" dirty="0">
              <a:solidFill>
                <a:srgbClr val="4D81B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楷体_GB2312" panose="02010609030101010101" pitchFamily="49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BC4399-5C0C-4B37-98D8-7A075A38A321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869566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b="1" dirty="0">
                <a:effectLst/>
              </a:rPr>
              <a:t>（</a:t>
            </a:r>
            <a:r>
              <a:rPr lang="en-US" altLang="zh-CN" b="1" dirty="0">
                <a:effectLst/>
              </a:rPr>
              <a:t>1</a:t>
            </a:r>
            <a:r>
              <a:rPr lang="zh-CN" altLang="en-US" b="1" dirty="0">
                <a:effectLst/>
              </a:rPr>
              <a:t>）规划与规则的辩证关系</a:t>
            </a:r>
            <a:br>
              <a:rPr lang="zh-CN" altLang="en-US" dirty="0">
                <a:effectLst/>
              </a:rPr>
            </a:br>
            <a:r>
              <a:rPr lang="zh-CN" altLang="en-US" dirty="0">
                <a:effectLst/>
              </a:rPr>
              <a:t>有学者提出“规划和规则对各类行为都具有指导作用，而两者不同点在于指导方式的差异”“规划具有未来导向性”“规则具有普遍约束性”。其实规划和规则不是截然孤立的两种指导方式，而是互相关联的辩证统一关系。规划是面向长远的发展计划和一种可能但未必最优的方案，需要制定系统的规则来保证规划的有效执行，因此规划是规则制定要实现的目标，规则是保障规划实现的举措，现实则是按规则执行规划的结果。</a:t>
            </a:r>
            <a:endParaRPr lang="en-US" altLang="zh-CN" sz="1200" b="1" kern="100" dirty="0">
              <a:solidFill>
                <a:srgbClr val="4D81B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楷体_GB2312" panose="02010609030101010101" pitchFamily="49" charset="-12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sz="1200" b="1" kern="100" dirty="0">
              <a:solidFill>
                <a:srgbClr val="4D81B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楷体_GB2312" panose="02010609030101010101" pitchFamily="49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BC4399-5C0C-4B37-98D8-7A075A38A321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863954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b="1" dirty="0">
                <a:effectLst/>
              </a:rPr>
              <a:t>（</a:t>
            </a:r>
            <a:r>
              <a:rPr lang="en-US" altLang="zh-CN" b="1" dirty="0">
                <a:effectLst/>
              </a:rPr>
              <a:t>1</a:t>
            </a:r>
            <a:r>
              <a:rPr lang="zh-CN" altLang="en-US" b="1" dirty="0">
                <a:effectLst/>
              </a:rPr>
              <a:t>）规划与规则的辩证关系</a:t>
            </a:r>
            <a:br>
              <a:rPr lang="zh-CN" altLang="en-US" dirty="0">
                <a:effectLst/>
              </a:rPr>
            </a:br>
            <a:r>
              <a:rPr lang="zh-CN" altLang="en-US" dirty="0">
                <a:effectLst/>
              </a:rPr>
              <a:t>有学者提出“规划和规则对各类行为都具有指导作用，而两者不同点在于指导方式的差异”“规划具有未来导向性”“规则具有普遍约束性”。其实规划和规则不是截然孤立的两种指导方式，而是互相关联的辩证统一关系。规划是面向长远的发展计划和一种可能但未必最优的方案，需要制定系统的规则来保证规划的有效执行，因此规划是规则制定要实现的目标，规则是保障规划实现的举措，现实则是按规则执行规划的结果。</a:t>
            </a:r>
            <a:endParaRPr lang="en-US" altLang="zh-CN" sz="1200" b="1" kern="100" dirty="0">
              <a:solidFill>
                <a:srgbClr val="4D81B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楷体_GB2312" panose="02010609030101010101" pitchFamily="49" charset="-12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sz="1200" b="1" kern="100" dirty="0">
              <a:solidFill>
                <a:srgbClr val="4D81B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楷体_GB2312" panose="02010609030101010101" pitchFamily="49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BC4399-5C0C-4B37-98D8-7A075A38A321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19710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CB4C8F-8E16-4F1B-97F3-991951FC6A12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71244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强化规划引领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BC4399-5C0C-4B37-98D8-7A075A38A321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43173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sz="1200" b="1" kern="100" dirty="0">
              <a:solidFill>
                <a:srgbClr val="4D81B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楷体_GB2312" panose="02010609030101010101" pitchFamily="49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BC4399-5C0C-4B37-98D8-7A075A38A321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73357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sz="1200" b="1" kern="100" dirty="0">
              <a:solidFill>
                <a:srgbClr val="4D81B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楷体_GB2312" panose="02010609030101010101" pitchFamily="49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BC4399-5C0C-4B37-98D8-7A075A38A321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73996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CB4C8F-8E16-4F1B-97F3-991951FC6A12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00215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sz="1200" b="1" kern="100" dirty="0">
              <a:solidFill>
                <a:srgbClr val="4D81B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楷体_GB2312" panose="02010609030101010101" pitchFamily="49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BC4399-5C0C-4B37-98D8-7A075A38A321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82194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b="1" dirty="0">
                <a:effectLst/>
              </a:rPr>
              <a:t>（</a:t>
            </a:r>
            <a:r>
              <a:rPr lang="en-US" altLang="zh-CN" b="1" dirty="0">
                <a:effectLst/>
              </a:rPr>
              <a:t>1</a:t>
            </a:r>
            <a:r>
              <a:rPr lang="zh-CN" altLang="en-US" b="1" dirty="0">
                <a:effectLst/>
              </a:rPr>
              <a:t>）规划与规则的辩证关系</a:t>
            </a:r>
            <a:br>
              <a:rPr lang="zh-CN" altLang="en-US" dirty="0">
                <a:effectLst/>
              </a:rPr>
            </a:br>
            <a:r>
              <a:rPr lang="zh-CN" altLang="en-US" dirty="0">
                <a:effectLst/>
              </a:rPr>
              <a:t>有学者提出“规划和规则对各类行为都具有指导作用，而两者不同点在于指导方式的差异”“规划具有未来导向性”“规则具有普遍约束性”。其实规划和规则不是截然孤立的两种指导方式，而是互相关联的辩证统一关系。规划是面向长远的发展计划和一种可能但未必最优的方案，需要制定系统的规则来保证规划的有效执行，因此规划是规则制定要实现的目标，规则是保障规划实现的举措，现实则是按规则执行规划的结果。</a:t>
            </a:r>
            <a:endParaRPr lang="en-US" altLang="zh-CN" sz="1200" b="1" kern="100" dirty="0">
              <a:solidFill>
                <a:srgbClr val="4D81B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楷体_GB2312" panose="02010609030101010101" pitchFamily="49" charset="-12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sz="1200" b="1" kern="100" dirty="0">
              <a:solidFill>
                <a:srgbClr val="4D81B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楷体_GB2312" panose="02010609030101010101" pitchFamily="49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BC4399-5C0C-4B37-98D8-7A075A38A321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50796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b="1" dirty="0">
                <a:effectLst/>
              </a:rPr>
              <a:t>（</a:t>
            </a:r>
            <a:r>
              <a:rPr lang="en-US" altLang="zh-CN" b="1" dirty="0">
                <a:effectLst/>
              </a:rPr>
              <a:t>1</a:t>
            </a:r>
            <a:r>
              <a:rPr lang="zh-CN" altLang="en-US" b="1" dirty="0">
                <a:effectLst/>
              </a:rPr>
              <a:t>）规划与规则的辩证关系</a:t>
            </a:r>
            <a:br>
              <a:rPr lang="zh-CN" altLang="en-US" dirty="0">
                <a:effectLst/>
              </a:rPr>
            </a:br>
            <a:r>
              <a:rPr lang="zh-CN" altLang="en-US" dirty="0">
                <a:effectLst/>
              </a:rPr>
              <a:t>有学者提出“规划和规则对各类行为都具有指导作用，而两者不同点在于指导方式的差异”“规划具有未来导向性”“规则具有普遍约束性”。其实规划和规则不是截然孤立的两种指导方式，而是互相关联的辩证统一关系。规划是面向长远的发展计划和一种可能但未必最优的方案，需要制定系统的规则来保证规划的有效执行，因此规划是规则制定要实现的目标，规则是保障规划实现的举措，现实则是按规则执行规划的结果。</a:t>
            </a:r>
            <a:endParaRPr lang="en-US" altLang="zh-CN" sz="1200" b="1" kern="100" dirty="0">
              <a:solidFill>
                <a:srgbClr val="4D81B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楷体_GB2312" panose="02010609030101010101" pitchFamily="49" charset="-12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sz="1200" b="1" kern="100" dirty="0">
              <a:solidFill>
                <a:srgbClr val="4D81B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楷体_GB2312" panose="02010609030101010101" pitchFamily="49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BC4399-5C0C-4B37-98D8-7A075A38A321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97638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DBDDD6A-4696-9559-E300-DF80AE425C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11C66196-A660-495B-551A-AEC7E84279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CFD902CF-CF46-4D3D-0FF7-6750774776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52E2F-9710-43FD-94A0-6B575CF1A599}" type="datetimeFigureOut">
              <a:rPr lang="zh-CN" altLang="en-US" smtClean="0"/>
              <a:t>2022/10/12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F91D7E4C-0AC0-5321-987D-F0348514E1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E4D12EB4-A390-1185-1490-071515CB63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758FDD-E516-4B80-9B54-9661F58B2F3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417688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184035F-434B-97B2-4E76-A9881417DA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EBF77416-72FF-C75F-3900-E0E8E7739B2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EFA3C8F-A87C-1C34-7273-7F7C3CB385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52E2F-9710-43FD-94A0-6B575CF1A599}" type="datetimeFigureOut">
              <a:rPr lang="zh-CN" altLang="en-US" smtClean="0"/>
              <a:t>2022/10/12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CAFAE80A-319F-9ACD-DE89-29599BF908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DD2C6647-E51D-D8F9-23B7-ABDEA26385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758FDD-E516-4B80-9B54-9661F58B2F3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761245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B16E5436-CAA0-8CDA-C224-06BA3904EAA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EB854230-0EA6-FF09-3479-0C7C4B5B286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429CFFE9-A48C-18E1-5FB5-F37FA623E0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52E2F-9710-43FD-94A0-6B575CF1A599}" type="datetimeFigureOut">
              <a:rPr lang="zh-CN" altLang="en-US" smtClean="0"/>
              <a:t>2022/10/12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D0FEA225-0AFB-1425-BEC6-DDE5F1174A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A012FC5C-3537-D5D7-0000-495DABD485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758FDD-E516-4B80-9B54-9661F58B2F3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278249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4CC1482-D927-B689-2B99-39E35BC039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990CB696-FA03-07CA-2998-ECCFFEDDA9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55B61CC8-CF4D-1932-9676-549BD0FB5E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52E2F-9710-43FD-94A0-6B575CF1A599}" type="datetimeFigureOut">
              <a:rPr lang="zh-CN" altLang="en-US" smtClean="0"/>
              <a:t>2022/10/12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94858A86-2A9E-FEDD-84AC-617227F324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C8F00E7-5443-8C32-F8F2-619672BBE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758FDD-E516-4B80-9B54-9661F58B2F3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199538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5839041-9E1F-28D7-CEBB-915DD7D288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20AA18F8-D6CC-3543-A8AA-D087D5C527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5360D170-9D55-2787-3438-786FCA3681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52E2F-9710-43FD-94A0-6B575CF1A599}" type="datetimeFigureOut">
              <a:rPr lang="zh-CN" altLang="en-US" smtClean="0"/>
              <a:t>2022/10/12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555F3942-516B-2A3C-3C0F-2E692ACF02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775D406A-DC81-65BC-464C-83ADC5A4E7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758FDD-E516-4B80-9B54-9661F58B2F3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57626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933836B-D823-9B87-5760-4A40374E04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6B70FB61-3264-00AB-8573-42B8F2602B3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5C09872A-C2EA-9E41-3B77-C2D49231C9F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CC42486F-315B-E813-8FAF-9FE8BAAB3C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52E2F-9710-43FD-94A0-6B575CF1A599}" type="datetimeFigureOut">
              <a:rPr lang="zh-CN" altLang="en-US" smtClean="0"/>
              <a:t>2022/10/12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E9DB26A3-D4E6-DA0C-5F82-99187F6ABF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8A348950-44C4-6A6A-2ED7-BC739E678A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758FDD-E516-4B80-9B54-9661F58B2F3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728573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1E8EE6D-0502-B6F0-D445-7283B2A087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8309BD31-C275-C3A1-AEE8-166FFFFCA4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C71DA7F3-A584-ABD3-C162-62ADAAE9CC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E637C21D-0770-A9F8-6A53-E8602C176AD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82D918AA-0CF2-7703-F5E1-8352C071308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47BDB7A7-2685-FAF3-C461-5D99FCAFED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52E2F-9710-43FD-94A0-6B575CF1A599}" type="datetimeFigureOut">
              <a:rPr lang="zh-CN" altLang="en-US" smtClean="0"/>
              <a:t>2022/10/12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1E55BFA5-7382-DC66-FD4A-56EFF1A83B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DE8F736B-74BC-B852-D15D-47CBEFF90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758FDD-E516-4B80-9B54-9661F58B2F3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197623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F2FD7EB-7432-2623-3FAD-F56745240B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C0B6B2D-6F1A-140F-6E37-4081CBA36E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52E2F-9710-43FD-94A0-6B575CF1A599}" type="datetimeFigureOut">
              <a:rPr lang="zh-CN" altLang="en-US" smtClean="0"/>
              <a:t>2022/10/12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27FD52A8-7FAF-C8E9-1CB7-96AE782418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2503AB3-D65A-6026-DA5E-EE3420D02A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758FDD-E516-4B80-9B54-9661F58B2F3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211240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63854868-0680-C3BF-0BB5-D7E88C1096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52E2F-9710-43FD-94A0-6B575CF1A599}" type="datetimeFigureOut">
              <a:rPr lang="zh-CN" altLang="en-US" smtClean="0"/>
              <a:t>2022/10/12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6FF4768-6FBF-3747-C859-7ECF1A753D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50FF787-925D-6D32-4D1B-7960D642C7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758FDD-E516-4B80-9B54-9661F58B2F3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76397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B1B1788-DCDB-7A02-FE87-DBBA76E193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BC6A8B70-17E1-8CD1-93E4-4CAAB236FE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3115DE42-960D-C148-9777-911CE57B04C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105C5358-0209-52E4-84DB-2373C00397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52E2F-9710-43FD-94A0-6B575CF1A599}" type="datetimeFigureOut">
              <a:rPr lang="zh-CN" altLang="en-US" smtClean="0"/>
              <a:t>2022/10/12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04745701-8FF0-0881-24F2-504F607921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DBDA28EC-7075-BCEA-39A1-2BC48D36DA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758FDD-E516-4B80-9B54-9661F58B2F3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259888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3C85BB0-73DD-0174-6BC0-6C236B98D2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BE6267CB-F8AF-C1B8-46DC-ECCD595D63C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4DEFDF41-78F1-2E85-DDD8-E2ADBCDC095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E638CA73-83A7-91D7-B01B-70875A3D41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52E2F-9710-43FD-94A0-6B575CF1A599}" type="datetimeFigureOut">
              <a:rPr lang="zh-CN" altLang="en-US" smtClean="0"/>
              <a:t>2022/10/12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E3BFEECD-EB04-6EA0-0C14-864FBD9966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C6771322-9B30-025E-C911-8018F25CD3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758FDD-E516-4B80-9B54-9661F58B2F3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016900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E7726A21-1FAD-7E0F-AC01-A30C14323C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1B4880F2-922B-2FAA-832A-FC1F3B1FF5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147866F5-FBD3-8FB2-C70F-05835A2D63E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052E2F-9710-43FD-94A0-6B575CF1A599}" type="datetimeFigureOut">
              <a:rPr lang="zh-CN" altLang="en-US" smtClean="0"/>
              <a:t>2022/10/12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2AD3A059-AF2D-3286-009B-9D618946A8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B89EA8A-7F61-CFC1-AD71-826C04974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758FDD-E516-4B80-9B54-9661F58B2F3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150134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image" Target="../media/image5.png"/><Relationship Id="rId2" Type="http://schemas.openxmlformats.org/officeDocument/2006/relationships/tags" Target="../tags/tag3.xml"/><Relationship Id="rId16" Type="http://schemas.openxmlformats.org/officeDocument/2006/relationships/image" Target="../media/image4.pn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notesSlide" Target="../notesSlides/notesSlide3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4" Type="http://schemas.openxmlformats.org/officeDocument/2006/relationships/image" Target="../media/image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>
            <a:extLst>
              <a:ext uri="{FF2B5EF4-FFF2-40B4-BE49-F238E27FC236}">
                <a16:creationId xmlns:a16="http://schemas.microsoft.com/office/drawing/2014/main" id="{0A69F9D7-1A99-49AC-AFE6-24E99F0FE2AA}"/>
              </a:ext>
            </a:extLst>
          </p:cNvPr>
          <p:cNvGrpSpPr/>
          <p:nvPr/>
        </p:nvGrpSpPr>
        <p:grpSpPr>
          <a:xfrm>
            <a:off x="-1" y="0"/>
            <a:ext cx="4476212" cy="3952240"/>
            <a:chOff x="-1" y="0"/>
            <a:chExt cx="4476212" cy="3952240"/>
          </a:xfrm>
        </p:grpSpPr>
        <p:sp>
          <p:nvSpPr>
            <p:cNvPr id="4" name="矩形 3">
              <a:extLst>
                <a:ext uri="{FF2B5EF4-FFF2-40B4-BE49-F238E27FC236}">
                  <a16:creationId xmlns:a16="http://schemas.microsoft.com/office/drawing/2014/main" id="{299016CB-E9B4-41E4-86D0-F6367D3AD504}"/>
                </a:ext>
              </a:extLst>
            </p:cNvPr>
            <p:cNvSpPr/>
            <p:nvPr/>
          </p:nvSpPr>
          <p:spPr>
            <a:xfrm>
              <a:off x="1" y="0"/>
              <a:ext cx="4476210" cy="3952240"/>
            </a:xfrm>
            <a:prstGeom prst="rect">
              <a:avLst/>
            </a:prstGeom>
            <a:blipFill dpi="0" rotWithShape="1">
              <a:blip r:embed="rId3">
                <a:alphaModFix amt="32000"/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  <p:pic>
          <p:nvPicPr>
            <p:cNvPr id="5" name="图片 4">
              <a:extLst>
                <a:ext uri="{FF2B5EF4-FFF2-40B4-BE49-F238E27FC236}">
                  <a16:creationId xmlns:a16="http://schemas.microsoft.com/office/drawing/2014/main" id="{4F06FCBA-FB36-40BB-81F9-29443AD1DAC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 flipV="1">
              <a:off x="-1" y="0"/>
              <a:ext cx="4476212" cy="3248622"/>
            </a:xfrm>
            <a:prstGeom prst="rect">
              <a:avLst/>
            </a:prstGeom>
          </p:spPr>
        </p:pic>
      </p:grpSp>
      <p:grpSp>
        <p:nvGrpSpPr>
          <p:cNvPr id="6" name="组合 5">
            <a:extLst>
              <a:ext uri="{FF2B5EF4-FFF2-40B4-BE49-F238E27FC236}">
                <a16:creationId xmlns:a16="http://schemas.microsoft.com/office/drawing/2014/main" id="{AA40AC4D-0DD6-4022-B838-BFBD97B1FDC8}"/>
              </a:ext>
            </a:extLst>
          </p:cNvPr>
          <p:cNvGrpSpPr/>
          <p:nvPr/>
        </p:nvGrpSpPr>
        <p:grpSpPr>
          <a:xfrm flipH="1" flipV="1">
            <a:off x="7715791" y="2905760"/>
            <a:ext cx="4476212" cy="3952240"/>
            <a:chOff x="-2" y="0"/>
            <a:chExt cx="4556761" cy="4023360"/>
          </a:xfrm>
        </p:grpSpPr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6BD3927D-6BA2-4908-9FEF-8A4E8717D3B5}"/>
                </a:ext>
              </a:extLst>
            </p:cNvPr>
            <p:cNvSpPr/>
            <p:nvPr/>
          </p:nvSpPr>
          <p:spPr>
            <a:xfrm>
              <a:off x="0" y="0"/>
              <a:ext cx="4556759" cy="4023360"/>
            </a:xfrm>
            <a:prstGeom prst="rect">
              <a:avLst/>
            </a:prstGeom>
            <a:blipFill dpi="0" rotWithShape="1">
              <a:blip r:embed="rId3">
                <a:alphaModFix amt="32000"/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  <p:pic>
          <p:nvPicPr>
            <p:cNvPr id="8" name="图片 7">
              <a:extLst>
                <a:ext uri="{FF2B5EF4-FFF2-40B4-BE49-F238E27FC236}">
                  <a16:creationId xmlns:a16="http://schemas.microsoft.com/office/drawing/2014/main" id="{68EAD783-E556-43ED-A1B7-4A62B85FDBC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 flipV="1">
              <a:off x="-2" y="0"/>
              <a:ext cx="4556761" cy="3307080"/>
            </a:xfrm>
            <a:prstGeom prst="rect">
              <a:avLst/>
            </a:prstGeom>
          </p:spPr>
        </p:pic>
      </p:grpSp>
      <p:sp>
        <p:nvSpPr>
          <p:cNvPr id="10" name="矩形 9">
            <a:extLst>
              <a:ext uri="{FF2B5EF4-FFF2-40B4-BE49-F238E27FC236}">
                <a16:creationId xmlns:a16="http://schemas.microsoft.com/office/drawing/2014/main" id="{A7945934-6B18-4A4E-AABD-A221B3667715}"/>
              </a:ext>
            </a:extLst>
          </p:cNvPr>
          <p:cNvSpPr/>
          <p:nvPr/>
        </p:nvSpPr>
        <p:spPr>
          <a:xfrm>
            <a:off x="3060834" y="3613686"/>
            <a:ext cx="5823284" cy="5232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1200" cap="none" spc="300" normalizeH="0" baseline="0" noProof="0" dirty="0">
                <a:ln>
                  <a:noFill/>
                </a:ln>
                <a:solidFill>
                  <a:srgbClr val="6794BD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（工作思路汇报）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6F167F4E-6FE4-4C6C-AE71-B6C4B68626F2}"/>
              </a:ext>
            </a:extLst>
          </p:cNvPr>
          <p:cNvSpPr txBox="1"/>
          <p:nvPr/>
        </p:nvSpPr>
        <p:spPr>
          <a:xfrm>
            <a:off x="8676903" y="5981455"/>
            <a:ext cx="3515097" cy="7732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D81B1"/>
                </a:solidFill>
                <a:effectLst/>
                <a:uLnTx/>
                <a:uFillTx/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东莞市城建规划设计院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4D81B1"/>
              </a:solidFill>
              <a:effectLst/>
              <a:uLnTx/>
              <a:uFillTx/>
              <a:latin typeface="黑体" panose="02010609060101010101" pitchFamily="49" charset="-122"/>
              <a:ea typeface="黑体" panose="02010609060101010101" pitchFamily="49" charset="-122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4D81B1"/>
                </a:solidFill>
                <a:effectLst/>
                <a:uLnTx/>
                <a:uFillTx/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2022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D81B1"/>
                </a:solidFill>
                <a:effectLst/>
                <a:uLnTx/>
                <a:uFillTx/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年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4D81B1"/>
                </a:solidFill>
                <a:effectLst/>
                <a:uLnTx/>
                <a:uFillTx/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07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D81B1"/>
                </a:solidFill>
                <a:effectLst/>
                <a:uLnTx/>
                <a:uFillTx/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月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4D81B1"/>
              </a:solidFill>
              <a:effectLst/>
              <a:uLnTx/>
              <a:uFillTx/>
              <a:latin typeface="黑体" panose="02010609060101010101" pitchFamily="49" charset="-122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D9624C4A-6C2D-5A57-F001-DB746E1CE98C}"/>
              </a:ext>
            </a:extLst>
          </p:cNvPr>
          <p:cNvSpPr/>
          <p:nvPr/>
        </p:nvSpPr>
        <p:spPr>
          <a:xfrm>
            <a:off x="-1" y="166543"/>
            <a:ext cx="4972051" cy="33855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300" normalizeH="0" baseline="0" noProof="0" dirty="0">
                <a:ln>
                  <a:noFill/>
                </a:ln>
                <a:solidFill>
                  <a:srgbClr val="6794BD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《</a:t>
            </a:r>
            <a:r>
              <a:rPr kumimoji="0" lang="zh-CN" altLang="en-US" sz="1600" b="0" i="0" u="none" strike="noStrike" kern="1200" cap="none" spc="300" normalizeH="0" baseline="0" noProof="0" dirty="0">
                <a:ln>
                  <a:noFill/>
                </a:ln>
                <a:solidFill>
                  <a:srgbClr val="6794BD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东莞市国土空间总体规划</a:t>
            </a:r>
            <a:r>
              <a:rPr kumimoji="0" lang="en-US" altLang="zh-CN" sz="1600" b="0" i="0" u="none" strike="noStrike" kern="1200" cap="none" spc="300" normalizeH="0" baseline="0" noProof="0" dirty="0">
                <a:ln>
                  <a:noFill/>
                </a:ln>
                <a:solidFill>
                  <a:srgbClr val="6794BD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》</a:t>
            </a:r>
            <a:r>
              <a:rPr kumimoji="0" lang="zh-CN" altLang="en-US" sz="1600" b="0" i="0" u="none" strike="noStrike" kern="1200" cap="none" spc="300" normalizeH="0" baseline="0" noProof="0" dirty="0">
                <a:ln>
                  <a:noFill/>
                </a:ln>
                <a:solidFill>
                  <a:srgbClr val="6794BD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专项规划研究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988E0F5E-3C3C-A990-FEFE-8210D05FEDF2}"/>
              </a:ext>
            </a:extLst>
          </p:cNvPr>
          <p:cNvSpPr txBox="1"/>
          <p:nvPr/>
        </p:nvSpPr>
        <p:spPr>
          <a:xfrm>
            <a:off x="959262" y="8354312"/>
            <a:ext cx="10592789" cy="92333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6794BD"/>
                </a:solidFill>
                <a:effectLst/>
                <a:uLnTx/>
                <a:uFillTx/>
                <a:latin typeface="方正水云简体_粗" panose="02000000000000000000" pitchFamily="2" charset="-122"/>
                <a:ea typeface="方正水云简体_粗" panose="02000000000000000000" pitchFamily="2" charset="-122"/>
                <a:cs typeface="+mn-cs"/>
              </a:rPr>
              <a:t>总体规划管理单元划定与管理办法</a:t>
            </a:r>
            <a:endParaRPr kumimoji="0" lang="en-US" altLang="zh-CN" sz="5400" b="1" i="0" u="none" strike="noStrike" kern="1200" cap="none" spc="0" normalizeH="0" baseline="0" noProof="0" dirty="0">
              <a:ln>
                <a:noFill/>
              </a:ln>
              <a:solidFill>
                <a:srgbClr val="6794BD"/>
              </a:solidFill>
              <a:effectLst/>
              <a:uLnTx/>
              <a:uFillTx/>
              <a:latin typeface="方正水云简体_粗" panose="02000000000000000000" pitchFamily="2" charset="-122"/>
              <a:ea typeface="方正水云简体_粗" panose="02000000000000000000" pitchFamily="2" charset="-122"/>
              <a:cs typeface="+mn-cs"/>
            </a:endParaRPr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BA78F18B-0E68-9904-2F9D-55AF796E258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3430" y="2463152"/>
            <a:ext cx="11144454" cy="1457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5608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1680"/>
    </mc:Choice>
    <mc:Fallback xmlns="">
      <p:transition spd="slow" advTm="51680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矩形 55">
            <a:extLst>
              <a:ext uri="{FF2B5EF4-FFF2-40B4-BE49-F238E27FC236}">
                <a16:creationId xmlns:a16="http://schemas.microsoft.com/office/drawing/2014/main" id="{58A7BC58-77AD-8FAB-23BF-92EFF6E98475}"/>
              </a:ext>
            </a:extLst>
          </p:cNvPr>
          <p:cNvSpPr/>
          <p:nvPr/>
        </p:nvSpPr>
        <p:spPr>
          <a:xfrm>
            <a:off x="448396" y="1356280"/>
            <a:ext cx="781176" cy="5501857"/>
          </a:xfrm>
          <a:prstGeom prst="rect">
            <a:avLst/>
          </a:prstGeom>
          <a:solidFill>
            <a:srgbClr val="E8EF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8185B62D-879E-4645-B164-9BA3E69FDF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156339" cy="1020855"/>
          </a:xfrm>
          <a:prstGeom prst="rect">
            <a:avLst/>
          </a:prstGeom>
        </p:spPr>
      </p:pic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3768A16A-6C85-4243-9C3B-39A90672F0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291" y="6461389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651ACD-316E-4365-9FB7-82A7CA47D71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2338A1DD-3E7B-481B-B8AE-C0FA15D0D7EA}"/>
              </a:ext>
            </a:extLst>
          </p:cNvPr>
          <p:cNvSpPr txBox="1"/>
          <p:nvPr/>
        </p:nvSpPr>
        <p:spPr>
          <a:xfrm>
            <a:off x="266727" y="145138"/>
            <a:ext cx="11658545" cy="4996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工作理解</a:t>
            </a:r>
            <a:endParaRPr kumimoji="0" lang="en-US" altLang="zh-CN" sz="2000" b="1" i="0" u="none" strike="noStrike" kern="1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pic>
        <p:nvPicPr>
          <p:cNvPr id="25" name="图片 24">
            <a:extLst>
              <a:ext uri="{FF2B5EF4-FFF2-40B4-BE49-F238E27FC236}">
                <a16:creationId xmlns:a16="http://schemas.microsoft.com/office/drawing/2014/main" id="{75E325CD-B08D-429D-ADA1-4BF75513108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3897" y="266599"/>
            <a:ext cx="2181375" cy="252000"/>
          </a:xfrm>
          <a:prstGeom prst="rect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A5040B18-6B91-A199-5E40-E65DF3EDC52B}"/>
              </a:ext>
            </a:extLst>
          </p:cNvPr>
          <p:cNvSpPr txBox="1"/>
          <p:nvPr/>
        </p:nvSpPr>
        <p:spPr>
          <a:xfrm>
            <a:off x="330119" y="784778"/>
            <a:ext cx="1165854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100" cap="none" spc="0" normalizeH="0" baseline="0" noProof="0" dirty="0">
                <a:ln>
                  <a:noFill/>
                </a:ln>
                <a:solidFill>
                  <a:srgbClr val="4D81B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楷体_GB2312" panose="02010609030101010101" pitchFamily="49" charset="-122"/>
              </a:rPr>
              <a:t>管理单元划定的三个目标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76FDCA7B-D552-FEDC-4A68-1FFAC4A5C408}"/>
              </a:ext>
            </a:extLst>
          </p:cNvPr>
          <p:cNvSpPr/>
          <p:nvPr/>
        </p:nvSpPr>
        <p:spPr>
          <a:xfrm>
            <a:off x="-19412" y="2250611"/>
            <a:ext cx="4335829" cy="7174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7CE13862-FC55-CE67-9A29-5935A70E3EFF}"/>
              </a:ext>
            </a:extLst>
          </p:cNvPr>
          <p:cNvSpPr txBox="1"/>
          <p:nvPr/>
        </p:nvSpPr>
        <p:spPr>
          <a:xfrm>
            <a:off x="428984" y="2364774"/>
            <a:ext cx="3602129" cy="4758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形成一套清晰的空间准则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B4E762FD-8010-3179-E733-7527C1F1E91C}"/>
              </a:ext>
            </a:extLst>
          </p:cNvPr>
          <p:cNvSpPr/>
          <p:nvPr/>
        </p:nvSpPr>
        <p:spPr>
          <a:xfrm>
            <a:off x="-19412" y="1607344"/>
            <a:ext cx="3415375" cy="359653"/>
          </a:xfrm>
          <a:prstGeom prst="rect">
            <a:avLst/>
          </a:prstGeom>
          <a:solidFill>
            <a:srgbClr val="C9D9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4C3CD039-4812-CEA8-11EA-054FFB9CD85D}"/>
              </a:ext>
            </a:extLst>
          </p:cNvPr>
          <p:cNvSpPr txBox="1"/>
          <p:nvPr/>
        </p:nvSpPr>
        <p:spPr>
          <a:xfrm>
            <a:off x="428983" y="1613392"/>
            <a:ext cx="358718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zh-CN" altLang="en-US" sz="1800" b="1" dirty="0">
                <a:solidFill>
                  <a:schemeClr val="tx2">
                    <a:lumMod val="60000"/>
                    <a:lumOff val="40000"/>
                  </a:schemeClr>
                </a:solidFill>
                <a:effectLst/>
                <a:ea typeface="等线" panose="02010600030101010101" pitchFamily="2" charset="-122"/>
                <a:cs typeface="Times New Roman" panose="02020603050405020304" pitchFamily="18" charset="0"/>
              </a:rPr>
              <a:t>建立一个有序的空间秩序</a:t>
            </a: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FB4166D3-9480-CB9D-FCC9-8AAE50FCCE8E}"/>
              </a:ext>
            </a:extLst>
          </p:cNvPr>
          <p:cNvSpPr/>
          <p:nvPr/>
        </p:nvSpPr>
        <p:spPr>
          <a:xfrm>
            <a:off x="-4465" y="3249173"/>
            <a:ext cx="3415375" cy="359653"/>
          </a:xfrm>
          <a:prstGeom prst="rect">
            <a:avLst/>
          </a:prstGeom>
          <a:solidFill>
            <a:srgbClr val="C9D9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FC8B5A0-C1F4-76A6-B592-A7EE8A6A2F3D}"/>
              </a:ext>
            </a:extLst>
          </p:cNvPr>
          <p:cNvSpPr txBox="1"/>
          <p:nvPr/>
        </p:nvSpPr>
        <p:spPr>
          <a:xfrm>
            <a:off x="443930" y="3255221"/>
            <a:ext cx="358718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zh-CN" altLang="zh-CN" b="1" dirty="0">
                <a:solidFill>
                  <a:schemeClr val="tx2">
                    <a:lumMod val="60000"/>
                    <a:lumOff val="40000"/>
                  </a:schemeClr>
                </a:solidFill>
                <a:ea typeface="等线" panose="02010600030101010101" pitchFamily="2" charset="-122"/>
                <a:cs typeface="Times New Roman" panose="02020603050405020304" pitchFamily="18" charset="0"/>
              </a:rPr>
              <a:t>搭建一个稳定的规划平台</a:t>
            </a:r>
            <a:endParaRPr lang="zh-CN" altLang="en-US" b="1" dirty="0">
              <a:solidFill>
                <a:schemeClr val="tx2">
                  <a:lumMod val="60000"/>
                  <a:lumOff val="40000"/>
                </a:schemeClr>
              </a:solidFill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20B7B99C-7B18-D71B-E3E2-084B60BA49B7}"/>
              </a:ext>
            </a:extLst>
          </p:cNvPr>
          <p:cNvSpPr txBox="1"/>
          <p:nvPr/>
        </p:nvSpPr>
        <p:spPr>
          <a:xfrm>
            <a:off x="5709356" y="672822"/>
            <a:ext cx="392974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zh-CN" sz="2800" b="1" kern="1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资源配置与项目准入</a:t>
            </a:r>
            <a:endParaRPr lang="zh-CN" altLang="en-US" sz="2800" b="1" kern="1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FBE1F3C3-B82D-7AEC-16C9-60B638E2D5F8}"/>
              </a:ext>
            </a:extLst>
          </p:cNvPr>
          <p:cNvSpPr txBox="1"/>
          <p:nvPr/>
        </p:nvSpPr>
        <p:spPr>
          <a:xfrm>
            <a:off x="5159573" y="2177174"/>
            <a:ext cx="3415375" cy="1775935"/>
          </a:xfrm>
          <a:prstGeom prst="rect">
            <a:avLst/>
          </a:prstGeom>
          <a:solidFill>
            <a:srgbClr val="FBE5D6">
              <a:alpha val="50196"/>
            </a:srgbClr>
          </a:solidFill>
        </p:spPr>
        <p:txBody>
          <a:bodyPr wrap="square">
            <a:spAutoFit/>
          </a:bodyPr>
          <a:lstStyle/>
          <a:p>
            <a:pPr>
              <a:lnSpc>
                <a:spcPct val="125000"/>
              </a:lnSpc>
            </a:pPr>
            <a:r>
              <a:rPr lang="en-US" altLang="zh-CN" b="1" kern="100" dirty="0">
                <a:solidFill>
                  <a:schemeClr val="tx1">
                    <a:lumMod val="65000"/>
                    <a:lumOff val="35000"/>
                  </a:schemeClr>
                </a:solidFill>
                <a:latin typeface="仿宋" panose="02010609060101010101" pitchFamily="49" charset="-122"/>
                <a:ea typeface="仿宋" panose="02010609060101010101" pitchFamily="49" charset="-122"/>
                <a:cs typeface="Times New Roman" panose="02020603050405020304" pitchFamily="18" charset="0"/>
              </a:rPr>
              <a:t>e.</a:t>
            </a:r>
            <a:r>
              <a:rPr lang="en-US" altLang="zh-CN" sz="1800" b="1" kern="1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仿宋" panose="02010609060101010101" pitchFamily="49" charset="-122"/>
                <a:ea typeface="仿宋" panose="02010609060101010101" pitchFamily="49" charset="-122"/>
                <a:cs typeface="Times New Roman" panose="02020603050405020304" pitchFamily="18" charset="0"/>
              </a:rPr>
              <a:t>g</a:t>
            </a:r>
            <a:r>
              <a:rPr lang="en-US" altLang="zh-CN" b="1" kern="100" dirty="0">
                <a:solidFill>
                  <a:schemeClr val="tx1">
                    <a:lumMod val="65000"/>
                    <a:lumOff val="35000"/>
                  </a:schemeClr>
                </a:solidFill>
                <a:latin typeface="仿宋" panose="02010609060101010101" pitchFamily="49" charset="-122"/>
                <a:ea typeface="仿宋" panose="02010609060101010101" pitchFamily="49" charset="-122"/>
                <a:cs typeface="Times New Roman" panose="02020603050405020304" pitchFamily="18" charset="0"/>
              </a:rPr>
              <a:t>.</a:t>
            </a:r>
            <a:r>
              <a:rPr lang="zh-CN" altLang="en-US" b="1" kern="100" dirty="0">
                <a:solidFill>
                  <a:schemeClr val="tx1">
                    <a:lumMod val="65000"/>
                    <a:lumOff val="35000"/>
                  </a:schemeClr>
                </a:solidFill>
                <a:latin typeface="仿宋" panose="02010609060101010101" pitchFamily="49" charset="-122"/>
                <a:ea typeface="仿宋" panose="02010609060101010101" pitchFamily="49" charset="-122"/>
                <a:cs typeface="Times New Roman" panose="02020603050405020304" pitchFamily="18" charset="0"/>
              </a:rPr>
              <a:t> </a:t>
            </a:r>
            <a:r>
              <a:rPr lang="zh-CN" altLang="zh-CN" sz="1800" b="1" kern="1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仿宋" panose="02010609060101010101" pitchFamily="49" charset="-122"/>
                <a:ea typeface="仿宋" panose="02010609060101010101" pitchFamily="49" charset="-122"/>
                <a:cs typeface="Times New Roman" panose="02020603050405020304" pitchFamily="18" charset="0"/>
              </a:rPr>
              <a:t>新增规模重点投放的区域</a:t>
            </a:r>
            <a:endParaRPr lang="en-US" altLang="zh-CN" sz="1800" b="1" kern="100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仿宋" panose="02010609060101010101" pitchFamily="49" charset="-122"/>
              <a:ea typeface="仿宋" panose="02010609060101010101" pitchFamily="49" charset="-122"/>
              <a:cs typeface="Times New Roman" panose="02020603050405020304" pitchFamily="18" charset="0"/>
            </a:endParaRPr>
          </a:p>
          <a:p>
            <a:pPr>
              <a:lnSpc>
                <a:spcPct val="125000"/>
              </a:lnSpc>
            </a:pPr>
            <a:r>
              <a:rPr lang="zh-CN" altLang="zh-CN" sz="1800" b="1" kern="1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仿宋" panose="02010609060101010101" pitchFamily="49" charset="-122"/>
                <a:ea typeface="仿宋" panose="02010609060101010101" pitchFamily="49" charset="-122"/>
                <a:cs typeface="Times New Roman" panose="02020603050405020304" pitchFamily="18" charset="0"/>
              </a:rPr>
              <a:t>商住类城市更新重点安排的区域</a:t>
            </a:r>
            <a:endParaRPr lang="en-US" altLang="zh-CN" sz="1800" b="1" kern="100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仿宋" panose="02010609060101010101" pitchFamily="49" charset="-122"/>
              <a:ea typeface="仿宋" panose="02010609060101010101" pitchFamily="49" charset="-122"/>
              <a:cs typeface="Times New Roman" panose="02020603050405020304" pitchFamily="18" charset="0"/>
            </a:endParaRPr>
          </a:p>
          <a:p>
            <a:pPr>
              <a:lnSpc>
                <a:spcPct val="125000"/>
              </a:lnSpc>
            </a:pPr>
            <a:r>
              <a:rPr lang="zh-CN" altLang="zh-CN" sz="1800" b="1" kern="1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仿宋" panose="02010609060101010101" pitchFamily="49" charset="-122"/>
                <a:ea typeface="仿宋" panose="02010609060101010101" pitchFamily="49" charset="-122"/>
                <a:cs typeface="Times New Roman" panose="02020603050405020304" pitchFamily="18" charset="0"/>
              </a:rPr>
              <a:t>重点产业项目重点选址的区域</a:t>
            </a:r>
            <a:endParaRPr lang="en-US" altLang="zh-CN" sz="1800" b="1" kern="100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仿宋" panose="02010609060101010101" pitchFamily="49" charset="-122"/>
              <a:ea typeface="仿宋" panose="02010609060101010101" pitchFamily="49" charset="-122"/>
              <a:cs typeface="Times New Roman" panose="02020603050405020304" pitchFamily="18" charset="0"/>
            </a:endParaRPr>
          </a:p>
          <a:p>
            <a:pPr>
              <a:lnSpc>
                <a:spcPct val="125000"/>
              </a:lnSpc>
            </a:pPr>
            <a:r>
              <a:rPr lang="zh-CN" altLang="zh-CN" sz="1800" b="1" kern="1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仿宋" panose="02010609060101010101" pitchFamily="49" charset="-122"/>
                <a:ea typeface="仿宋" panose="02010609060101010101" pitchFamily="49" charset="-122"/>
                <a:cs typeface="Times New Roman" panose="02020603050405020304" pitchFamily="18" charset="0"/>
              </a:rPr>
              <a:t>乡村振兴项目重点安排的区域</a:t>
            </a:r>
            <a:endParaRPr lang="en-US" altLang="zh-CN" sz="1800" b="1" kern="100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仿宋" panose="02010609060101010101" pitchFamily="49" charset="-122"/>
              <a:ea typeface="仿宋" panose="02010609060101010101" pitchFamily="49" charset="-122"/>
              <a:cs typeface="Times New Roman" panose="02020603050405020304" pitchFamily="18" charset="0"/>
            </a:endParaRPr>
          </a:p>
          <a:p>
            <a:pPr>
              <a:lnSpc>
                <a:spcPct val="125000"/>
              </a:lnSpc>
            </a:pPr>
            <a:r>
              <a:rPr lang="en-US" altLang="zh-CN" b="1" kern="100" dirty="0">
                <a:solidFill>
                  <a:schemeClr val="tx1">
                    <a:lumMod val="65000"/>
                    <a:lumOff val="35000"/>
                  </a:schemeClr>
                </a:solidFill>
                <a:latin typeface="仿宋" panose="02010609060101010101" pitchFamily="49" charset="-122"/>
                <a:ea typeface="仿宋" panose="02010609060101010101" pitchFamily="49" charset="-122"/>
                <a:cs typeface="Times New Roman" panose="02020603050405020304" pitchFamily="18" charset="0"/>
              </a:rPr>
              <a:t>……</a:t>
            </a:r>
            <a:endParaRPr lang="zh-CN" altLang="en-US" b="1" dirty="0">
              <a:solidFill>
                <a:schemeClr val="tx1">
                  <a:lumMod val="65000"/>
                  <a:lumOff val="35000"/>
                </a:schemeClr>
              </a:solidFill>
              <a:latin typeface="仿宋" panose="02010609060101010101" pitchFamily="49" charset="-122"/>
              <a:ea typeface="仿宋" panose="02010609060101010101" pitchFamily="49" charset="-122"/>
            </a:endParaRPr>
          </a:p>
        </p:txBody>
      </p:sp>
      <p:sp>
        <p:nvSpPr>
          <p:cNvPr id="17" name="箭头: 下 16">
            <a:extLst>
              <a:ext uri="{FF2B5EF4-FFF2-40B4-BE49-F238E27FC236}">
                <a16:creationId xmlns:a16="http://schemas.microsoft.com/office/drawing/2014/main" id="{E3103C89-23B7-8BB5-247D-6286EF4E7DEA}"/>
              </a:ext>
            </a:extLst>
          </p:cNvPr>
          <p:cNvSpPr/>
          <p:nvPr/>
        </p:nvSpPr>
        <p:spPr>
          <a:xfrm rot="16200000">
            <a:off x="8759931" y="2828131"/>
            <a:ext cx="348343" cy="48491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D74F822B-2ABC-FE4D-ACF1-5CC07CC8B56C}"/>
              </a:ext>
            </a:extLst>
          </p:cNvPr>
          <p:cNvSpPr txBox="1"/>
          <p:nvPr/>
        </p:nvSpPr>
        <p:spPr>
          <a:xfrm>
            <a:off x="9176561" y="2585936"/>
            <a:ext cx="3076877" cy="9734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5000"/>
              </a:lnSpc>
            </a:pPr>
            <a:r>
              <a:rPr lang="zh-CN" altLang="en-US" sz="2400" b="1" kern="1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管理单元功能分区</a:t>
            </a:r>
            <a:endParaRPr lang="en-US" altLang="zh-CN" sz="2400" b="1" kern="1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lnSpc>
                <a:spcPct val="125000"/>
              </a:lnSpc>
            </a:pPr>
            <a:r>
              <a:rPr lang="zh-CN" altLang="en-US" sz="2400" b="1" kern="1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资源项目</a:t>
            </a:r>
            <a:r>
              <a:rPr lang="zh-CN" altLang="en-US" sz="2400" b="1" kern="1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分类投放</a:t>
            </a:r>
            <a:endParaRPr lang="zh-CN" altLang="en-US" sz="24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C6CB0E13-E972-3792-8A10-F3E2B453A801}"/>
              </a:ext>
            </a:extLst>
          </p:cNvPr>
          <p:cNvSpPr txBox="1"/>
          <p:nvPr/>
        </p:nvSpPr>
        <p:spPr>
          <a:xfrm>
            <a:off x="5048033" y="1241442"/>
            <a:ext cx="666127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zh-CN" sz="2400" b="1" kern="100" dirty="0">
                <a:latin typeface="仿宋" panose="02010609060101010101" pitchFamily="49" charset="-122"/>
                <a:ea typeface="仿宋" panose="02010609060101010101" pitchFamily="49" charset="-122"/>
                <a:cs typeface="Times New Roman" panose="02020603050405020304" pitchFamily="18" charset="0"/>
              </a:rPr>
              <a:t>通过管理单元的分类，</a:t>
            </a:r>
            <a:r>
              <a:rPr lang="zh-CN" altLang="en-US" sz="2400" b="1" kern="100" dirty="0">
                <a:latin typeface="仿宋" panose="02010609060101010101" pitchFamily="49" charset="-122"/>
                <a:ea typeface="仿宋" panose="02010609060101010101" pitchFamily="49" charset="-122"/>
                <a:cs typeface="Times New Roman" panose="02020603050405020304" pitchFamily="18" charset="0"/>
              </a:rPr>
              <a:t>明确</a:t>
            </a:r>
            <a:r>
              <a:rPr lang="zh-CN" altLang="zh-CN" sz="2400" b="1" kern="100" dirty="0">
                <a:latin typeface="仿宋" panose="02010609060101010101" pitchFamily="49" charset="-122"/>
                <a:ea typeface="仿宋" panose="02010609060101010101" pitchFamily="49" charset="-122"/>
                <a:cs typeface="Times New Roman" panose="02020603050405020304" pitchFamily="18" charset="0"/>
              </a:rPr>
              <a:t>空间治理规则，</a:t>
            </a:r>
            <a:r>
              <a:rPr lang="zh-CN" altLang="en-US" sz="2400" b="1" kern="100" dirty="0">
                <a:latin typeface="仿宋" panose="02010609060101010101" pitchFamily="49" charset="-122"/>
                <a:ea typeface="仿宋" panose="02010609060101010101" pitchFamily="49" charset="-122"/>
                <a:cs typeface="Times New Roman" panose="02020603050405020304" pitchFamily="18" charset="0"/>
              </a:rPr>
              <a:t>帮助</a:t>
            </a:r>
            <a:r>
              <a:rPr lang="zh-CN" altLang="zh-CN" sz="2400" b="1" kern="100" dirty="0">
                <a:latin typeface="仿宋" panose="02010609060101010101" pitchFamily="49" charset="-122"/>
                <a:ea typeface="仿宋" panose="02010609060101010101" pitchFamily="49" charset="-122"/>
                <a:cs typeface="Times New Roman" panose="02020603050405020304" pitchFamily="18" charset="0"/>
              </a:rPr>
              <a:t>判断一般性项目的符合性</a:t>
            </a:r>
            <a:r>
              <a:rPr lang="zh-CN" altLang="en-US" sz="2400" b="1" kern="100" dirty="0">
                <a:latin typeface="仿宋" panose="02010609060101010101" pitchFamily="49" charset="-122"/>
                <a:ea typeface="仿宋" panose="02010609060101010101" pitchFamily="49" charset="-122"/>
                <a:cs typeface="Times New Roman" panose="02020603050405020304" pitchFamily="18" charset="0"/>
              </a:rPr>
              <a:t>，减少不必要的博弈。</a:t>
            </a:r>
          </a:p>
        </p:txBody>
      </p:sp>
      <p:sp>
        <p:nvSpPr>
          <p:cNvPr id="29" name="Freeform 162">
            <a:extLst>
              <a:ext uri="{FF2B5EF4-FFF2-40B4-BE49-F238E27FC236}">
                <a16:creationId xmlns:a16="http://schemas.microsoft.com/office/drawing/2014/main" id="{59EE30C1-BCF5-D40D-A21C-A631C5662490}"/>
              </a:ext>
            </a:extLst>
          </p:cNvPr>
          <p:cNvSpPr>
            <a:spLocks noEditPoints="1"/>
          </p:cNvSpPr>
          <p:nvPr/>
        </p:nvSpPr>
        <p:spPr bwMode="auto">
          <a:xfrm>
            <a:off x="5159573" y="761283"/>
            <a:ext cx="399924" cy="402821"/>
          </a:xfrm>
          <a:custGeom>
            <a:avLst/>
            <a:gdLst>
              <a:gd name="T0" fmla="*/ 71 w 142"/>
              <a:gd name="T1" fmla="*/ 142 h 142"/>
              <a:gd name="T2" fmla="*/ 0 w 142"/>
              <a:gd name="T3" fmla="*/ 71 h 142"/>
              <a:gd name="T4" fmla="*/ 71 w 142"/>
              <a:gd name="T5" fmla="*/ 0 h 142"/>
              <a:gd name="T6" fmla="*/ 142 w 142"/>
              <a:gd name="T7" fmla="*/ 71 h 142"/>
              <a:gd name="T8" fmla="*/ 71 w 142"/>
              <a:gd name="T9" fmla="*/ 142 h 142"/>
              <a:gd name="T10" fmla="*/ 108 w 142"/>
              <a:gd name="T11" fmla="*/ 75 h 142"/>
              <a:gd name="T12" fmla="*/ 108 w 142"/>
              <a:gd name="T13" fmla="*/ 67 h 142"/>
              <a:gd name="T14" fmla="*/ 66 w 142"/>
              <a:gd name="T15" fmla="*/ 25 h 142"/>
              <a:gd name="T16" fmla="*/ 58 w 142"/>
              <a:gd name="T17" fmla="*/ 25 h 142"/>
              <a:gd name="T18" fmla="*/ 49 w 142"/>
              <a:gd name="T19" fmla="*/ 34 h 142"/>
              <a:gd name="T20" fmla="*/ 49 w 142"/>
              <a:gd name="T21" fmla="*/ 43 h 142"/>
              <a:gd name="T22" fmla="*/ 77 w 142"/>
              <a:gd name="T23" fmla="*/ 71 h 142"/>
              <a:gd name="T24" fmla="*/ 49 w 142"/>
              <a:gd name="T25" fmla="*/ 99 h 142"/>
              <a:gd name="T26" fmla="*/ 49 w 142"/>
              <a:gd name="T27" fmla="*/ 108 h 142"/>
              <a:gd name="T28" fmla="*/ 58 w 142"/>
              <a:gd name="T29" fmla="*/ 117 h 142"/>
              <a:gd name="T30" fmla="*/ 66 w 142"/>
              <a:gd name="T31" fmla="*/ 117 h 142"/>
              <a:gd name="T32" fmla="*/ 108 w 142"/>
              <a:gd name="T33" fmla="*/ 75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42" h="142">
                <a:moveTo>
                  <a:pt x="71" y="142"/>
                </a:moveTo>
                <a:cubicBezTo>
                  <a:pt x="32" y="142"/>
                  <a:pt x="0" y="110"/>
                  <a:pt x="0" y="71"/>
                </a:cubicBezTo>
                <a:cubicBezTo>
                  <a:pt x="0" y="32"/>
                  <a:pt x="32" y="0"/>
                  <a:pt x="71" y="0"/>
                </a:cubicBezTo>
                <a:cubicBezTo>
                  <a:pt x="110" y="0"/>
                  <a:pt x="142" y="32"/>
                  <a:pt x="142" y="71"/>
                </a:cubicBezTo>
                <a:cubicBezTo>
                  <a:pt x="142" y="110"/>
                  <a:pt x="110" y="142"/>
                  <a:pt x="71" y="142"/>
                </a:cubicBezTo>
                <a:close/>
                <a:moveTo>
                  <a:pt x="108" y="75"/>
                </a:moveTo>
                <a:cubicBezTo>
                  <a:pt x="111" y="73"/>
                  <a:pt x="111" y="69"/>
                  <a:pt x="108" y="67"/>
                </a:cubicBezTo>
                <a:cubicBezTo>
                  <a:pt x="66" y="25"/>
                  <a:pt x="66" y="25"/>
                  <a:pt x="66" y="25"/>
                </a:cubicBezTo>
                <a:cubicBezTo>
                  <a:pt x="64" y="22"/>
                  <a:pt x="60" y="22"/>
                  <a:pt x="58" y="25"/>
                </a:cubicBezTo>
                <a:cubicBezTo>
                  <a:pt x="49" y="34"/>
                  <a:pt x="49" y="34"/>
                  <a:pt x="49" y="34"/>
                </a:cubicBezTo>
                <a:cubicBezTo>
                  <a:pt x="46" y="37"/>
                  <a:pt x="46" y="40"/>
                  <a:pt x="49" y="43"/>
                </a:cubicBezTo>
                <a:cubicBezTo>
                  <a:pt x="77" y="71"/>
                  <a:pt x="77" y="71"/>
                  <a:pt x="77" y="71"/>
                </a:cubicBezTo>
                <a:cubicBezTo>
                  <a:pt x="49" y="99"/>
                  <a:pt x="49" y="99"/>
                  <a:pt x="49" y="99"/>
                </a:cubicBezTo>
                <a:cubicBezTo>
                  <a:pt x="46" y="102"/>
                  <a:pt x="46" y="105"/>
                  <a:pt x="49" y="108"/>
                </a:cubicBezTo>
                <a:cubicBezTo>
                  <a:pt x="58" y="117"/>
                  <a:pt x="58" y="117"/>
                  <a:pt x="58" y="117"/>
                </a:cubicBezTo>
                <a:cubicBezTo>
                  <a:pt x="60" y="119"/>
                  <a:pt x="64" y="119"/>
                  <a:pt x="66" y="117"/>
                </a:cubicBezTo>
                <a:lnTo>
                  <a:pt x="108" y="75"/>
                </a:lnTo>
                <a:close/>
              </a:path>
            </a:pathLst>
          </a:custGeom>
          <a:solidFill>
            <a:srgbClr val="A6A6A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68562" tIns="34281" rIns="68562" bIns="34281" numCol="1" anchor="t" anchorCtr="0" compatLnSpc="1"/>
          <a:lstStyle/>
          <a:p>
            <a:endParaRPr lang="en-IN" sz="2700" dirty="0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30" name="Freeform 162">
            <a:extLst>
              <a:ext uri="{FF2B5EF4-FFF2-40B4-BE49-F238E27FC236}">
                <a16:creationId xmlns:a16="http://schemas.microsoft.com/office/drawing/2014/main" id="{08FBA912-F09F-9AE5-78E8-BD84472219A4}"/>
              </a:ext>
            </a:extLst>
          </p:cNvPr>
          <p:cNvSpPr>
            <a:spLocks noEditPoints="1"/>
          </p:cNvSpPr>
          <p:nvPr/>
        </p:nvSpPr>
        <p:spPr bwMode="auto">
          <a:xfrm>
            <a:off x="1951058" y="4313867"/>
            <a:ext cx="399924" cy="402821"/>
          </a:xfrm>
          <a:custGeom>
            <a:avLst/>
            <a:gdLst>
              <a:gd name="T0" fmla="*/ 71 w 142"/>
              <a:gd name="T1" fmla="*/ 142 h 142"/>
              <a:gd name="T2" fmla="*/ 0 w 142"/>
              <a:gd name="T3" fmla="*/ 71 h 142"/>
              <a:gd name="T4" fmla="*/ 71 w 142"/>
              <a:gd name="T5" fmla="*/ 0 h 142"/>
              <a:gd name="T6" fmla="*/ 142 w 142"/>
              <a:gd name="T7" fmla="*/ 71 h 142"/>
              <a:gd name="T8" fmla="*/ 71 w 142"/>
              <a:gd name="T9" fmla="*/ 142 h 142"/>
              <a:gd name="T10" fmla="*/ 108 w 142"/>
              <a:gd name="T11" fmla="*/ 75 h 142"/>
              <a:gd name="T12" fmla="*/ 108 w 142"/>
              <a:gd name="T13" fmla="*/ 67 h 142"/>
              <a:gd name="T14" fmla="*/ 66 w 142"/>
              <a:gd name="T15" fmla="*/ 25 h 142"/>
              <a:gd name="T16" fmla="*/ 58 w 142"/>
              <a:gd name="T17" fmla="*/ 25 h 142"/>
              <a:gd name="T18" fmla="*/ 49 w 142"/>
              <a:gd name="T19" fmla="*/ 34 h 142"/>
              <a:gd name="T20" fmla="*/ 49 w 142"/>
              <a:gd name="T21" fmla="*/ 43 h 142"/>
              <a:gd name="T22" fmla="*/ 77 w 142"/>
              <a:gd name="T23" fmla="*/ 71 h 142"/>
              <a:gd name="T24" fmla="*/ 49 w 142"/>
              <a:gd name="T25" fmla="*/ 99 h 142"/>
              <a:gd name="T26" fmla="*/ 49 w 142"/>
              <a:gd name="T27" fmla="*/ 108 h 142"/>
              <a:gd name="T28" fmla="*/ 58 w 142"/>
              <a:gd name="T29" fmla="*/ 117 h 142"/>
              <a:gd name="T30" fmla="*/ 66 w 142"/>
              <a:gd name="T31" fmla="*/ 117 h 142"/>
              <a:gd name="T32" fmla="*/ 108 w 142"/>
              <a:gd name="T33" fmla="*/ 75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42" h="142">
                <a:moveTo>
                  <a:pt x="71" y="142"/>
                </a:moveTo>
                <a:cubicBezTo>
                  <a:pt x="32" y="142"/>
                  <a:pt x="0" y="110"/>
                  <a:pt x="0" y="71"/>
                </a:cubicBezTo>
                <a:cubicBezTo>
                  <a:pt x="0" y="32"/>
                  <a:pt x="32" y="0"/>
                  <a:pt x="71" y="0"/>
                </a:cubicBezTo>
                <a:cubicBezTo>
                  <a:pt x="110" y="0"/>
                  <a:pt x="142" y="32"/>
                  <a:pt x="142" y="71"/>
                </a:cubicBezTo>
                <a:cubicBezTo>
                  <a:pt x="142" y="110"/>
                  <a:pt x="110" y="142"/>
                  <a:pt x="71" y="142"/>
                </a:cubicBezTo>
                <a:close/>
                <a:moveTo>
                  <a:pt x="108" y="75"/>
                </a:moveTo>
                <a:cubicBezTo>
                  <a:pt x="111" y="73"/>
                  <a:pt x="111" y="69"/>
                  <a:pt x="108" y="67"/>
                </a:cubicBezTo>
                <a:cubicBezTo>
                  <a:pt x="66" y="25"/>
                  <a:pt x="66" y="25"/>
                  <a:pt x="66" y="25"/>
                </a:cubicBezTo>
                <a:cubicBezTo>
                  <a:pt x="64" y="22"/>
                  <a:pt x="60" y="22"/>
                  <a:pt x="58" y="25"/>
                </a:cubicBezTo>
                <a:cubicBezTo>
                  <a:pt x="49" y="34"/>
                  <a:pt x="49" y="34"/>
                  <a:pt x="49" y="34"/>
                </a:cubicBezTo>
                <a:cubicBezTo>
                  <a:pt x="46" y="37"/>
                  <a:pt x="46" y="40"/>
                  <a:pt x="49" y="43"/>
                </a:cubicBezTo>
                <a:cubicBezTo>
                  <a:pt x="77" y="71"/>
                  <a:pt x="77" y="71"/>
                  <a:pt x="77" y="71"/>
                </a:cubicBezTo>
                <a:cubicBezTo>
                  <a:pt x="49" y="99"/>
                  <a:pt x="49" y="99"/>
                  <a:pt x="49" y="99"/>
                </a:cubicBezTo>
                <a:cubicBezTo>
                  <a:pt x="46" y="102"/>
                  <a:pt x="46" y="105"/>
                  <a:pt x="49" y="108"/>
                </a:cubicBezTo>
                <a:cubicBezTo>
                  <a:pt x="58" y="117"/>
                  <a:pt x="58" y="117"/>
                  <a:pt x="58" y="117"/>
                </a:cubicBezTo>
                <a:cubicBezTo>
                  <a:pt x="60" y="119"/>
                  <a:pt x="64" y="119"/>
                  <a:pt x="66" y="117"/>
                </a:cubicBezTo>
                <a:lnTo>
                  <a:pt x="108" y="75"/>
                </a:lnTo>
                <a:close/>
              </a:path>
            </a:pathLst>
          </a:custGeom>
          <a:solidFill>
            <a:srgbClr val="A6A6A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68562" tIns="34281" rIns="68562" bIns="34281" numCol="1" anchor="t" anchorCtr="0" compatLnSpc="1"/>
          <a:lstStyle/>
          <a:p>
            <a:endParaRPr lang="en-IN" sz="2700" dirty="0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5D5B526F-85C4-DBEE-E1E0-F20EA9EEE7E4}"/>
              </a:ext>
            </a:extLst>
          </p:cNvPr>
          <p:cNvSpPr txBox="1"/>
          <p:nvPr/>
        </p:nvSpPr>
        <p:spPr>
          <a:xfrm>
            <a:off x="2481365" y="4273588"/>
            <a:ext cx="392974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zh-CN" sz="2800" b="1" kern="1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资源</a:t>
            </a:r>
            <a:r>
              <a:rPr lang="zh-CN" altLang="en-US" sz="2800" b="1" kern="1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开发</a:t>
            </a:r>
            <a:r>
              <a:rPr lang="zh-CN" altLang="zh-CN" sz="2800" b="1" kern="1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</a:t>
            </a:r>
            <a:r>
              <a:rPr lang="zh-CN" altLang="en-US" sz="2800" b="1" kern="1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时序预控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DD9560B4-532D-29EC-B2BC-8BFCA5A0405D}"/>
              </a:ext>
            </a:extLst>
          </p:cNvPr>
          <p:cNvSpPr/>
          <p:nvPr/>
        </p:nvSpPr>
        <p:spPr>
          <a:xfrm>
            <a:off x="2023629" y="4974420"/>
            <a:ext cx="3614057" cy="1616259"/>
          </a:xfrm>
          <a:prstGeom prst="rect">
            <a:avLst/>
          </a:prstGeom>
          <a:solidFill>
            <a:srgbClr val="FEF6F0"/>
          </a:solidFill>
          <a:ln>
            <a:noFill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F95BE7AB-E0C6-ED23-03F0-AEBEC7A1D19D}"/>
              </a:ext>
            </a:extLst>
          </p:cNvPr>
          <p:cNvSpPr/>
          <p:nvPr/>
        </p:nvSpPr>
        <p:spPr>
          <a:xfrm>
            <a:off x="5773158" y="4974420"/>
            <a:ext cx="2536073" cy="1616259"/>
          </a:xfrm>
          <a:prstGeom prst="rect">
            <a:avLst/>
          </a:prstGeom>
          <a:solidFill>
            <a:srgbClr val="FEF6F0"/>
          </a:solidFill>
          <a:ln>
            <a:noFill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361E21BA-1D3A-93E8-8210-13036BBF8653}"/>
              </a:ext>
            </a:extLst>
          </p:cNvPr>
          <p:cNvSpPr/>
          <p:nvPr/>
        </p:nvSpPr>
        <p:spPr>
          <a:xfrm>
            <a:off x="8444703" y="4974420"/>
            <a:ext cx="3076877" cy="1616259"/>
          </a:xfrm>
          <a:prstGeom prst="rect">
            <a:avLst/>
          </a:prstGeom>
          <a:solidFill>
            <a:srgbClr val="FBE5D6"/>
          </a:solidFill>
          <a:ln>
            <a:noFill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40" name="直接连接符 39">
            <a:extLst>
              <a:ext uri="{FF2B5EF4-FFF2-40B4-BE49-F238E27FC236}">
                <a16:creationId xmlns:a16="http://schemas.microsoft.com/office/drawing/2014/main" id="{E8755249-3D57-1015-D861-2F60101957B6}"/>
              </a:ext>
            </a:extLst>
          </p:cNvPr>
          <p:cNvCxnSpPr>
            <a:cxnSpLocks/>
          </p:cNvCxnSpPr>
          <p:nvPr/>
        </p:nvCxnSpPr>
        <p:spPr>
          <a:xfrm>
            <a:off x="2258054" y="5825873"/>
            <a:ext cx="3191291" cy="21579"/>
          </a:xfrm>
          <a:prstGeom prst="line">
            <a:avLst/>
          </a:prstGeom>
          <a:ln w="57150">
            <a:solidFill>
              <a:srgbClr val="D1B5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文本框 43">
            <a:extLst>
              <a:ext uri="{FF2B5EF4-FFF2-40B4-BE49-F238E27FC236}">
                <a16:creationId xmlns:a16="http://schemas.microsoft.com/office/drawing/2014/main" id="{79D331C1-6577-94C0-46BE-0D2A7815E65A}"/>
              </a:ext>
            </a:extLst>
          </p:cNvPr>
          <p:cNvSpPr txBox="1"/>
          <p:nvPr/>
        </p:nvSpPr>
        <p:spPr>
          <a:xfrm>
            <a:off x="2349440" y="4995705"/>
            <a:ext cx="2962434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zh-CN" sz="2200" b="1" kern="100" dirty="0">
                <a:latin typeface="仿宋" panose="02010609060101010101" pitchFamily="49" charset="-122"/>
                <a:ea typeface="仿宋" panose="02010609060101010101" pitchFamily="49" charset="-122"/>
                <a:cs typeface="Times New Roman" panose="02020603050405020304" pitchFamily="18" charset="0"/>
              </a:rPr>
              <a:t>城镇中心、新型社区</a:t>
            </a:r>
            <a:endParaRPr lang="en-US" altLang="zh-CN" sz="2200" b="1" kern="100" dirty="0">
              <a:latin typeface="仿宋" panose="02010609060101010101" pitchFamily="49" charset="-122"/>
              <a:ea typeface="仿宋" panose="02010609060101010101" pitchFamily="49" charset="-122"/>
              <a:cs typeface="Times New Roman" panose="02020603050405020304" pitchFamily="18" charset="0"/>
            </a:endParaRPr>
          </a:p>
          <a:p>
            <a:pPr algn="ctr"/>
            <a:r>
              <a:rPr lang="zh-CN" altLang="zh-CN" sz="2200" b="1" kern="100" dirty="0">
                <a:latin typeface="仿宋" panose="02010609060101010101" pitchFamily="49" charset="-122"/>
                <a:ea typeface="仿宋" panose="02010609060101010101" pitchFamily="49" charset="-122"/>
                <a:cs typeface="Times New Roman" panose="02020603050405020304" pitchFamily="18" charset="0"/>
              </a:rPr>
              <a:t>以及保护类单元</a:t>
            </a:r>
            <a:endParaRPr lang="zh-CN" altLang="en-US" sz="2200" dirty="0"/>
          </a:p>
        </p:txBody>
      </p:sp>
      <p:sp>
        <p:nvSpPr>
          <p:cNvPr id="45" name="文本框 44">
            <a:extLst>
              <a:ext uri="{FF2B5EF4-FFF2-40B4-BE49-F238E27FC236}">
                <a16:creationId xmlns:a16="http://schemas.microsoft.com/office/drawing/2014/main" id="{07011F18-CECF-406A-38BB-EAFC028F773A}"/>
              </a:ext>
            </a:extLst>
          </p:cNvPr>
          <p:cNvSpPr txBox="1"/>
          <p:nvPr/>
        </p:nvSpPr>
        <p:spPr>
          <a:xfrm>
            <a:off x="2481365" y="5982180"/>
            <a:ext cx="263379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zh-CN" sz="2200" b="1" kern="100" dirty="0">
                <a:latin typeface="仿宋" panose="02010609060101010101" pitchFamily="49" charset="-122"/>
                <a:ea typeface="仿宋" panose="02010609060101010101" pitchFamily="49" charset="-122"/>
                <a:cs typeface="Times New Roman" panose="02020603050405020304" pitchFamily="18" charset="0"/>
              </a:rPr>
              <a:t>产村、旧城单元</a:t>
            </a:r>
            <a:endParaRPr lang="zh-CN" altLang="en-US" sz="2200" dirty="0"/>
          </a:p>
        </p:txBody>
      </p:sp>
      <p:cxnSp>
        <p:nvCxnSpPr>
          <p:cNvPr id="46" name="直接连接符 45">
            <a:extLst>
              <a:ext uri="{FF2B5EF4-FFF2-40B4-BE49-F238E27FC236}">
                <a16:creationId xmlns:a16="http://schemas.microsoft.com/office/drawing/2014/main" id="{3063290D-7862-EC9E-5C2B-193A3FB6B6F3}"/>
              </a:ext>
            </a:extLst>
          </p:cNvPr>
          <p:cNvCxnSpPr>
            <a:cxnSpLocks/>
          </p:cNvCxnSpPr>
          <p:nvPr/>
        </p:nvCxnSpPr>
        <p:spPr>
          <a:xfrm>
            <a:off x="5978378" y="5847452"/>
            <a:ext cx="2125632" cy="0"/>
          </a:xfrm>
          <a:prstGeom prst="line">
            <a:avLst/>
          </a:prstGeom>
          <a:ln w="57150">
            <a:solidFill>
              <a:srgbClr val="D1B5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文本框 47">
            <a:extLst>
              <a:ext uri="{FF2B5EF4-FFF2-40B4-BE49-F238E27FC236}">
                <a16:creationId xmlns:a16="http://schemas.microsoft.com/office/drawing/2014/main" id="{2F6FE44D-6E79-877C-9B3B-1B9E3BDCB93A}"/>
              </a:ext>
            </a:extLst>
          </p:cNvPr>
          <p:cNvSpPr txBox="1"/>
          <p:nvPr/>
        </p:nvSpPr>
        <p:spPr>
          <a:xfrm>
            <a:off x="5730155" y="5247301"/>
            <a:ext cx="263379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2200" b="1" kern="100" dirty="0">
                <a:latin typeface="仿宋" panose="02010609060101010101" pitchFamily="49" charset="-122"/>
                <a:ea typeface="仿宋" panose="02010609060101010101" pitchFamily="49" charset="-122"/>
                <a:cs typeface="Times New Roman" panose="02020603050405020304" pitchFamily="18" charset="0"/>
              </a:rPr>
              <a:t>相对稳定</a:t>
            </a:r>
            <a:endParaRPr lang="zh-CN" altLang="en-US" sz="2200" dirty="0"/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BBE2F1E4-373A-8B2D-7F25-8930F232C3B7}"/>
              </a:ext>
            </a:extLst>
          </p:cNvPr>
          <p:cNvSpPr txBox="1"/>
          <p:nvPr/>
        </p:nvSpPr>
        <p:spPr>
          <a:xfrm>
            <a:off x="5730155" y="5982180"/>
            <a:ext cx="263379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2200" b="1" kern="100" dirty="0">
                <a:latin typeface="仿宋" panose="02010609060101010101" pitchFamily="49" charset="-122"/>
                <a:ea typeface="仿宋" panose="02010609060101010101" pitchFamily="49" charset="-122"/>
                <a:cs typeface="Times New Roman" panose="02020603050405020304" pitchFamily="18" charset="0"/>
              </a:rPr>
              <a:t>过渡性</a:t>
            </a:r>
            <a:endParaRPr lang="zh-CN" altLang="en-US" sz="2200" dirty="0"/>
          </a:p>
        </p:txBody>
      </p:sp>
      <p:cxnSp>
        <p:nvCxnSpPr>
          <p:cNvPr id="50" name="直接连接符 49">
            <a:extLst>
              <a:ext uri="{FF2B5EF4-FFF2-40B4-BE49-F238E27FC236}">
                <a16:creationId xmlns:a16="http://schemas.microsoft.com/office/drawing/2014/main" id="{BFC1926C-E596-63D9-C411-1865BB4DBC56}"/>
              </a:ext>
            </a:extLst>
          </p:cNvPr>
          <p:cNvCxnSpPr>
            <a:cxnSpLocks/>
          </p:cNvCxnSpPr>
          <p:nvPr/>
        </p:nvCxnSpPr>
        <p:spPr>
          <a:xfrm>
            <a:off x="8674517" y="5836662"/>
            <a:ext cx="2630081" cy="0"/>
          </a:xfrm>
          <a:prstGeom prst="line">
            <a:avLst/>
          </a:prstGeom>
          <a:ln w="57150">
            <a:solidFill>
              <a:srgbClr val="FEF6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文本框 52">
            <a:extLst>
              <a:ext uri="{FF2B5EF4-FFF2-40B4-BE49-F238E27FC236}">
                <a16:creationId xmlns:a16="http://schemas.microsoft.com/office/drawing/2014/main" id="{BC12CFB5-1302-5B2E-6457-C4EFE55E1FB8}"/>
              </a:ext>
            </a:extLst>
          </p:cNvPr>
          <p:cNvSpPr txBox="1"/>
          <p:nvPr/>
        </p:nvSpPr>
        <p:spPr>
          <a:xfrm>
            <a:off x="8670806" y="5244262"/>
            <a:ext cx="263379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2200" b="1" kern="100" dirty="0">
                <a:solidFill>
                  <a:srgbClr val="C00000"/>
                </a:solidFill>
                <a:latin typeface="仿宋" panose="02010609060101010101" pitchFamily="49" charset="-122"/>
                <a:ea typeface="仿宋" panose="02010609060101010101" pitchFamily="49" charset="-122"/>
                <a:cs typeface="Times New Roman" panose="02020603050405020304" pitchFamily="18" charset="0"/>
              </a:rPr>
              <a:t>统筹规划</a:t>
            </a:r>
            <a:endParaRPr lang="zh-CN" altLang="en-US" sz="2200" dirty="0">
              <a:solidFill>
                <a:srgbClr val="C00000"/>
              </a:solidFill>
            </a:endParaRPr>
          </a:p>
        </p:txBody>
      </p:sp>
      <p:sp>
        <p:nvSpPr>
          <p:cNvPr id="57" name="文本框 56">
            <a:extLst>
              <a:ext uri="{FF2B5EF4-FFF2-40B4-BE49-F238E27FC236}">
                <a16:creationId xmlns:a16="http://schemas.microsoft.com/office/drawing/2014/main" id="{699EF51B-BA77-2335-0E4B-2BCDEC7B6F08}"/>
              </a:ext>
            </a:extLst>
          </p:cNvPr>
          <p:cNvSpPr txBox="1"/>
          <p:nvPr/>
        </p:nvSpPr>
        <p:spPr>
          <a:xfrm>
            <a:off x="8670806" y="5982159"/>
            <a:ext cx="263379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2200" b="1" kern="100" dirty="0">
                <a:solidFill>
                  <a:srgbClr val="C00000"/>
                </a:solidFill>
                <a:latin typeface="仿宋" panose="02010609060101010101" pitchFamily="49" charset="-122"/>
                <a:ea typeface="仿宋" panose="02010609060101010101" pitchFamily="49" charset="-122"/>
                <a:cs typeface="Times New Roman" panose="02020603050405020304" pitchFamily="18" charset="0"/>
              </a:rPr>
              <a:t>动态调整</a:t>
            </a:r>
            <a:endParaRPr lang="zh-CN" altLang="en-US" sz="22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1272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>
            <a:extLst>
              <a:ext uri="{FF2B5EF4-FFF2-40B4-BE49-F238E27FC236}">
                <a16:creationId xmlns:a16="http://schemas.microsoft.com/office/drawing/2014/main" id="{0BE0D988-1581-8B29-F366-9A34C760E11B}"/>
              </a:ext>
            </a:extLst>
          </p:cNvPr>
          <p:cNvSpPr/>
          <p:nvPr/>
        </p:nvSpPr>
        <p:spPr>
          <a:xfrm>
            <a:off x="448396" y="1356280"/>
            <a:ext cx="781176" cy="5501857"/>
          </a:xfrm>
          <a:prstGeom prst="rect">
            <a:avLst/>
          </a:prstGeom>
          <a:solidFill>
            <a:srgbClr val="E8EF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A66AA3EA-81BE-B391-E305-D88A657CFC5D}"/>
              </a:ext>
            </a:extLst>
          </p:cNvPr>
          <p:cNvSpPr/>
          <p:nvPr/>
        </p:nvSpPr>
        <p:spPr>
          <a:xfrm>
            <a:off x="-3650" y="2891359"/>
            <a:ext cx="4335829" cy="7174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6486CCA0-2946-BDB3-85D0-562DD181608C}"/>
              </a:ext>
            </a:extLst>
          </p:cNvPr>
          <p:cNvSpPr txBox="1"/>
          <p:nvPr/>
        </p:nvSpPr>
        <p:spPr>
          <a:xfrm>
            <a:off x="444746" y="3019704"/>
            <a:ext cx="35871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搭建一个稳定的规划平台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8185B62D-879E-4645-B164-9BA3E69FDF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156339" cy="1020855"/>
          </a:xfrm>
          <a:prstGeom prst="rect">
            <a:avLst/>
          </a:prstGeom>
        </p:spPr>
      </p:pic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3768A16A-6C85-4243-9C3B-39A90672F0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291" y="6461389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651ACD-316E-4365-9FB7-82A7CA47D71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pic>
        <p:nvPicPr>
          <p:cNvPr id="25" name="图片 24">
            <a:extLst>
              <a:ext uri="{FF2B5EF4-FFF2-40B4-BE49-F238E27FC236}">
                <a16:creationId xmlns:a16="http://schemas.microsoft.com/office/drawing/2014/main" id="{75E325CD-B08D-429D-ADA1-4BF75513108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3897" y="266599"/>
            <a:ext cx="2181375" cy="252000"/>
          </a:xfrm>
          <a:prstGeom prst="rect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A5040B18-6B91-A199-5E40-E65DF3EDC52B}"/>
              </a:ext>
            </a:extLst>
          </p:cNvPr>
          <p:cNvSpPr txBox="1"/>
          <p:nvPr/>
        </p:nvSpPr>
        <p:spPr>
          <a:xfrm>
            <a:off x="330119" y="784778"/>
            <a:ext cx="1165854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100" cap="none" spc="0" normalizeH="0" baseline="0" noProof="0" dirty="0">
                <a:ln>
                  <a:noFill/>
                </a:ln>
                <a:solidFill>
                  <a:srgbClr val="4D81B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楷体_GB2312" panose="02010609030101010101" pitchFamily="49" charset="-122"/>
              </a:rPr>
              <a:t>管理单元划定的三个目标</a:t>
            </a: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4685FDF5-2C15-6829-3391-C9DDB8F21D43}"/>
              </a:ext>
            </a:extLst>
          </p:cNvPr>
          <p:cNvSpPr/>
          <p:nvPr/>
        </p:nvSpPr>
        <p:spPr>
          <a:xfrm>
            <a:off x="-3649" y="2264117"/>
            <a:ext cx="3415375" cy="359653"/>
          </a:xfrm>
          <a:prstGeom prst="rect">
            <a:avLst/>
          </a:prstGeom>
          <a:solidFill>
            <a:srgbClr val="C9D9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DA9C061A-7E20-9311-6B20-AB66B4ACC04A}"/>
              </a:ext>
            </a:extLst>
          </p:cNvPr>
          <p:cNvSpPr txBox="1"/>
          <p:nvPr/>
        </p:nvSpPr>
        <p:spPr>
          <a:xfrm>
            <a:off x="444746" y="2270165"/>
            <a:ext cx="358718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zh-CN" altLang="zh-CN" sz="1800" b="1" dirty="0">
                <a:solidFill>
                  <a:schemeClr val="tx2">
                    <a:lumMod val="60000"/>
                    <a:lumOff val="40000"/>
                  </a:schemeClr>
                </a:solidFill>
                <a:effectLst/>
                <a:ea typeface="等线" panose="02010600030101010101" pitchFamily="2" charset="-122"/>
                <a:cs typeface="Times New Roman" panose="02020603050405020304" pitchFamily="18" charset="0"/>
              </a:rPr>
              <a:t>形成一套清晰的空间准则</a:t>
            </a:r>
            <a:endParaRPr lang="zh-CN" altLang="en-US" sz="2200" dirty="0">
              <a:solidFill>
                <a:schemeClr val="tx2">
                  <a:lumMod val="60000"/>
                  <a:lumOff val="4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D2E3EE46-1262-32EF-8FF9-39C0256EE337}"/>
              </a:ext>
            </a:extLst>
          </p:cNvPr>
          <p:cNvSpPr/>
          <p:nvPr/>
        </p:nvSpPr>
        <p:spPr>
          <a:xfrm>
            <a:off x="-15482" y="1611588"/>
            <a:ext cx="3415375" cy="359653"/>
          </a:xfrm>
          <a:prstGeom prst="rect">
            <a:avLst/>
          </a:prstGeom>
          <a:solidFill>
            <a:srgbClr val="C9D9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78B62D89-9304-E68C-242A-76CB47976FFE}"/>
              </a:ext>
            </a:extLst>
          </p:cNvPr>
          <p:cNvSpPr txBox="1"/>
          <p:nvPr/>
        </p:nvSpPr>
        <p:spPr>
          <a:xfrm>
            <a:off x="432913" y="1617636"/>
            <a:ext cx="358718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zh-CN" altLang="en-US" sz="1800" b="1" dirty="0">
                <a:solidFill>
                  <a:schemeClr val="tx2">
                    <a:lumMod val="60000"/>
                    <a:lumOff val="40000"/>
                  </a:schemeClr>
                </a:solidFill>
                <a:effectLst/>
                <a:ea typeface="等线" panose="02010600030101010101" pitchFamily="2" charset="-122"/>
                <a:cs typeface="Times New Roman" panose="02020603050405020304" pitchFamily="18" charset="0"/>
              </a:rPr>
              <a:t>建立一个有序的空间秩序</a:t>
            </a:r>
          </a:p>
        </p:txBody>
      </p:sp>
      <p:graphicFrame>
        <p:nvGraphicFramePr>
          <p:cNvPr id="263" name="表格 263">
            <a:extLst>
              <a:ext uri="{FF2B5EF4-FFF2-40B4-BE49-F238E27FC236}">
                <a16:creationId xmlns:a16="http://schemas.microsoft.com/office/drawing/2014/main" id="{FE8D2486-821E-188A-DFF5-391B6415EBB2}"/>
              </a:ext>
            </a:extLst>
          </p:cNvPr>
          <p:cNvGraphicFramePr>
            <a:graphicFrameLocks noGrp="1"/>
          </p:cNvGraphicFramePr>
          <p:nvPr/>
        </p:nvGraphicFramePr>
        <p:xfrm>
          <a:off x="4842531" y="1343442"/>
          <a:ext cx="7084315" cy="31974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7832">
                  <a:extLst>
                    <a:ext uri="{9D8B030D-6E8A-4147-A177-3AD203B41FA5}">
                      <a16:colId xmlns:a16="http://schemas.microsoft.com/office/drawing/2014/main" val="3702172394"/>
                    </a:ext>
                  </a:extLst>
                </a:gridCol>
                <a:gridCol w="1927862">
                  <a:extLst>
                    <a:ext uri="{9D8B030D-6E8A-4147-A177-3AD203B41FA5}">
                      <a16:colId xmlns:a16="http://schemas.microsoft.com/office/drawing/2014/main" val="3352871449"/>
                    </a:ext>
                  </a:extLst>
                </a:gridCol>
                <a:gridCol w="2289111">
                  <a:extLst>
                    <a:ext uri="{9D8B030D-6E8A-4147-A177-3AD203B41FA5}">
                      <a16:colId xmlns:a16="http://schemas.microsoft.com/office/drawing/2014/main" val="3091148208"/>
                    </a:ext>
                  </a:extLst>
                </a:gridCol>
                <a:gridCol w="1679510">
                  <a:extLst>
                    <a:ext uri="{9D8B030D-6E8A-4147-A177-3AD203B41FA5}">
                      <a16:colId xmlns:a16="http://schemas.microsoft.com/office/drawing/2014/main" val="72681891"/>
                    </a:ext>
                  </a:extLst>
                </a:gridCol>
              </a:tblGrid>
              <a:tr h="799364">
                <a:tc>
                  <a:txBody>
                    <a:bodyPr/>
                    <a:lstStyle/>
                    <a:p>
                      <a:pPr algn="ctr"/>
                      <a:r>
                        <a:rPr lang="zh-CN" altLang="zh-CN" sz="1600" b="1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底线</a:t>
                      </a:r>
                      <a:endParaRPr lang="zh-CN" altLang="en-US" sz="16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zh-CN" sz="1600" b="1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三区三线</a:t>
                      </a:r>
                      <a:endParaRPr lang="zh-CN" altLang="en-US" sz="16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zh-CN" sz="1600" b="1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框定不能走出去与</a:t>
                      </a:r>
                      <a:endParaRPr lang="en-US" altLang="zh-CN" sz="1600" b="1" kern="1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zh-CN" altLang="zh-CN" sz="1600" b="1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不能走进去</a:t>
                      </a:r>
                      <a:endParaRPr lang="zh-CN" altLang="en-US" sz="16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zh-CN" sz="1600" b="1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自然约束要素</a:t>
                      </a:r>
                      <a:endParaRPr lang="zh-CN" altLang="en-US" sz="16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2868102"/>
                  </a:ext>
                </a:extLst>
              </a:tr>
              <a:tr h="799364">
                <a:tc>
                  <a:txBody>
                    <a:bodyPr/>
                    <a:lstStyle/>
                    <a:p>
                      <a:pPr algn="ctr"/>
                      <a:r>
                        <a:rPr lang="zh-CN" altLang="zh-CN" sz="1600" b="1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规则</a:t>
                      </a:r>
                      <a:endParaRPr lang="zh-CN" altLang="en-US" sz="16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zh-CN" sz="1600" b="1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管理单元</a:t>
                      </a:r>
                      <a:endParaRPr lang="zh-CN" altLang="en-US" sz="16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zh-CN" sz="1600" b="1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制定有序的秩序与</a:t>
                      </a:r>
                      <a:endParaRPr lang="en-US" altLang="zh-CN" sz="1600" b="1" kern="1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zh-CN" altLang="zh-CN" sz="1600" b="1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清晰的规则</a:t>
                      </a:r>
                      <a:endParaRPr lang="zh-CN" altLang="en-US" sz="16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zh-CN" sz="1600" b="1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城市约束要素</a:t>
                      </a:r>
                      <a:endParaRPr lang="zh-CN" altLang="en-US" sz="16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7805355"/>
                  </a:ext>
                </a:extLst>
              </a:tr>
              <a:tr h="799364">
                <a:tc>
                  <a:txBody>
                    <a:bodyPr/>
                    <a:lstStyle/>
                    <a:p>
                      <a:pPr algn="ctr"/>
                      <a:r>
                        <a:rPr lang="zh-CN" altLang="zh-CN" sz="1600" b="1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规划</a:t>
                      </a:r>
                      <a:endParaRPr lang="zh-CN" altLang="en-US" sz="16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zh-CN" sz="1600" b="1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详细规划</a:t>
                      </a:r>
                      <a:endParaRPr lang="zh-CN" altLang="en-US" sz="16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zh-CN" sz="1600" b="1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落实具体地块用地</a:t>
                      </a:r>
                      <a:endParaRPr lang="en-US" altLang="zh-CN" sz="1600" b="1" kern="1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zh-CN" altLang="zh-CN" sz="1600" b="1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功能与指标</a:t>
                      </a:r>
                      <a:endParaRPr lang="zh-CN" altLang="en-US" sz="16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zh-CN" sz="1600" b="1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利益博弈过程</a:t>
                      </a:r>
                      <a:endParaRPr lang="zh-CN" altLang="en-US" sz="16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9389062"/>
                  </a:ext>
                </a:extLst>
              </a:tr>
              <a:tr h="799364">
                <a:tc>
                  <a:txBody>
                    <a:bodyPr/>
                    <a:lstStyle/>
                    <a:p>
                      <a:pPr algn="ctr"/>
                      <a:r>
                        <a:rPr lang="zh-CN" altLang="zh-CN" sz="1600" b="1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设计</a:t>
                      </a:r>
                      <a:endParaRPr lang="zh-CN" altLang="en-US" sz="16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zh-CN" sz="1600" b="1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城市设计</a:t>
                      </a:r>
                      <a:endParaRPr lang="zh-CN" altLang="en-US" sz="16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6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zh-CN" sz="1600" b="1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空间形态最优</a:t>
                      </a:r>
                      <a:endParaRPr lang="zh-CN" altLang="en-US" sz="16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4071762"/>
                  </a:ext>
                </a:extLst>
              </a:tr>
            </a:tbl>
          </a:graphicData>
        </a:graphic>
      </p:graphicFrame>
      <p:graphicFrame>
        <p:nvGraphicFramePr>
          <p:cNvPr id="3" name="表格 4">
            <a:extLst>
              <a:ext uri="{FF2B5EF4-FFF2-40B4-BE49-F238E27FC236}">
                <a16:creationId xmlns:a16="http://schemas.microsoft.com/office/drawing/2014/main" id="{D69C991D-5900-F924-1E71-01053E737E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1839203"/>
              </p:ext>
            </p:extLst>
          </p:nvPr>
        </p:nvGraphicFramePr>
        <p:xfrm>
          <a:off x="6036119" y="1246443"/>
          <a:ext cx="1912669" cy="3415408"/>
        </p:xfrm>
        <a:graphic>
          <a:graphicData uri="http://schemas.openxmlformats.org/drawingml/2006/table">
            <a:tbl>
              <a:tblPr firstRow="1" bandRow="1"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1912669">
                  <a:extLst>
                    <a:ext uri="{9D8B030D-6E8A-4147-A177-3AD203B41FA5}">
                      <a16:colId xmlns:a16="http://schemas.microsoft.com/office/drawing/2014/main" val="2125754838"/>
                    </a:ext>
                  </a:extLst>
                </a:gridCol>
              </a:tblGrid>
              <a:tr h="853852">
                <a:tc>
                  <a:txBody>
                    <a:bodyPr/>
                    <a:lstStyle/>
                    <a:p>
                      <a:pPr algn="ctr"/>
                      <a:r>
                        <a:rPr lang="zh-CN" altLang="zh-CN" sz="2000" b="1" kern="1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三区三线</a:t>
                      </a:r>
                      <a:endParaRPr lang="zh-CN" altLang="en-US" sz="20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283203"/>
                  </a:ext>
                </a:extLst>
              </a:tr>
              <a:tr h="853852">
                <a:tc>
                  <a:txBody>
                    <a:bodyPr/>
                    <a:lstStyle/>
                    <a:p>
                      <a:pPr algn="ctr"/>
                      <a:r>
                        <a:rPr lang="zh-CN" altLang="zh-CN" sz="2000" b="1" kern="1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管理单元</a:t>
                      </a:r>
                      <a:endParaRPr lang="zh-CN" altLang="en-US" sz="20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9046712"/>
                  </a:ext>
                </a:extLst>
              </a:tr>
              <a:tr h="853852">
                <a:tc>
                  <a:txBody>
                    <a:bodyPr/>
                    <a:lstStyle/>
                    <a:p>
                      <a:pPr algn="ctr"/>
                      <a:r>
                        <a:rPr lang="zh-CN" altLang="zh-CN" sz="2000" b="1" kern="1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详细规划</a:t>
                      </a:r>
                      <a:endParaRPr lang="zh-CN" altLang="en-US" sz="20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1659554"/>
                  </a:ext>
                </a:extLst>
              </a:tr>
              <a:tr h="853852">
                <a:tc>
                  <a:txBody>
                    <a:bodyPr/>
                    <a:lstStyle/>
                    <a:p>
                      <a:pPr algn="ctr"/>
                      <a:r>
                        <a:rPr lang="zh-CN" altLang="zh-CN" sz="2000" b="1" kern="10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城市设计</a:t>
                      </a:r>
                      <a:endParaRPr lang="zh-CN" altLang="en-US" sz="20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7038719"/>
                  </a:ext>
                </a:extLst>
              </a:tr>
            </a:tbl>
          </a:graphicData>
        </a:graphic>
      </p:graphicFrame>
      <p:sp>
        <p:nvSpPr>
          <p:cNvPr id="31" name="文本框 30">
            <a:extLst>
              <a:ext uri="{FF2B5EF4-FFF2-40B4-BE49-F238E27FC236}">
                <a16:creationId xmlns:a16="http://schemas.microsoft.com/office/drawing/2014/main" id="{8B476683-A7E6-DE90-DA82-5D25EEDDC87D}"/>
              </a:ext>
            </a:extLst>
          </p:cNvPr>
          <p:cNvSpPr txBox="1"/>
          <p:nvPr/>
        </p:nvSpPr>
        <p:spPr>
          <a:xfrm>
            <a:off x="4842531" y="707949"/>
            <a:ext cx="456356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zh-CN" sz="2000" b="1" kern="100" dirty="0"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建立一个稳定且完整的</a:t>
            </a:r>
            <a:r>
              <a:rPr lang="zh-CN" altLang="zh-CN" sz="2400" b="1" kern="100" dirty="0">
                <a:solidFill>
                  <a:srgbClr val="C00000"/>
                </a:solidFill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规划管控体系</a:t>
            </a:r>
            <a:r>
              <a:rPr lang="en-US" altLang="zh-CN" sz="2400" b="1" kern="100" dirty="0">
                <a:solidFill>
                  <a:srgbClr val="C00000"/>
                </a:solidFill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:</a:t>
            </a:r>
            <a:endParaRPr lang="zh-CN" altLang="en-US" sz="2000" dirty="0">
              <a:solidFill>
                <a:srgbClr val="C00000"/>
              </a:solidFill>
            </a:endParaRP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AC9130AA-EE9A-ABDE-07AF-753915263CBE}"/>
              </a:ext>
            </a:extLst>
          </p:cNvPr>
          <p:cNvSpPr txBox="1"/>
          <p:nvPr/>
        </p:nvSpPr>
        <p:spPr>
          <a:xfrm>
            <a:off x="1681617" y="5299373"/>
            <a:ext cx="10243655" cy="1221745"/>
          </a:xfrm>
          <a:prstGeom prst="rect">
            <a:avLst/>
          </a:prstGeom>
          <a:solidFill>
            <a:srgbClr val="FEF6F0"/>
          </a:solidFill>
        </p:spPr>
        <p:txBody>
          <a:bodyPr wrap="square">
            <a:spAutoFit/>
          </a:bodyPr>
          <a:lstStyle/>
          <a:p>
            <a:pPr marL="342900" indent="-342900">
              <a:lnSpc>
                <a:spcPct val="125000"/>
              </a:lnSpc>
              <a:buFont typeface="Wingdings" panose="05000000000000000000" pitchFamily="2" charset="2"/>
              <a:buChar char="Ø"/>
            </a:pPr>
            <a:r>
              <a:rPr lang="zh-CN" altLang="zh-CN" sz="2000" b="1" kern="100" dirty="0">
                <a:effectLst/>
                <a:latin typeface="华文仿宋" panose="02010600040101010101" pitchFamily="2" charset="-122"/>
                <a:ea typeface="华文仿宋" panose="02010600040101010101" pitchFamily="2" charset="-122"/>
                <a:cs typeface="Times New Roman" panose="02020603050405020304" pitchFamily="18" charset="0"/>
              </a:rPr>
              <a:t>公服配套、耕地保护、城市更新、完整社区都在管理单元这个层面</a:t>
            </a:r>
            <a:r>
              <a:rPr lang="zh-CN" altLang="zh-CN" sz="2000" b="1" kern="100" dirty="0">
                <a:solidFill>
                  <a:srgbClr val="C00000"/>
                </a:solidFill>
                <a:effectLst/>
                <a:latin typeface="华文仿宋" panose="02010600040101010101" pitchFamily="2" charset="-122"/>
                <a:ea typeface="华文仿宋" panose="02010600040101010101" pitchFamily="2" charset="-122"/>
                <a:cs typeface="Times New Roman" panose="02020603050405020304" pitchFamily="18" charset="0"/>
              </a:rPr>
              <a:t>形成相对稳定管控规则</a:t>
            </a:r>
            <a:r>
              <a:rPr lang="zh-CN" altLang="zh-CN" sz="2000" b="1" kern="100" dirty="0">
                <a:effectLst/>
                <a:latin typeface="华文仿宋" panose="02010600040101010101" pitchFamily="2" charset="-122"/>
                <a:ea typeface="华文仿宋" panose="02010600040101010101" pitchFamily="2" charset="-122"/>
                <a:cs typeface="Times New Roman" panose="02020603050405020304" pitchFamily="18" charset="0"/>
              </a:rPr>
              <a:t>，能够更好地形成合力。</a:t>
            </a:r>
            <a:endParaRPr lang="en-US" altLang="zh-CN" sz="2000" b="1" kern="100" dirty="0">
              <a:effectLst/>
              <a:latin typeface="华文仿宋" panose="02010600040101010101" pitchFamily="2" charset="-122"/>
              <a:ea typeface="华文仿宋" panose="02010600040101010101" pitchFamily="2" charset="-122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25000"/>
              </a:lnSpc>
              <a:buFont typeface="Wingdings" panose="05000000000000000000" pitchFamily="2" charset="2"/>
              <a:buChar char="Ø"/>
            </a:pPr>
            <a:r>
              <a:rPr lang="zh-CN" altLang="en-US" sz="2000" b="1" kern="100" dirty="0">
                <a:latin typeface="华文仿宋" panose="02010600040101010101" pitchFamily="2" charset="-122"/>
                <a:ea typeface="华文仿宋" panose="02010600040101010101" pitchFamily="2" charset="-122"/>
                <a:cs typeface="Times New Roman" panose="02020603050405020304" pitchFamily="18" charset="0"/>
              </a:rPr>
              <a:t>目前部分专项规划体系与现有的空间体系存在错位，需要进一步衔接。</a:t>
            </a: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E58C2598-63C7-067B-40AE-4FF2D46BA0A2}"/>
              </a:ext>
            </a:extLst>
          </p:cNvPr>
          <p:cNvSpPr txBox="1"/>
          <p:nvPr/>
        </p:nvSpPr>
        <p:spPr>
          <a:xfrm>
            <a:off x="266727" y="145138"/>
            <a:ext cx="11658545" cy="4996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工作理解</a:t>
            </a:r>
            <a:endParaRPr kumimoji="0" lang="en-US" altLang="zh-CN" sz="2000" b="1" i="0" u="none" strike="noStrike" kern="1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F1BAFFC0-11E5-690B-1375-B42C7FD659F8}"/>
              </a:ext>
            </a:extLst>
          </p:cNvPr>
          <p:cNvSpPr txBox="1"/>
          <p:nvPr/>
        </p:nvSpPr>
        <p:spPr>
          <a:xfrm>
            <a:off x="1681617" y="4720562"/>
            <a:ext cx="6102220" cy="5207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zh-CN" sz="2000" b="1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各类</a:t>
            </a:r>
            <a:r>
              <a:rPr kumimoji="0" lang="zh-CN" altLang="zh-CN" sz="2400" b="1" i="0" u="none" strike="noStrike" kern="1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专项规划</a:t>
            </a:r>
            <a:r>
              <a:rPr kumimoji="0" lang="zh-CN" altLang="zh-CN" sz="2000" b="1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理应在这个体系上深化</a:t>
            </a:r>
            <a:r>
              <a:rPr kumimoji="0" lang="en-US" altLang="zh-CN" sz="2000" b="1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68091022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8185B62D-879E-4645-B164-9BA3E69FDF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156339" cy="1020855"/>
          </a:xfrm>
          <a:prstGeom prst="rect">
            <a:avLst/>
          </a:prstGeom>
        </p:spPr>
      </p:pic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3768A16A-6C85-4243-9C3B-39A90672F0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291" y="6461389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651ACD-316E-4365-9FB7-82A7CA47D71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2338A1DD-3E7B-481B-B8AE-C0FA15D0D7EA}"/>
              </a:ext>
            </a:extLst>
          </p:cNvPr>
          <p:cNvSpPr txBox="1"/>
          <p:nvPr/>
        </p:nvSpPr>
        <p:spPr>
          <a:xfrm>
            <a:off x="330118" y="245613"/>
            <a:ext cx="11658545" cy="4996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工作理解</a:t>
            </a:r>
            <a:endParaRPr kumimoji="0" lang="en-US" altLang="zh-CN" sz="2000" b="1" i="0" u="none" strike="noStrike" kern="1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pic>
        <p:nvPicPr>
          <p:cNvPr id="25" name="图片 24">
            <a:extLst>
              <a:ext uri="{FF2B5EF4-FFF2-40B4-BE49-F238E27FC236}">
                <a16:creationId xmlns:a16="http://schemas.microsoft.com/office/drawing/2014/main" id="{75E325CD-B08D-429D-ADA1-4BF75513108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3897" y="266599"/>
            <a:ext cx="2181375" cy="252000"/>
          </a:xfrm>
          <a:prstGeom prst="rect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A5040B18-6B91-A199-5E40-E65DF3EDC52B}"/>
              </a:ext>
            </a:extLst>
          </p:cNvPr>
          <p:cNvSpPr txBox="1"/>
          <p:nvPr/>
        </p:nvSpPr>
        <p:spPr>
          <a:xfrm>
            <a:off x="330119" y="784778"/>
            <a:ext cx="1165854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100" cap="none" spc="0" normalizeH="0" baseline="0" noProof="0" dirty="0">
                <a:ln>
                  <a:noFill/>
                </a:ln>
                <a:solidFill>
                  <a:srgbClr val="4D81B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楷体_GB2312" panose="02010609030101010101" pitchFamily="49" charset="-122"/>
              </a:rPr>
              <a:t>管理单元划定的三个目标</a:t>
            </a: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FB4F6CC9-2C65-49F9-4F76-6282B066C5A6}"/>
              </a:ext>
            </a:extLst>
          </p:cNvPr>
          <p:cNvSpPr txBox="1"/>
          <p:nvPr/>
        </p:nvSpPr>
        <p:spPr>
          <a:xfrm>
            <a:off x="1968759" y="1854868"/>
            <a:ext cx="825448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2800" b="1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——</a:t>
            </a:r>
            <a:r>
              <a:rPr lang="zh-CN" altLang="zh-CN" sz="3600" b="1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既是</a:t>
            </a:r>
            <a:r>
              <a:rPr lang="zh-CN" altLang="zh-CN" sz="2800" b="1" kern="1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规划管理单元</a:t>
            </a:r>
            <a:r>
              <a:rPr lang="zh-CN" altLang="zh-CN" sz="2800" b="1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</a:t>
            </a:r>
            <a:r>
              <a:rPr lang="zh-CN" altLang="zh-CN" sz="3600" b="1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也是</a:t>
            </a:r>
            <a:r>
              <a:rPr lang="zh-CN" altLang="zh-CN" sz="2800" b="1" kern="1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空间治理单元</a:t>
            </a:r>
          </a:p>
        </p:txBody>
      </p:sp>
      <p:sp>
        <p:nvSpPr>
          <p:cNvPr id="7" name="不完整圆 6">
            <a:extLst>
              <a:ext uri="{FF2B5EF4-FFF2-40B4-BE49-F238E27FC236}">
                <a16:creationId xmlns:a16="http://schemas.microsoft.com/office/drawing/2014/main" id="{C57EC10E-06D6-9EF9-F093-B43659DCC9CB}"/>
              </a:ext>
            </a:extLst>
          </p:cNvPr>
          <p:cNvSpPr/>
          <p:nvPr/>
        </p:nvSpPr>
        <p:spPr>
          <a:xfrm>
            <a:off x="4180116" y="3775787"/>
            <a:ext cx="3701144" cy="3701144"/>
          </a:xfrm>
          <a:prstGeom prst="pie">
            <a:avLst>
              <a:gd name="adj1" fmla="val 10799999"/>
              <a:gd name="adj2" fmla="val 1620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2" name="不完整圆 21">
            <a:extLst>
              <a:ext uri="{FF2B5EF4-FFF2-40B4-BE49-F238E27FC236}">
                <a16:creationId xmlns:a16="http://schemas.microsoft.com/office/drawing/2014/main" id="{D7845178-8F92-57FE-85F9-74B00CBA342C}"/>
              </a:ext>
            </a:extLst>
          </p:cNvPr>
          <p:cNvSpPr/>
          <p:nvPr/>
        </p:nvSpPr>
        <p:spPr>
          <a:xfrm rot="5400000">
            <a:off x="4308818" y="3775787"/>
            <a:ext cx="3701144" cy="3701144"/>
          </a:xfrm>
          <a:prstGeom prst="pie">
            <a:avLst>
              <a:gd name="adj1" fmla="val 10799999"/>
              <a:gd name="adj2" fmla="val 1620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5F0BF40D-064E-1EB4-93DC-8858F23A7090}"/>
              </a:ext>
            </a:extLst>
          </p:cNvPr>
          <p:cNvSpPr txBox="1"/>
          <p:nvPr/>
        </p:nvSpPr>
        <p:spPr>
          <a:xfrm>
            <a:off x="4445539" y="4471310"/>
            <a:ext cx="158620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zh-CN" sz="2400" b="1" kern="1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规划管理单元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1E2EBF2C-5268-B465-8132-2FC66BC8E245}"/>
              </a:ext>
            </a:extLst>
          </p:cNvPr>
          <p:cNvSpPr txBox="1"/>
          <p:nvPr/>
        </p:nvSpPr>
        <p:spPr>
          <a:xfrm>
            <a:off x="6160445" y="4471310"/>
            <a:ext cx="158620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2400" b="1" kern="1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空间治理</a:t>
            </a:r>
            <a:r>
              <a:rPr lang="zh-CN" altLang="zh-CN" sz="2400" b="1" kern="1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单元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61A6D0F1-95C9-03C2-778D-401C1B5DEB8E}"/>
              </a:ext>
            </a:extLst>
          </p:cNvPr>
          <p:cNvSpPr txBox="1"/>
          <p:nvPr/>
        </p:nvSpPr>
        <p:spPr>
          <a:xfrm>
            <a:off x="725487" y="2935831"/>
            <a:ext cx="3602671" cy="1323439"/>
          </a:xfrm>
          <a:prstGeom prst="rect">
            <a:avLst/>
          </a:prstGeom>
          <a:solidFill>
            <a:srgbClr val="FBE5D6">
              <a:alpha val="47843"/>
            </a:srgbClr>
          </a:solidFill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zh-CN" sz="2800" b="1" kern="100" dirty="0">
                <a:effectLst/>
                <a:latin typeface="华文仿宋" panose="02010600040101010101" pitchFamily="2" charset="-122"/>
                <a:ea typeface="华文仿宋" panose="02010600040101010101" pitchFamily="2" charset="-122"/>
                <a:cs typeface="Times New Roman" panose="02020603050405020304" pitchFamily="18" charset="0"/>
              </a:rPr>
              <a:t>完善规划传导机制</a:t>
            </a:r>
            <a:endParaRPr lang="en-US" altLang="zh-CN" sz="2800" b="1" kern="100" dirty="0">
              <a:effectLst/>
              <a:latin typeface="华文仿宋" panose="02010600040101010101" pitchFamily="2" charset="-122"/>
              <a:ea typeface="华文仿宋" panose="02010600040101010101" pitchFamily="2" charset="-122"/>
              <a:cs typeface="Times New Roman" panose="02020603050405020304" pitchFamily="18" charset="0"/>
            </a:endParaRP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zh-CN" sz="2800" b="1" kern="100" dirty="0">
                <a:effectLst/>
                <a:latin typeface="华文仿宋" panose="02010600040101010101" pitchFamily="2" charset="-122"/>
                <a:ea typeface="华文仿宋" panose="02010600040101010101" pitchFamily="2" charset="-122"/>
                <a:cs typeface="Times New Roman" panose="02020603050405020304" pitchFamily="18" charset="0"/>
              </a:rPr>
              <a:t>传导规划管控要求</a:t>
            </a:r>
            <a:endParaRPr lang="zh-CN" altLang="en-US" sz="2800" b="1" dirty="0">
              <a:latin typeface="华文仿宋" panose="02010600040101010101" pitchFamily="2" charset="-122"/>
              <a:ea typeface="华文仿宋" panose="02010600040101010101" pitchFamily="2" charset="-122"/>
            </a:endParaRP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5C7B0937-6274-D05A-6B33-FE2EF0512717}"/>
              </a:ext>
            </a:extLst>
          </p:cNvPr>
          <p:cNvSpPr txBox="1"/>
          <p:nvPr/>
        </p:nvSpPr>
        <p:spPr>
          <a:xfrm>
            <a:off x="7863843" y="2935831"/>
            <a:ext cx="4061429" cy="1323439"/>
          </a:xfrm>
          <a:prstGeom prst="rect">
            <a:avLst/>
          </a:prstGeom>
          <a:solidFill>
            <a:srgbClr val="FBE5D6">
              <a:alpha val="47843"/>
            </a:srgbClr>
          </a:solidFill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zh-CN" sz="2800" b="1" kern="100" dirty="0">
                <a:latin typeface="华文仿宋" panose="02010600040101010101" pitchFamily="2" charset="-122"/>
                <a:ea typeface="华文仿宋" panose="02010600040101010101" pitchFamily="2" charset="-122"/>
                <a:cs typeface="Times New Roman" panose="02020603050405020304" pitchFamily="18" charset="0"/>
              </a:rPr>
              <a:t>研究空间差异化管控</a:t>
            </a:r>
            <a:endParaRPr lang="en-US" altLang="zh-CN" sz="2800" b="1" kern="100" dirty="0">
              <a:latin typeface="华文仿宋" panose="02010600040101010101" pitchFamily="2" charset="-122"/>
              <a:ea typeface="华文仿宋" panose="02010600040101010101" pitchFamily="2" charset="-122"/>
              <a:cs typeface="Times New Roman" panose="02020603050405020304" pitchFamily="18" charset="0"/>
            </a:endParaRP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zh-CN" sz="2800" b="1" kern="100" dirty="0">
                <a:latin typeface="华文仿宋" panose="02010600040101010101" pitchFamily="2" charset="-122"/>
                <a:ea typeface="华文仿宋" panose="02010600040101010101" pitchFamily="2" charset="-122"/>
                <a:cs typeface="Times New Roman" panose="02020603050405020304" pitchFamily="18" charset="0"/>
              </a:rPr>
              <a:t>项目功能准入标准</a:t>
            </a:r>
            <a:endParaRPr lang="zh-CN" altLang="en-US" sz="2800" b="1" kern="100" dirty="0">
              <a:latin typeface="华文仿宋" panose="02010600040101010101" pitchFamily="2" charset="-122"/>
              <a:ea typeface="华文仿宋" panose="02010600040101010101" pitchFamily="2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75246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>
            <a:extLst>
              <a:ext uri="{FF2B5EF4-FFF2-40B4-BE49-F238E27FC236}">
                <a16:creationId xmlns:a16="http://schemas.microsoft.com/office/drawing/2014/main" id="{B4739B15-0A07-421F-B8F6-AD3FBB5942FA}"/>
              </a:ext>
            </a:extLst>
          </p:cNvPr>
          <p:cNvSpPr/>
          <p:nvPr/>
        </p:nvSpPr>
        <p:spPr>
          <a:xfrm>
            <a:off x="0" y="0"/>
            <a:ext cx="7767202" cy="6858000"/>
          </a:xfrm>
          <a:prstGeom prst="rect">
            <a:avLst/>
          </a:prstGeom>
          <a:blipFill dpi="0" rotWithShape="1">
            <a:blip r:embed="rId4">
              <a:alphaModFix amt="32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FC09D839-DADC-4C43-B6CD-E00FA0EAE3FF}"/>
              </a:ext>
            </a:extLst>
          </p:cNvPr>
          <p:cNvSpPr txBox="1"/>
          <p:nvPr/>
        </p:nvSpPr>
        <p:spPr>
          <a:xfrm>
            <a:off x="304305" y="168334"/>
            <a:ext cx="2648445" cy="76944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6794BD"/>
                </a:solidFill>
                <a:effectLst/>
                <a:uLnTx/>
                <a:uFillTx/>
                <a:latin typeface="李旭科毛笔行书" panose="02010600030101010101" pitchFamily="2" charset="-122"/>
                <a:ea typeface="李旭科毛笔行书" panose="02010600030101010101" pitchFamily="2" charset="-122"/>
                <a:cs typeface="+mn-cs"/>
              </a:rPr>
              <a:t>汇报提纲</a:t>
            </a:r>
            <a:endParaRPr kumimoji="0" lang="en-US" altLang="zh-CN" sz="4400" b="1" i="0" u="none" strike="noStrike" kern="1200" cap="none" spc="0" normalizeH="0" baseline="0" noProof="0" dirty="0">
              <a:ln>
                <a:noFill/>
              </a:ln>
              <a:solidFill>
                <a:srgbClr val="6794BD"/>
              </a:solidFill>
              <a:effectLst/>
              <a:uLnTx/>
              <a:uFillTx/>
              <a:latin typeface="李旭科毛笔行书" panose="02010600030101010101" pitchFamily="2" charset="-122"/>
              <a:ea typeface="李旭科毛笔行书" panose="02010600030101010101" pitchFamily="2" charset="-122"/>
              <a:cs typeface="+mn-cs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E9C52E81-1011-1F53-DDCC-70287C3D0FCF}"/>
              </a:ext>
            </a:extLst>
          </p:cNvPr>
          <p:cNvSpPr txBox="1"/>
          <p:nvPr/>
        </p:nvSpPr>
        <p:spPr>
          <a:xfrm>
            <a:off x="4643679" y="1098196"/>
            <a:ext cx="4745456" cy="505099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>
            <a:defPPr>
              <a:defRPr lang="zh-CN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400" b="1" i="0" u="none" strike="noStrike" cap="none" spc="0" normalizeH="0" baseline="0">
                <a:ln>
                  <a:noFill/>
                </a:ln>
                <a:solidFill>
                  <a:srgbClr val="6794BD"/>
                </a:solidFill>
                <a:effectLst/>
                <a:uLnTx/>
                <a:uFillTx/>
                <a:latin typeface="李旭科毛笔行书" panose="02010600030101010101" pitchFamily="2" charset="-122"/>
                <a:ea typeface="李旭科毛笔行书" panose="02010600030101010101" pitchFamily="2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400" b="1" i="0" u="none" strike="noStrike" kern="1200" cap="none" spc="0" normalizeH="0" baseline="0" noProof="0" dirty="0">
                <a:ln>
                  <a:noFill/>
                </a:ln>
                <a:solidFill>
                  <a:srgbClr val="6794BD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 </a:t>
            </a:r>
            <a:r>
              <a:rPr kumimoji="0" lang="zh-CN" alt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6794BD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工作背景</a:t>
            </a:r>
            <a:endParaRPr kumimoji="0" lang="en-US" altLang="zh-CN" sz="4400" b="1" i="0" u="none" strike="noStrike" kern="1200" cap="none" spc="0" normalizeH="0" baseline="0" noProof="0" dirty="0">
              <a:ln>
                <a:noFill/>
              </a:ln>
              <a:solidFill>
                <a:srgbClr val="6794BD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 </a:t>
            </a:r>
            <a:r>
              <a:rPr kumimoji="0" lang="zh-CN" alt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工作理解</a:t>
            </a:r>
            <a:endParaRPr kumimoji="0" lang="en-US" altLang="zh-CN" sz="44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3 </a:t>
            </a:r>
            <a:r>
              <a:rPr kumimoji="0" lang="zh-CN" alt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管控衔接</a:t>
            </a:r>
            <a:endParaRPr kumimoji="0" lang="en-US" altLang="zh-CN" sz="44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4 </a:t>
            </a:r>
            <a:r>
              <a:rPr kumimoji="0" lang="zh-CN" alt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分类导向</a:t>
            </a:r>
            <a:endParaRPr kumimoji="0" lang="en-US" altLang="zh-CN" sz="44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5 </a:t>
            </a:r>
            <a:r>
              <a:rPr kumimoji="0" lang="zh-CN" alt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工作计划</a:t>
            </a:r>
            <a:endParaRPr kumimoji="0" lang="en-US" altLang="zh-CN" sz="44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715705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8185B62D-879E-4645-B164-9BA3E69FDF81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0" y="0"/>
            <a:ext cx="1156339" cy="1020855"/>
          </a:xfrm>
          <a:prstGeom prst="rect">
            <a:avLst/>
          </a:prstGeom>
        </p:spPr>
      </p:pic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3768A16A-6C85-4243-9C3B-39A90672F0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291" y="6461389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651ACD-316E-4365-9FB7-82A7CA47D71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971A9228-DF89-4180-AD63-C3D6AB9D6FF0}"/>
              </a:ext>
            </a:extLst>
          </p:cNvPr>
          <p:cNvSpPr txBox="1"/>
          <p:nvPr/>
        </p:nvSpPr>
        <p:spPr>
          <a:xfrm>
            <a:off x="330119" y="784778"/>
            <a:ext cx="1165854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100" cap="none" spc="0" normalizeH="0" baseline="0" noProof="0" dirty="0">
                <a:ln>
                  <a:noFill/>
                </a:ln>
                <a:solidFill>
                  <a:srgbClr val="4D81B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楷体_GB2312" panose="02010609030101010101" pitchFamily="49" charset="-122"/>
              </a:rPr>
              <a:t>“两步走”逐步完善规划管理单元范围及管控机制</a:t>
            </a:r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6B0A6171-6884-46AB-96D1-4EE341FF831C}"/>
              </a:ext>
            </a:extLst>
          </p:cNvPr>
          <p:cNvGrpSpPr/>
          <p:nvPr/>
        </p:nvGrpSpPr>
        <p:grpSpPr>
          <a:xfrm>
            <a:off x="666456" y="1618047"/>
            <a:ext cx="10859088" cy="4828298"/>
            <a:chOff x="677148" y="2535386"/>
            <a:chExt cx="6681261" cy="3893221"/>
          </a:xfrm>
        </p:grpSpPr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840BAC45-BF95-45D3-AB23-B1F63441B3C5}"/>
                </a:ext>
              </a:extLst>
            </p:cNvPr>
            <p:cNvGrpSpPr/>
            <p:nvPr/>
          </p:nvGrpSpPr>
          <p:grpSpPr>
            <a:xfrm>
              <a:off x="677148" y="2535386"/>
              <a:ext cx="6681261" cy="3795815"/>
              <a:chOff x="730969" y="2509397"/>
              <a:chExt cx="8197593" cy="4200087"/>
            </a:xfrm>
          </p:grpSpPr>
          <p:sp>
            <p:nvSpPr>
              <p:cNvPr id="12" name="TextBox 52">
                <a:extLst>
                  <a:ext uri="{FF2B5EF4-FFF2-40B4-BE49-F238E27FC236}">
                    <a16:creationId xmlns:a16="http://schemas.microsoft.com/office/drawing/2014/main" id="{B131864B-429C-4598-BBA5-2760B5E82001}"/>
                  </a:ext>
                </a:extLst>
              </p:cNvPr>
              <p:cNvSpPr txBox="1"/>
              <p:nvPr>
                <p:custDataLst>
                  <p:tags r:id="rId1"/>
                </p:custDataLst>
              </p:nvPr>
            </p:nvSpPr>
            <p:spPr>
              <a:xfrm>
                <a:off x="7586444" y="6076435"/>
                <a:ext cx="66" cy="186077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STXihei"/>
                  <a:cs typeface="+mn-ea"/>
                  <a:sym typeface="+mn-lt"/>
                </a:endParaRPr>
              </a:p>
            </p:txBody>
          </p:sp>
          <p:cxnSp>
            <p:nvCxnSpPr>
              <p:cNvPr id="14" name="Straight Connector 47">
                <a:extLst>
                  <a:ext uri="{FF2B5EF4-FFF2-40B4-BE49-F238E27FC236}">
                    <a16:creationId xmlns:a16="http://schemas.microsoft.com/office/drawing/2014/main" id="{8B29E57A-83A5-44F5-A8DA-F7C4E1B5D043}"/>
                  </a:ext>
                </a:extLst>
              </p:cNvPr>
              <p:cNvCxnSpPr/>
              <p:nvPr>
                <p:custDataLst>
                  <p:tags r:id="rId2"/>
                </p:custDataLst>
              </p:nvPr>
            </p:nvCxnSpPr>
            <p:spPr>
              <a:xfrm>
                <a:off x="730969" y="6709484"/>
                <a:ext cx="8197593" cy="0"/>
              </a:xfrm>
              <a:prstGeom prst="line">
                <a:avLst/>
              </a:prstGeom>
              <a:noFill/>
              <a:ln w="76200" cap="flat" cmpd="sng" algn="ctr">
                <a:solidFill>
                  <a:schemeClr val="tx1">
                    <a:lumMod val="75000"/>
                  </a:schemeClr>
                </a:solidFill>
                <a:prstDash val="solid"/>
                <a:tailEnd type="triangle" w="sm" len="lg"/>
              </a:ln>
              <a:effectLst/>
            </p:spPr>
          </p:cxnSp>
          <p:sp>
            <p:nvSpPr>
              <p:cNvPr id="16" name="RbLeanShape Right Angle 4Copy1">
                <a:extLst>
                  <a:ext uri="{FF2B5EF4-FFF2-40B4-BE49-F238E27FC236}">
                    <a16:creationId xmlns:a16="http://schemas.microsoft.com/office/drawing/2014/main" id="{C606C42C-68DD-4086-9635-CD83163599CB}"/>
                  </a:ext>
                </a:extLst>
              </p:cNvPr>
              <p:cNvSpPr/>
              <p:nvPr>
                <p:custDataLst>
                  <p:tags r:id="rId3"/>
                </p:custDataLst>
              </p:nvPr>
            </p:nvSpPr>
            <p:spPr>
              <a:xfrm flipH="1" flipV="1">
                <a:off x="965208" y="3988828"/>
                <a:ext cx="2485895" cy="822325"/>
              </a:xfrm>
              <a:custGeom>
                <a:avLst/>
                <a:gdLst>
                  <a:gd name="connsiteX0" fmla="*/ 1270000 w 1270000"/>
                  <a:gd name="connsiteY0" fmla="*/ 0 h 476250"/>
                  <a:gd name="connsiteX1" fmla="*/ 0 w 1270000"/>
                  <a:gd name="connsiteY1" fmla="*/ 0 h 476250"/>
                  <a:gd name="connsiteX2" fmla="*/ 0 w 1270000"/>
                  <a:gd name="connsiteY2" fmla="*/ 476250 h 476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70000" h="476250">
                    <a:moveTo>
                      <a:pt x="1270000" y="0"/>
                    </a:moveTo>
                    <a:lnTo>
                      <a:pt x="0" y="0"/>
                    </a:lnTo>
                    <a:lnTo>
                      <a:pt x="0" y="476250"/>
                    </a:lnTo>
                  </a:path>
                </a:pathLst>
              </a:custGeom>
              <a:noFill/>
              <a:ln w="22225" cap="flat" cmpd="sng" algn="ctr">
                <a:solidFill>
                  <a:schemeClr val="accent3">
                    <a:lumMod val="60000"/>
                    <a:lumOff val="40000"/>
                  </a:schemeClr>
                </a:solidFill>
                <a:prstDash val="solid"/>
              </a:ln>
              <a:effectLst/>
            </p:spPr>
            <p:txBody>
              <a:bodyPr lIns="89999" tIns="89999" rIns="0" bIns="0"/>
              <a:lstStyle/>
              <a:p>
                <a:pPr marL="0" marR="0" lvl="0" indent="0" algn="l" defTabSz="914400" rtl="0" eaLnBrk="1" fontAlgn="ctr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STXihei"/>
                  <a:cs typeface="+mn-cs"/>
                  <a:sym typeface="+mn-lt"/>
                </a:endParaRPr>
              </a:p>
            </p:txBody>
          </p:sp>
          <p:sp>
            <p:nvSpPr>
              <p:cNvPr id="17" name="Freeform 11">
                <a:extLst>
                  <a:ext uri="{FF2B5EF4-FFF2-40B4-BE49-F238E27FC236}">
                    <a16:creationId xmlns:a16="http://schemas.microsoft.com/office/drawing/2014/main" id="{6E50F44C-859C-4B89-BF8C-4E370304AC25}"/>
                  </a:ext>
                </a:extLst>
              </p:cNvPr>
              <p:cNvSpPr/>
              <p:nvPr>
                <p:custDataLst>
                  <p:tags r:id="rId4"/>
                </p:custDataLst>
              </p:nvPr>
            </p:nvSpPr>
            <p:spPr>
              <a:xfrm>
                <a:off x="3576629" y="2691348"/>
                <a:ext cx="5108380" cy="741503"/>
              </a:xfrm>
              <a:custGeom>
                <a:avLst/>
                <a:gdLst>
                  <a:gd name="connsiteX0" fmla="*/ 0 w 1739590"/>
                  <a:gd name="connsiteY0" fmla="*/ 713678 h 713678"/>
                  <a:gd name="connsiteX1" fmla="*/ 1739590 w 1739590"/>
                  <a:gd name="connsiteY1" fmla="*/ 0 h 713678"/>
                  <a:gd name="connsiteX0-1" fmla="*/ 0 w 1739590"/>
                  <a:gd name="connsiteY0-2" fmla="*/ 899531 h 899531"/>
                  <a:gd name="connsiteX1-3" fmla="*/ 1739590 w 1739590"/>
                  <a:gd name="connsiteY1-4" fmla="*/ 185853 h 899531"/>
                  <a:gd name="connsiteX0-5" fmla="*/ 0 w 1739590"/>
                  <a:gd name="connsiteY0-6" fmla="*/ 899531 h 899531"/>
                  <a:gd name="connsiteX1-7" fmla="*/ 1739590 w 1739590"/>
                  <a:gd name="connsiteY1-8" fmla="*/ 185853 h 899531"/>
                  <a:gd name="connsiteX0-9" fmla="*/ 0 w 1739590"/>
                  <a:gd name="connsiteY0-10" fmla="*/ 765716 h 765716"/>
                  <a:gd name="connsiteX1-11" fmla="*/ 1739590 w 1739590"/>
                  <a:gd name="connsiteY1-12" fmla="*/ 52038 h 765716"/>
                  <a:gd name="connsiteX0-13" fmla="*/ 0 w 1739590"/>
                  <a:gd name="connsiteY0-14" fmla="*/ 765716 h 765716"/>
                  <a:gd name="connsiteX1-15" fmla="*/ 1739590 w 1739590"/>
                  <a:gd name="connsiteY1-16" fmla="*/ 52038 h 765716"/>
                  <a:gd name="connsiteX0-17" fmla="*/ 0 w 1739590"/>
                  <a:gd name="connsiteY0-18" fmla="*/ 843775 h 843775"/>
                  <a:gd name="connsiteX1-19" fmla="*/ 1739590 w 1739590"/>
                  <a:gd name="connsiteY1-20" fmla="*/ 130097 h 843775"/>
                  <a:gd name="connsiteX0-21" fmla="*/ 0 w 1739590"/>
                  <a:gd name="connsiteY0-22" fmla="*/ 843775 h 843775"/>
                  <a:gd name="connsiteX1-23" fmla="*/ 1739590 w 1739590"/>
                  <a:gd name="connsiteY1-24" fmla="*/ 130097 h 843775"/>
                  <a:gd name="connsiteX0-25" fmla="*/ 0 w 1739590"/>
                  <a:gd name="connsiteY0-26" fmla="*/ 732263 h 732263"/>
                  <a:gd name="connsiteX1-27" fmla="*/ 1739590 w 1739590"/>
                  <a:gd name="connsiteY1-28" fmla="*/ 18585 h 732263"/>
                  <a:gd name="connsiteX0-29" fmla="*/ 0 w 1739590"/>
                  <a:gd name="connsiteY0-30" fmla="*/ 732263 h 732263"/>
                  <a:gd name="connsiteX1-31" fmla="*/ 1739590 w 1739590"/>
                  <a:gd name="connsiteY1-32" fmla="*/ 18585 h 732263"/>
                  <a:gd name="connsiteX0-33" fmla="*/ 0 w 1739590"/>
                  <a:gd name="connsiteY0-34" fmla="*/ 843775 h 843775"/>
                  <a:gd name="connsiteX1-35" fmla="*/ 1739590 w 1739590"/>
                  <a:gd name="connsiteY1-36" fmla="*/ 130097 h 843775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</a:cxnLst>
                <a:rect l="l" t="t" r="r" b="b"/>
                <a:pathLst>
                  <a:path w="1739590" h="843775">
                    <a:moveTo>
                      <a:pt x="0" y="843775"/>
                    </a:moveTo>
                    <a:cubicBezTo>
                      <a:pt x="412595" y="237891"/>
                      <a:pt x="724829" y="0"/>
                      <a:pt x="1739590" y="130097"/>
                    </a:cubicBezTo>
                  </a:path>
                </a:pathLst>
              </a:custGeom>
              <a:noFill/>
              <a:ln w="22225" cap="flat" cmpd="sng" algn="ctr">
                <a:solidFill>
                  <a:schemeClr val="accent5"/>
                </a:solidFill>
                <a:prstDash val="solid"/>
                <a:tailEnd type="triangle" w="lg" len="lg"/>
              </a:ln>
              <a:effectLst/>
            </p:spPr>
            <p:txBody>
              <a:bodyPr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256885"/>
                  </a:solidFill>
                  <a:effectLst/>
                  <a:uLnTx/>
                  <a:uFillTx/>
                  <a:latin typeface="Arial" panose="020B0604020202020204"/>
                  <a:ea typeface="STXihei"/>
                  <a:cs typeface="+mn-cs"/>
                  <a:sym typeface="+mn-lt"/>
                </a:endParaRPr>
              </a:p>
            </p:txBody>
          </p:sp>
          <p:sp>
            <p:nvSpPr>
              <p:cNvPr id="18" name="Text Box 18">
                <a:extLst>
                  <a:ext uri="{FF2B5EF4-FFF2-40B4-BE49-F238E27FC236}">
                    <a16:creationId xmlns:a16="http://schemas.microsoft.com/office/drawing/2014/main" id="{4853CA40-F439-470E-A2E4-030E0E0CF8FD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594690" y="4099405"/>
                <a:ext cx="2565861" cy="831015"/>
              </a:xfrm>
              <a:prstGeom prst="rect">
                <a:avLst/>
              </a:prstGeom>
              <a:noFill/>
              <a:ln w="6350">
                <a:noFill/>
                <a:miter lim="800000"/>
              </a:ln>
            </p:spPr>
            <p:txBody>
              <a:bodyPr wrap="square" lIns="0" tIns="0" rIns="0" bIns="0">
                <a:spAutoFit/>
              </a:bodyPr>
              <a:lstStyle>
                <a:defPPr>
                  <a:defRPr lang="zh-CN"/>
                </a:defPPr>
                <a:lvl2pPr marL="175895" marR="0" lvl="1" indent="-175895" eaLnBrk="0" fontAlgn="base" hangingPunct="0">
                  <a:lnSpc>
                    <a:spcPct val="15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Arial" panose="020B0604020202020204"/>
                  <a:buChar char="•"/>
                  <a:defRPr kumimoji="0" sz="14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</a:defRPr>
                </a:lvl2pPr>
              </a:lstStyle>
              <a:p>
                <a:pPr marL="175895" marR="0" lvl="1" indent="-175895" algn="l" defTabSz="914400" rtl="0" eaLnBrk="0" fontAlgn="base" latinLnBrk="0" hangingPunct="0">
                  <a:lnSpc>
                    <a:spcPct val="15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Arial" panose="020B0604020202020204"/>
                  <a:buChar char="•"/>
                  <a:tabLst/>
                  <a:defRPr/>
                </a:pPr>
                <a:r>
                  <a:rPr kumimoji="0" lang="zh-CN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sym typeface="+mn-lt"/>
                  </a:rPr>
                  <a:t>制定管理单元在用途管制、资源配置、设施配套、空间治理、风貌引导等方面的差异化管控导向及细则。</a:t>
                </a:r>
              </a:p>
            </p:txBody>
          </p:sp>
          <p:sp>
            <p:nvSpPr>
              <p:cNvPr id="19" name="Text Box 18">
                <a:extLst>
                  <a:ext uri="{FF2B5EF4-FFF2-40B4-BE49-F238E27FC236}">
                    <a16:creationId xmlns:a16="http://schemas.microsoft.com/office/drawing/2014/main" id="{F9F6AF6E-568E-49E0-AA6B-FB4E78F1CFCC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6304138" y="4089740"/>
                <a:ext cx="2485894" cy="542682"/>
              </a:xfrm>
              <a:prstGeom prst="rect">
                <a:avLst/>
              </a:prstGeom>
              <a:noFill/>
              <a:ln w="6350">
                <a:noFill/>
                <a:miter lim="800000"/>
              </a:ln>
            </p:spPr>
            <p:txBody>
              <a:bodyPr wrap="square" lIns="0" tIns="0" rIns="0" bIns="0">
                <a:spAutoFit/>
              </a:bodyPr>
              <a:lstStyle>
                <a:defPPr>
                  <a:defRPr lang="zh-CN"/>
                </a:defPPr>
                <a:lvl2pPr marL="175895" marR="0" lvl="1" indent="-175895" eaLnBrk="0" fontAlgn="base" hangingPunct="0">
                  <a:lnSpc>
                    <a:spcPct val="15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Arial" panose="020B0604020202020204"/>
                  <a:buChar char="•"/>
                  <a:defRPr kumimoji="0" sz="14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</a:defRPr>
                </a:lvl2pPr>
              </a:lstStyle>
              <a:p>
                <a:pPr marL="175895" marR="0" lvl="1" indent="-175895" algn="l" defTabSz="914400" rtl="0" eaLnBrk="0" fontAlgn="base" latinLnBrk="0" hangingPunct="0">
                  <a:lnSpc>
                    <a:spcPct val="15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Arial" panose="020B0604020202020204"/>
                  <a:buChar char="•"/>
                  <a:tabLst/>
                  <a:defRPr/>
                </a:pPr>
                <a:r>
                  <a:rPr kumimoji="0" lang="zh-CN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sym typeface="+mn-lt"/>
                  </a:rPr>
                  <a:t>提出下层次及已批专项规划的评估修改建议，指导在编专项规划的编制。</a:t>
                </a:r>
                <a:endPara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D3AF764A-3901-46F3-A0CB-A4FE1E6B286E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>
                <a:off x="4731820" y="2509397"/>
                <a:ext cx="2351821" cy="3295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第二步</a:t>
                </a: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21" name="Text Box 18">
                <a:extLst>
                  <a:ext uri="{FF2B5EF4-FFF2-40B4-BE49-F238E27FC236}">
                    <a16:creationId xmlns:a16="http://schemas.microsoft.com/office/drawing/2014/main" id="{D52473CB-5BB9-4555-90CA-531335F88494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965209" y="4865298"/>
                <a:ext cx="2348466" cy="1476330"/>
              </a:xfrm>
              <a:prstGeom prst="rect">
                <a:avLst/>
              </a:prstGeom>
              <a:noFill/>
              <a:ln w="6350">
                <a:noFill/>
                <a:miter lim="800000"/>
              </a:ln>
            </p:spPr>
            <p:txBody>
              <a:bodyPr wrap="square" lIns="0" tIns="0" rIns="0" bIns="0">
                <a:spAutoFit/>
              </a:bodyPr>
              <a:lstStyle/>
              <a:p>
                <a:pPr marL="175895" marR="0" lvl="1" indent="-175895" algn="l" defTabSz="914400" rtl="0" eaLnBrk="0" fontAlgn="base" latinLnBrk="0" hangingPunct="0">
                  <a:lnSpc>
                    <a:spcPct val="15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Arial" panose="020B0604020202020204"/>
                  <a:buChar char="•"/>
                  <a:tabLst/>
                  <a:defRPr/>
                </a:pPr>
                <a:r>
                  <a:rPr kumimoji="0" lang="zh-CN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制定管理单元的划定指引，明确划定要求；</a:t>
                </a:r>
                <a:endPara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marL="175895" marR="0" lvl="1" indent="-175895" algn="l" defTabSz="914400" rtl="0" eaLnBrk="0" fontAlgn="base" latinLnBrk="0" hangingPunct="0">
                  <a:lnSpc>
                    <a:spcPct val="15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Arial" panose="020B0604020202020204"/>
                  <a:buChar char="•"/>
                  <a:tabLst/>
                  <a:defRPr/>
                </a:pPr>
                <a:r>
                  <a:rPr kumimoji="0" lang="zh-CN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市镇联动划实规划管理单元的范围边界，作为下层次及专项规划评估的重要参考依据。</a:t>
                </a:r>
                <a:endPara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  <p:sp>
            <p:nvSpPr>
              <p:cNvPr id="30" name="Rectangle 26">
                <a:extLst>
                  <a:ext uri="{FF2B5EF4-FFF2-40B4-BE49-F238E27FC236}">
                    <a16:creationId xmlns:a16="http://schemas.microsoft.com/office/drawing/2014/main" id="{517EEBD7-0680-421B-99F1-A1C11E9244AE}"/>
                  </a:ext>
                </a:extLst>
              </p:cNvPr>
              <p:cNvSpPr/>
              <p:nvPr>
                <p:custDataLst>
                  <p:tags r:id="rId9"/>
                </p:custDataLst>
              </p:nvPr>
            </p:nvSpPr>
            <p:spPr>
              <a:xfrm>
                <a:off x="3576629" y="3540629"/>
                <a:ext cx="2455809" cy="385436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4585A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明确单元管控导向及细则</a:t>
                </a:r>
              </a:p>
            </p:txBody>
          </p:sp>
          <p:sp>
            <p:nvSpPr>
              <p:cNvPr id="23" name="Rectangle 27">
                <a:extLst>
                  <a:ext uri="{FF2B5EF4-FFF2-40B4-BE49-F238E27FC236}">
                    <a16:creationId xmlns:a16="http://schemas.microsoft.com/office/drawing/2014/main" id="{F741A5BA-C194-4D62-A3B8-F9102EE37426}"/>
                  </a:ext>
                </a:extLst>
              </p:cNvPr>
              <p:cNvSpPr/>
              <p:nvPr>
                <p:custDataLst>
                  <p:tags r:id="rId10"/>
                </p:custDataLst>
              </p:nvPr>
            </p:nvSpPr>
            <p:spPr>
              <a:xfrm>
                <a:off x="6132560" y="3545010"/>
                <a:ext cx="2657474" cy="385436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指导下层次及专项规划编制</a:t>
                </a:r>
              </a:p>
            </p:txBody>
          </p:sp>
          <p:grpSp>
            <p:nvGrpSpPr>
              <p:cNvPr id="24" name="组合 23">
                <a:extLst>
                  <a:ext uri="{FF2B5EF4-FFF2-40B4-BE49-F238E27FC236}">
                    <a16:creationId xmlns:a16="http://schemas.microsoft.com/office/drawing/2014/main" id="{FFFACF83-15BC-4E51-8980-3F1DC1E18BFF}"/>
                  </a:ext>
                </a:extLst>
              </p:cNvPr>
              <p:cNvGrpSpPr/>
              <p:nvPr/>
            </p:nvGrpSpPr>
            <p:grpSpPr>
              <a:xfrm>
                <a:off x="1100786" y="3106044"/>
                <a:ext cx="2280297" cy="1088066"/>
                <a:chOff x="1230467" y="3269440"/>
                <a:chExt cx="2280297" cy="1088066"/>
              </a:xfrm>
            </p:grpSpPr>
            <p:sp>
              <p:nvSpPr>
                <p:cNvPr id="26" name="Rectangle 21">
                  <a:extLst>
                    <a:ext uri="{FF2B5EF4-FFF2-40B4-BE49-F238E27FC236}">
                      <a16:creationId xmlns:a16="http://schemas.microsoft.com/office/drawing/2014/main" id="{70EA0824-24CC-422D-BDD2-933CBADC9D7F}"/>
                    </a:ext>
                  </a:extLst>
                </p:cNvPr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1477494" y="3269440"/>
                  <a:ext cx="1650663" cy="329523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zh-CN" alt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+mn-ea"/>
                      <a:sym typeface="+mn-lt"/>
                    </a:rPr>
                    <a:t>第一步</a:t>
                  </a: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  <a:sym typeface="+mn-lt"/>
                  </a:endParaRPr>
                </a:p>
              </p:txBody>
            </p:sp>
            <p:sp>
              <p:nvSpPr>
                <p:cNvPr id="27" name="Freeform 25">
                  <a:extLst>
                    <a:ext uri="{FF2B5EF4-FFF2-40B4-BE49-F238E27FC236}">
                      <a16:creationId xmlns:a16="http://schemas.microsoft.com/office/drawing/2014/main" id="{7E54BE46-F293-4725-BF3D-9D34187C765B}"/>
                    </a:ext>
                  </a:extLst>
                </p:cNvPr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1230467" y="3564686"/>
                  <a:ext cx="2280297" cy="792820"/>
                </a:xfrm>
                <a:custGeom>
                  <a:avLst/>
                  <a:gdLst>
                    <a:gd name="connsiteX0" fmla="*/ 0 w 1739590"/>
                    <a:gd name="connsiteY0" fmla="*/ 713678 h 713678"/>
                    <a:gd name="connsiteX1" fmla="*/ 1739590 w 1739590"/>
                    <a:gd name="connsiteY1" fmla="*/ 0 h 713678"/>
                    <a:gd name="connsiteX0-1" fmla="*/ 0 w 1739590"/>
                    <a:gd name="connsiteY0-2" fmla="*/ 899531 h 899531"/>
                    <a:gd name="connsiteX1-3" fmla="*/ 1739590 w 1739590"/>
                    <a:gd name="connsiteY1-4" fmla="*/ 185853 h 899531"/>
                    <a:gd name="connsiteX0-5" fmla="*/ 0 w 1739590"/>
                    <a:gd name="connsiteY0-6" fmla="*/ 899531 h 899531"/>
                    <a:gd name="connsiteX1-7" fmla="*/ 1739590 w 1739590"/>
                    <a:gd name="connsiteY1-8" fmla="*/ 185853 h 899531"/>
                    <a:gd name="connsiteX0-9" fmla="*/ 0 w 1739590"/>
                    <a:gd name="connsiteY0-10" fmla="*/ 765716 h 765716"/>
                    <a:gd name="connsiteX1-11" fmla="*/ 1739590 w 1739590"/>
                    <a:gd name="connsiteY1-12" fmla="*/ 52038 h 765716"/>
                    <a:gd name="connsiteX0-13" fmla="*/ 0 w 1739590"/>
                    <a:gd name="connsiteY0-14" fmla="*/ 765716 h 765716"/>
                    <a:gd name="connsiteX1-15" fmla="*/ 1739590 w 1739590"/>
                    <a:gd name="connsiteY1-16" fmla="*/ 52038 h 765716"/>
                    <a:gd name="connsiteX0-17" fmla="*/ 0 w 1739590"/>
                    <a:gd name="connsiteY0-18" fmla="*/ 843775 h 843775"/>
                    <a:gd name="connsiteX1-19" fmla="*/ 1739590 w 1739590"/>
                    <a:gd name="connsiteY1-20" fmla="*/ 130097 h 843775"/>
                    <a:gd name="connsiteX0-21" fmla="*/ 0 w 1739590"/>
                    <a:gd name="connsiteY0-22" fmla="*/ 843775 h 843775"/>
                    <a:gd name="connsiteX1-23" fmla="*/ 1739590 w 1739590"/>
                    <a:gd name="connsiteY1-24" fmla="*/ 130097 h 843775"/>
                    <a:gd name="connsiteX0-25" fmla="*/ 0 w 1739590"/>
                    <a:gd name="connsiteY0-26" fmla="*/ 732263 h 732263"/>
                    <a:gd name="connsiteX1-27" fmla="*/ 1739590 w 1739590"/>
                    <a:gd name="connsiteY1-28" fmla="*/ 18585 h 732263"/>
                    <a:gd name="connsiteX0-29" fmla="*/ 0 w 1739590"/>
                    <a:gd name="connsiteY0-30" fmla="*/ 732263 h 732263"/>
                    <a:gd name="connsiteX1-31" fmla="*/ 1739590 w 1739590"/>
                    <a:gd name="connsiteY1-32" fmla="*/ 18585 h 732263"/>
                    <a:gd name="connsiteX0-33" fmla="*/ 0 w 1739590"/>
                    <a:gd name="connsiteY0-34" fmla="*/ 843775 h 843775"/>
                    <a:gd name="connsiteX1-35" fmla="*/ 1739590 w 1739590"/>
                    <a:gd name="connsiteY1-36" fmla="*/ 130097 h 843775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</a:cxnLst>
                  <a:rect l="l" t="t" r="r" b="b"/>
                  <a:pathLst>
                    <a:path w="1739590" h="843775">
                      <a:moveTo>
                        <a:pt x="0" y="843775"/>
                      </a:moveTo>
                      <a:cubicBezTo>
                        <a:pt x="412595" y="237891"/>
                        <a:pt x="724829" y="0"/>
                        <a:pt x="1739590" y="130097"/>
                      </a:cubicBezTo>
                    </a:path>
                  </a:pathLst>
                </a:custGeom>
                <a:noFill/>
                <a:ln w="22225" cap="flat" cmpd="sng" algn="ctr">
                  <a:solidFill>
                    <a:schemeClr val="accent5"/>
                  </a:solidFill>
                  <a:prstDash val="solid"/>
                  <a:tailEnd type="triangle" w="lg" len="lg"/>
                </a:ln>
                <a:effectLst/>
              </p:spPr>
              <p:txBody>
                <a:bodyPr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STXihei"/>
                    <a:cs typeface="+mn-cs"/>
                    <a:sym typeface="+mn-lt"/>
                  </a:endParaRPr>
                </a:p>
              </p:txBody>
            </p:sp>
          </p:grpSp>
          <p:sp>
            <p:nvSpPr>
              <p:cNvPr id="25" name="Rectangle 26">
                <a:extLst>
                  <a:ext uri="{FF2B5EF4-FFF2-40B4-BE49-F238E27FC236}">
                    <a16:creationId xmlns:a16="http://schemas.microsoft.com/office/drawing/2014/main" id="{B0AF6A39-D730-4CF1-97A0-8FDDAD0E2D6D}"/>
                  </a:ext>
                </a:extLst>
              </p:cNvPr>
              <p:cNvSpPr/>
              <p:nvPr>
                <p:custDataLst>
                  <p:tags r:id="rId11"/>
                </p:custDataLst>
              </p:nvPr>
            </p:nvSpPr>
            <p:spPr>
              <a:xfrm>
                <a:off x="1045226" y="4301889"/>
                <a:ext cx="2200492" cy="385436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4585A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上下联动划实单元范围</a:t>
                </a:r>
              </a:p>
            </p:txBody>
          </p:sp>
        </p:grpSp>
        <p:cxnSp>
          <p:nvCxnSpPr>
            <p:cNvPr id="9" name="直接连接符 8">
              <a:extLst>
                <a:ext uri="{FF2B5EF4-FFF2-40B4-BE49-F238E27FC236}">
                  <a16:creationId xmlns:a16="http://schemas.microsoft.com/office/drawing/2014/main" id="{6624103C-B578-49A3-A827-3185AA55FFB4}"/>
                </a:ext>
              </a:extLst>
            </p:cNvPr>
            <p:cNvCxnSpPr>
              <a:cxnSpLocks/>
              <a:stCxn id="16" idx="2"/>
            </p:cNvCxnSpPr>
            <p:nvPr/>
          </p:nvCxnSpPr>
          <p:spPr>
            <a:xfrm>
              <a:off x="2894131" y="3872417"/>
              <a:ext cx="4351372" cy="0"/>
            </a:xfrm>
            <a:prstGeom prst="line">
              <a:avLst/>
            </a:prstGeom>
            <a:ln w="25400">
              <a:solidFill>
                <a:srgbClr val="B2B2B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文本框 9">
              <a:extLst>
                <a:ext uri="{FF2B5EF4-FFF2-40B4-BE49-F238E27FC236}">
                  <a16:creationId xmlns:a16="http://schemas.microsoft.com/office/drawing/2014/main" id="{FF3715FA-7F11-4EB0-940F-0E621189BEB1}"/>
                </a:ext>
              </a:extLst>
            </p:cNvPr>
            <p:cNvSpPr txBox="1"/>
            <p:nvPr/>
          </p:nvSpPr>
          <p:spPr>
            <a:xfrm>
              <a:off x="2782123" y="6180436"/>
              <a:ext cx="2437309" cy="24817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txBody>
            <a:bodyPr wrap="square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0" i="0" u="none" strike="noStrike" kern="1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总体规划管理单元</a:t>
              </a:r>
              <a:endParaRPr kumimoji="0" lang="zh-CN" altLang="zh-CN" sz="14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</p:grpSp>
      <p:pic>
        <p:nvPicPr>
          <p:cNvPr id="28" name="图片 27">
            <a:extLst>
              <a:ext uri="{FF2B5EF4-FFF2-40B4-BE49-F238E27FC236}">
                <a16:creationId xmlns:a16="http://schemas.microsoft.com/office/drawing/2014/main" id="{12715F23-DCF1-4553-AADE-C0A8A0BF0040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3897" y="266599"/>
            <a:ext cx="2181375" cy="252000"/>
          </a:xfrm>
          <a:prstGeom prst="rect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3C4A441E-BCFD-A0F4-8F52-9FFAB7BCF0AA}"/>
              </a:ext>
            </a:extLst>
          </p:cNvPr>
          <p:cNvSpPr txBox="1"/>
          <p:nvPr/>
        </p:nvSpPr>
        <p:spPr>
          <a:xfrm>
            <a:off x="266727" y="145138"/>
            <a:ext cx="7782327" cy="4996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工作进展</a:t>
            </a:r>
          </a:p>
        </p:txBody>
      </p:sp>
    </p:spTree>
    <p:extLst>
      <p:ext uri="{BB962C8B-B14F-4D97-AF65-F5344CB8AC3E}">
        <p14:creationId xmlns:p14="http://schemas.microsoft.com/office/powerpoint/2010/main" val="3009492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8185B62D-879E-4645-B164-9BA3E69FDF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156339" cy="1020855"/>
          </a:xfrm>
          <a:prstGeom prst="rect">
            <a:avLst/>
          </a:prstGeom>
        </p:spPr>
      </p:pic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3768A16A-6C85-4243-9C3B-39A90672F0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291" y="6461389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651ACD-316E-4365-9FB7-82A7CA47D71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pic>
        <p:nvPicPr>
          <p:cNvPr id="25" name="图片 24">
            <a:extLst>
              <a:ext uri="{FF2B5EF4-FFF2-40B4-BE49-F238E27FC236}">
                <a16:creationId xmlns:a16="http://schemas.microsoft.com/office/drawing/2014/main" id="{75E325CD-B08D-429D-ADA1-4BF75513108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3897" y="266599"/>
            <a:ext cx="2181375" cy="252000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9F4C0FC6-5A86-967D-0A3B-A49407A61A43}"/>
              </a:ext>
            </a:extLst>
          </p:cNvPr>
          <p:cNvSpPr txBox="1"/>
          <p:nvPr/>
        </p:nvSpPr>
        <p:spPr>
          <a:xfrm>
            <a:off x="266727" y="145138"/>
            <a:ext cx="11658545" cy="4996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工作进展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4581CB9F-564C-2B06-45B3-C8C894247B18}"/>
              </a:ext>
            </a:extLst>
          </p:cNvPr>
          <p:cNvSpPr txBox="1"/>
          <p:nvPr/>
        </p:nvSpPr>
        <p:spPr>
          <a:xfrm>
            <a:off x="330119" y="784778"/>
            <a:ext cx="1165854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100" cap="none" spc="0" normalizeH="0" baseline="0" noProof="0" dirty="0">
                <a:ln>
                  <a:noFill/>
                </a:ln>
                <a:solidFill>
                  <a:srgbClr val="4D81B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楷体_GB2312" panose="02010609030101010101" pitchFamily="49" charset="-122"/>
              </a:rPr>
              <a:t>第二步：明确各类单元的管控导向，指导下层次及专项规划编制（修编）</a:t>
            </a:r>
          </a:p>
        </p:txBody>
      </p:sp>
      <p:sp>
        <p:nvSpPr>
          <p:cNvPr id="14" name="文本框 34">
            <a:extLst>
              <a:ext uri="{FF2B5EF4-FFF2-40B4-BE49-F238E27FC236}">
                <a16:creationId xmlns:a16="http://schemas.microsoft.com/office/drawing/2014/main" id="{28D63205-BA49-D5D3-5AA2-E7D238B1E869}"/>
              </a:ext>
            </a:extLst>
          </p:cNvPr>
          <p:cNvSpPr txBox="1"/>
          <p:nvPr/>
        </p:nvSpPr>
        <p:spPr>
          <a:xfrm>
            <a:off x="1022590" y="2884874"/>
            <a:ext cx="2995918" cy="22430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0" i="0" u="none" strike="noStrike" kern="1200" cap="none" spc="1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南城街道、石碣镇</a:t>
            </a:r>
            <a:endParaRPr kumimoji="0" lang="en-US" altLang="zh-CN" sz="2400" b="0" i="0" u="none" strike="noStrike" kern="1200" cap="none" spc="13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0" i="0" u="none" strike="noStrike" kern="1200" cap="none" spc="1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厚街镇、企石镇</a:t>
            </a:r>
            <a:endParaRPr kumimoji="0" lang="en-US" altLang="zh-CN" sz="2400" b="0" i="0" u="none" strike="noStrike" kern="1200" cap="none" spc="13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0" i="0" u="none" strike="noStrike" kern="1200" cap="none" spc="1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桥头镇、黄江镇</a:t>
            </a:r>
            <a:endParaRPr kumimoji="0" lang="en-US" altLang="zh-CN" sz="2400" b="0" i="0" u="none" strike="noStrike" kern="1200" cap="none" spc="13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0" i="0" u="none" strike="noStrike" kern="1200" cap="none" spc="1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樟木头镇</a:t>
            </a:r>
          </a:p>
        </p:txBody>
      </p: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73E51884-FB23-A347-C0B3-08F122B02B40}"/>
              </a:ext>
            </a:extLst>
          </p:cNvPr>
          <p:cNvGrpSpPr/>
          <p:nvPr/>
        </p:nvGrpSpPr>
        <p:grpSpPr>
          <a:xfrm>
            <a:off x="6296602" y="1824651"/>
            <a:ext cx="5126054" cy="4138697"/>
            <a:chOff x="877886" y="1211191"/>
            <a:chExt cx="5040000" cy="4376971"/>
          </a:xfrm>
        </p:grpSpPr>
        <p:sp>
          <p:nvSpPr>
            <p:cNvPr id="18" name="矩形: 圆角 17">
              <a:extLst>
                <a:ext uri="{FF2B5EF4-FFF2-40B4-BE49-F238E27FC236}">
                  <a16:creationId xmlns:a16="http://schemas.microsoft.com/office/drawing/2014/main" id="{1455B866-1222-D0FC-ABB6-271A6895D043}"/>
                </a:ext>
              </a:extLst>
            </p:cNvPr>
            <p:cNvSpPr/>
            <p:nvPr/>
          </p:nvSpPr>
          <p:spPr>
            <a:xfrm>
              <a:off x="877886" y="1211191"/>
              <a:ext cx="5040000" cy="4376971"/>
            </a:xfrm>
            <a:prstGeom prst="roundRect">
              <a:avLst>
                <a:gd name="adj" fmla="val 7441"/>
              </a:avLst>
            </a:prstGeom>
            <a:solidFill>
              <a:srgbClr val="00346B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9" name="文本框 44">
              <a:extLst>
                <a:ext uri="{FF2B5EF4-FFF2-40B4-BE49-F238E27FC236}">
                  <a16:creationId xmlns:a16="http://schemas.microsoft.com/office/drawing/2014/main" id="{8C79CA15-29D0-7078-83B7-212DC135D965}"/>
                </a:ext>
              </a:extLst>
            </p:cNvPr>
            <p:cNvSpPr txBox="1"/>
            <p:nvPr/>
          </p:nvSpPr>
          <p:spPr>
            <a:xfrm>
              <a:off x="2318161" y="1424612"/>
              <a:ext cx="2155686" cy="4882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规划体系传导</a:t>
              </a:r>
            </a:p>
          </p:txBody>
        </p:sp>
        <p:cxnSp>
          <p:nvCxnSpPr>
            <p:cNvPr id="20" name="直接连接符 19">
              <a:extLst>
                <a:ext uri="{FF2B5EF4-FFF2-40B4-BE49-F238E27FC236}">
                  <a16:creationId xmlns:a16="http://schemas.microsoft.com/office/drawing/2014/main" id="{70CFDE7C-D190-B800-4223-09AAD806A21E}"/>
                </a:ext>
              </a:extLst>
            </p:cNvPr>
            <p:cNvCxnSpPr/>
            <p:nvPr/>
          </p:nvCxnSpPr>
          <p:spPr>
            <a:xfrm flipV="1">
              <a:off x="1255939" y="1913721"/>
              <a:ext cx="4283895" cy="432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组合 21">
            <a:extLst>
              <a:ext uri="{FF2B5EF4-FFF2-40B4-BE49-F238E27FC236}">
                <a16:creationId xmlns:a16="http://schemas.microsoft.com/office/drawing/2014/main" id="{35F2EBBD-30EA-0A74-77C1-831941839B7D}"/>
              </a:ext>
            </a:extLst>
          </p:cNvPr>
          <p:cNvGrpSpPr/>
          <p:nvPr/>
        </p:nvGrpSpPr>
        <p:grpSpPr>
          <a:xfrm>
            <a:off x="902991" y="1824651"/>
            <a:ext cx="5126054" cy="4138697"/>
            <a:chOff x="877886" y="1211191"/>
            <a:chExt cx="5439879" cy="4376971"/>
          </a:xfrm>
        </p:grpSpPr>
        <p:sp>
          <p:nvSpPr>
            <p:cNvPr id="23" name="矩形: 圆角 22">
              <a:extLst>
                <a:ext uri="{FF2B5EF4-FFF2-40B4-BE49-F238E27FC236}">
                  <a16:creationId xmlns:a16="http://schemas.microsoft.com/office/drawing/2014/main" id="{1C7D638F-A4D6-E9CE-DD5F-CC5A44B7A7A4}"/>
                </a:ext>
              </a:extLst>
            </p:cNvPr>
            <p:cNvSpPr/>
            <p:nvPr/>
          </p:nvSpPr>
          <p:spPr>
            <a:xfrm>
              <a:off x="877886" y="1211191"/>
              <a:ext cx="5439879" cy="4376971"/>
            </a:xfrm>
            <a:prstGeom prst="roundRect">
              <a:avLst>
                <a:gd name="adj" fmla="val 7441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6" name="文本框 73">
              <a:extLst>
                <a:ext uri="{FF2B5EF4-FFF2-40B4-BE49-F238E27FC236}">
                  <a16:creationId xmlns:a16="http://schemas.microsoft.com/office/drawing/2014/main" id="{C7783889-A650-3888-65D7-89EC960783B7}"/>
                </a:ext>
              </a:extLst>
            </p:cNvPr>
            <p:cNvSpPr txBox="1"/>
            <p:nvPr/>
          </p:nvSpPr>
          <p:spPr>
            <a:xfrm>
              <a:off x="2320043" y="1412102"/>
              <a:ext cx="2155686" cy="4882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346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管理单元管控</a:t>
              </a:r>
            </a:p>
          </p:txBody>
        </p:sp>
        <p:cxnSp>
          <p:nvCxnSpPr>
            <p:cNvPr id="28" name="直接连接符 27">
              <a:extLst>
                <a:ext uri="{FF2B5EF4-FFF2-40B4-BE49-F238E27FC236}">
                  <a16:creationId xmlns:a16="http://schemas.microsoft.com/office/drawing/2014/main" id="{313116CB-D4F8-00B5-7F31-4BA962C14FC5}"/>
                </a:ext>
              </a:extLst>
            </p:cNvPr>
            <p:cNvCxnSpPr>
              <a:cxnSpLocks/>
            </p:cNvCxnSpPr>
            <p:nvPr/>
          </p:nvCxnSpPr>
          <p:spPr>
            <a:xfrm>
              <a:off x="1092887" y="1918047"/>
              <a:ext cx="502240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文本框 29">
            <a:extLst>
              <a:ext uri="{FF2B5EF4-FFF2-40B4-BE49-F238E27FC236}">
                <a16:creationId xmlns:a16="http://schemas.microsoft.com/office/drawing/2014/main" id="{4071B4FF-BCA8-C50D-1CAC-D0A47990840D}"/>
              </a:ext>
            </a:extLst>
          </p:cNvPr>
          <p:cNvSpPr txBox="1"/>
          <p:nvPr/>
        </p:nvSpPr>
        <p:spPr>
          <a:xfrm>
            <a:off x="7110000" y="3350823"/>
            <a:ext cx="3505194" cy="461665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1" i="0" u="none" strike="noStrike" kern="1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楷体_GB2312" panose="02010609030101010101" pitchFamily="49" charset="-122"/>
              </a:rPr>
              <a:t>新编控规范围</a:t>
            </a:r>
            <a:endParaRPr kumimoji="0" lang="zh-CN" altLang="en-US" sz="3200" b="1" i="0" u="none" strike="noStrike" kern="1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楷体_GB2312" panose="02010609030101010101" pitchFamily="49" charset="-122"/>
            </a:endParaRP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9319D0E1-FD9A-B269-D40C-7A0B6D54F778}"/>
              </a:ext>
            </a:extLst>
          </p:cNvPr>
          <p:cNvSpPr txBox="1"/>
          <p:nvPr/>
        </p:nvSpPr>
        <p:spPr>
          <a:xfrm>
            <a:off x="7110000" y="3960735"/>
            <a:ext cx="3505194" cy="461665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0">
            <a:spAutoFit/>
          </a:bodyPr>
          <a:lstStyle>
            <a:defPPr>
              <a:defRPr lang="zh-CN"/>
            </a:defPPr>
            <a:lvl1pPr algn="ctr">
              <a:defRPr sz="2400" b="1" kern="10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_GB2312" panose="02010609030101010101" pitchFamily="49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1" i="0" u="none" strike="noStrike" kern="1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已编控规评估</a:t>
            </a: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8AF7D15F-0970-2BE9-511E-8D5DD4CEFFBE}"/>
              </a:ext>
            </a:extLst>
          </p:cNvPr>
          <p:cNvSpPr txBox="1"/>
          <p:nvPr/>
        </p:nvSpPr>
        <p:spPr>
          <a:xfrm>
            <a:off x="1105589" y="2778135"/>
            <a:ext cx="2201087" cy="461665"/>
          </a:xfrm>
          <a:prstGeom prst="rect">
            <a:avLst/>
          </a:prstGeom>
          <a:solidFill>
            <a:srgbClr val="00346B"/>
          </a:solidFill>
        </p:spPr>
        <p:txBody>
          <a:bodyPr wrap="square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1" i="0" u="none" strike="noStrike" kern="1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楷体_GB2312" panose="02010609030101010101" pitchFamily="49" charset="-122"/>
              </a:rPr>
              <a:t>用途管制</a:t>
            </a:r>
            <a:endParaRPr kumimoji="0" lang="zh-CN" altLang="en-US" sz="3200" b="1" i="0" u="none" strike="noStrike" kern="1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楷体_GB2312" panose="02010609030101010101" pitchFamily="49" charset="-122"/>
            </a:endParaRPr>
          </a:p>
        </p:txBody>
      </p:sp>
      <p:sp>
        <p:nvSpPr>
          <p:cNvPr id="40" name="文本框 39">
            <a:extLst>
              <a:ext uri="{FF2B5EF4-FFF2-40B4-BE49-F238E27FC236}">
                <a16:creationId xmlns:a16="http://schemas.microsoft.com/office/drawing/2014/main" id="{ED502FB5-BC35-51DA-71A1-D4FBF206D7AC}"/>
              </a:ext>
            </a:extLst>
          </p:cNvPr>
          <p:cNvSpPr txBox="1"/>
          <p:nvPr/>
        </p:nvSpPr>
        <p:spPr>
          <a:xfrm>
            <a:off x="1105589" y="3791642"/>
            <a:ext cx="2201087" cy="461665"/>
          </a:xfrm>
          <a:prstGeom prst="rect">
            <a:avLst/>
          </a:prstGeom>
          <a:solidFill>
            <a:srgbClr val="00346B"/>
          </a:solidFill>
        </p:spPr>
        <p:txBody>
          <a:bodyPr wrap="square" anchor="ctr" anchorCtr="0">
            <a:spAutoFit/>
          </a:bodyPr>
          <a:lstStyle>
            <a:defPPr>
              <a:defRPr lang="zh-CN"/>
            </a:defPPr>
            <a:lvl1pPr algn="ctr">
              <a:defRPr sz="2400" b="1" kern="10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_GB2312" panose="02010609030101010101" pitchFamily="49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1" i="0" u="none" strike="noStrike" kern="1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空间治理</a:t>
            </a: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1016C83E-59A4-DE98-B9FC-6E18E790F6E0}"/>
              </a:ext>
            </a:extLst>
          </p:cNvPr>
          <p:cNvSpPr txBox="1"/>
          <p:nvPr/>
        </p:nvSpPr>
        <p:spPr>
          <a:xfrm>
            <a:off x="1105589" y="4480805"/>
            <a:ext cx="2201087" cy="461665"/>
          </a:xfrm>
          <a:prstGeom prst="rect">
            <a:avLst/>
          </a:prstGeom>
          <a:solidFill>
            <a:srgbClr val="00346B"/>
          </a:solidFill>
        </p:spPr>
        <p:txBody>
          <a:bodyPr wrap="square" anchor="ctr" anchorCtr="0">
            <a:spAutoFit/>
          </a:bodyPr>
          <a:lstStyle>
            <a:defPPr>
              <a:defRPr lang="zh-CN"/>
            </a:defPPr>
            <a:lvl1pPr algn="ctr">
              <a:defRPr sz="2400" b="1" kern="10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_GB2312" panose="02010609030101010101" pitchFamily="49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1" i="0" u="none" strike="noStrike" kern="1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设施配套</a:t>
            </a:r>
          </a:p>
        </p:txBody>
      </p:sp>
      <p:sp>
        <p:nvSpPr>
          <p:cNvPr id="44" name="文本框 43">
            <a:extLst>
              <a:ext uri="{FF2B5EF4-FFF2-40B4-BE49-F238E27FC236}">
                <a16:creationId xmlns:a16="http://schemas.microsoft.com/office/drawing/2014/main" id="{537F61A4-14AF-18C8-5544-C6A5E9358317}"/>
              </a:ext>
            </a:extLst>
          </p:cNvPr>
          <p:cNvSpPr txBox="1"/>
          <p:nvPr/>
        </p:nvSpPr>
        <p:spPr>
          <a:xfrm>
            <a:off x="1105589" y="5037163"/>
            <a:ext cx="2201087" cy="461665"/>
          </a:xfrm>
          <a:prstGeom prst="rect">
            <a:avLst/>
          </a:prstGeom>
          <a:solidFill>
            <a:srgbClr val="00346B"/>
          </a:solidFill>
        </p:spPr>
        <p:txBody>
          <a:bodyPr wrap="square" anchor="ctr" anchorCtr="0">
            <a:spAutoFit/>
          </a:bodyPr>
          <a:lstStyle>
            <a:defPPr>
              <a:defRPr lang="zh-CN"/>
            </a:defPPr>
            <a:lvl1pPr algn="ctr">
              <a:defRPr sz="2400" b="1" kern="10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_GB2312" panose="02010609030101010101" pitchFamily="49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1" i="0" u="none" strike="noStrike" kern="1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风貌引导</a:t>
            </a:r>
          </a:p>
        </p:txBody>
      </p:sp>
      <p:grpSp>
        <p:nvGrpSpPr>
          <p:cNvPr id="56" name="组合 55">
            <a:extLst>
              <a:ext uri="{FF2B5EF4-FFF2-40B4-BE49-F238E27FC236}">
                <a16:creationId xmlns:a16="http://schemas.microsoft.com/office/drawing/2014/main" id="{64EF59AD-FD79-BFDD-9D62-ADF53B7C0986}"/>
              </a:ext>
            </a:extLst>
          </p:cNvPr>
          <p:cNvGrpSpPr/>
          <p:nvPr/>
        </p:nvGrpSpPr>
        <p:grpSpPr>
          <a:xfrm>
            <a:off x="3637167" y="2743156"/>
            <a:ext cx="2201087" cy="2745440"/>
            <a:chOff x="4641995" y="6090587"/>
            <a:chExt cx="2201087" cy="2745440"/>
          </a:xfrm>
          <a:solidFill>
            <a:schemeClr val="accent3"/>
          </a:solidFill>
        </p:grpSpPr>
        <p:sp>
          <p:nvSpPr>
            <p:cNvPr id="33" name="文本框 32">
              <a:extLst>
                <a:ext uri="{FF2B5EF4-FFF2-40B4-BE49-F238E27FC236}">
                  <a16:creationId xmlns:a16="http://schemas.microsoft.com/office/drawing/2014/main" id="{B001F19A-A49F-DB9D-C3D8-4C842629AE97}"/>
                </a:ext>
              </a:extLst>
            </p:cNvPr>
            <p:cNvSpPr txBox="1"/>
            <p:nvPr/>
          </p:nvSpPr>
          <p:spPr>
            <a:xfrm>
              <a:off x="4641995" y="6090587"/>
              <a:ext cx="2201087" cy="461665"/>
            </a:xfrm>
            <a:prstGeom prst="rect">
              <a:avLst/>
            </a:prstGeom>
            <a:grpFill/>
          </p:spPr>
          <p:txBody>
            <a:bodyPr wrap="square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400" b="1" i="0" u="none" strike="noStrike" kern="1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楷体_GB2312" panose="02010609030101010101" pitchFamily="49" charset="-122"/>
                </a:rPr>
                <a:t>产业居住空间</a:t>
              </a:r>
              <a:endParaRPr kumimoji="0" lang="zh-CN" altLang="en-US" sz="3200" b="1" i="0" u="none" strike="noStrike" kern="1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楷体_GB2312" panose="02010609030101010101" pitchFamily="49" charset="-122"/>
              </a:endParaRPr>
            </a:p>
          </p:txBody>
        </p:sp>
        <p:sp>
          <p:nvSpPr>
            <p:cNvPr id="34" name="文本框 33">
              <a:extLst>
                <a:ext uri="{FF2B5EF4-FFF2-40B4-BE49-F238E27FC236}">
                  <a16:creationId xmlns:a16="http://schemas.microsoft.com/office/drawing/2014/main" id="{52DA9019-E00E-D4F2-07DB-9EE685101118}"/>
                </a:ext>
              </a:extLst>
            </p:cNvPr>
            <p:cNvSpPr txBox="1"/>
            <p:nvPr/>
          </p:nvSpPr>
          <p:spPr>
            <a:xfrm>
              <a:off x="4641995" y="6661531"/>
              <a:ext cx="2201087" cy="461665"/>
            </a:xfrm>
            <a:prstGeom prst="rect">
              <a:avLst/>
            </a:prstGeom>
            <a:grpFill/>
          </p:spPr>
          <p:txBody>
            <a:bodyPr wrap="square" anchor="ctr" anchorCtr="0">
              <a:spAutoFit/>
            </a:bodyPr>
            <a:lstStyle>
              <a:defPPr>
                <a:defRPr lang="zh-CN"/>
              </a:defPPr>
              <a:lvl1pPr algn="ctr">
                <a:defRPr sz="2400" b="1" kern="10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楷体_GB2312" panose="02010609030101010101" pitchFamily="49" charset="-122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400" b="1" i="0" u="none" strike="noStrike" kern="1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城市更新</a:t>
              </a:r>
            </a:p>
          </p:txBody>
        </p:sp>
        <p:sp>
          <p:nvSpPr>
            <p:cNvPr id="35" name="文本框 34">
              <a:extLst>
                <a:ext uri="{FF2B5EF4-FFF2-40B4-BE49-F238E27FC236}">
                  <a16:creationId xmlns:a16="http://schemas.microsoft.com/office/drawing/2014/main" id="{45F4A9FF-7BFA-6955-7E1D-30A155B6ABF2}"/>
                </a:ext>
              </a:extLst>
            </p:cNvPr>
            <p:cNvSpPr txBox="1"/>
            <p:nvPr/>
          </p:nvSpPr>
          <p:spPr>
            <a:xfrm>
              <a:off x="4641995" y="7232475"/>
              <a:ext cx="2201087" cy="461665"/>
            </a:xfrm>
            <a:prstGeom prst="rect">
              <a:avLst/>
            </a:prstGeom>
            <a:grpFill/>
          </p:spPr>
          <p:txBody>
            <a:bodyPr wrap="square" anchor="ctr" anchorCtr="0">
              <a:spAutoFit/>
            </a:bodyPr>
            <a:lstStyle>
              <a:defPPr>
                <a:defRPr lang="zh-CN"/>
              </a:defPPr>
              <a:lvl1pPr algn="ctr">
                <a:defRPr sz="2400" b="1" kern="10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楷体_GB2312" panose="02010609030101010101" pitchFamily="49" charset="-122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400" b="1" i="0" u="none" strike="noStrike" kern="1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密度分区</a:t>
              </a:r>
            </a:p>
          </p:txBody>
        </p:sp>
        <p:sp>
          <p:nvSpPr>
            <p:cNvPr id="36" name="文本框 35">
              <a:extLst>
                <a:ext uri="{FF2B5EF4-FFF2-40B4-BE49-F238E27FC236}">
                  <a16:creationId xmlns:a16="http://schemas.microsoft.com/office/drawing/2014/main" id="{27F5FE30-E923-9681-CA1E-36C536DCBDA2}"/>
                </a:ext>
              </a:extLst>
            </p:cNvPr>
            <p:cNvSpPr txBox="1"/>
            <p:nvPr/>
          </p:nvSpPr>
          <p:spPr>
            <a:xfrm>
              <a:off x="4641995" y="7803419"/>
              <a:ext cx="2201087" cy="461665"/>
            </a:xfrm>
            <a:prstGeom prst="rect">
              <a:avLst/>
            </a:prstGeom>
            <a:grpFill/>
          </p:spPr>
          <p:txBody>
            <a:bodyPr wrap="square" anchor="ctr" anchorCtr="0">
              <a:spAutoFit/>
            </a:bodyPr>
            <a:lstStyle>
              <a:defPPr>
                <a:defRPr lang="zh-CN"/>
              </a:defPPr>
              <a:lvl1pPr algn="ctr">
                <a:defRPr sz="2400" b="1" kern="10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楷体_GB2312" panose="02010609030101010101" pitchFamily="49" charset="-122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400" b="1" i="0" u="none" strike="noStrike" kern="1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耕地集聚区</a:t>
              </a:r>
            </a:p>
          </p:txBody>
        </p:sp>
        <p:sp>
          <p:nvSpPr>
            <p:cNvPr id="46" name="文本框 45">
              <a:extLst>
                <a:ext uri="{FF2B5EF4-FFF2-40B4-BE49-F238E27FC236}">
                  <a16:creationId xmlns:a16="http://schemas.microsoft.com/office/drawing/2014/main" id="{98E256A9-FA07-CE15-BBA5-5C8CA98BD8CD}"/>
                </a:ext>
              </a:extLst>
            </p:cNvPr>
            <p:cNvSpPr txBox="1"/>
            <p:nvPr/>
          </p:nvSpPr>
          <p:spPr>
            <a:xfrm>
              <a:off x="4641995" y="8374362"/>
              <a:ext cx="2201087" cy="461665"/>
            </a:xfrm>
            <a:prstGeom prst="rect">
              <a:avLst/>
            </a:prstGeom>
            <a:grpFill/>
          </p:spPr>
          <p:txBody>
            <a:bodyPr wrap="square" anchor="ctr" anchorCtr="0">
              <a:spAutoFit/>
            </a:bodyPr>
            <a:lstStyle>
              <a:defPPr>
                <a:defRPr lang="zh-CN"/>
              </a:defPPr>
              <a:lvl1pPr algn="ctr">
                <a:defRPr sz="2400" b="1" kern="10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楷体_GB2312" panose="02010609030101010101" pitchFamily="49" charset="-122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400" b="1" i="0" u="none" strike="noStrike" kern="1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生态修复</a:t>
              </a:r>
            </a:p>
          </p:txBody>
        </p:sp>
      </p:grpSp>
      <p:sp>
        <p:nvSpPr>
          <p:cNvPr id="51" name="文本框 50">
            <a:extLst>
              <a:ext uri="{FF2B5EF4-FFF2-40B4-BE49-F238E27FC236}">
                <a16:creationId xmlns:a16="http://schemas.microsoft.com/office/drawing/2014/main" id="{68149B91-BC93-2B6F-B989-61B357E59A10}"/>
              </a:ext>
            </a:extLst>
          </p:cNvPr>
          <p:cNvSpPr txBox="1"/>
          <p:nvPr/>
        </p:nvSpPr>
        <p:spPr>
          <a:xfrm>
            <a:off x="7110000" y="4570647"/>
            <a:ext cx="3505194" cy="461665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1" i="0" u="none" strike="noStrike" kern="1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楷体_GB2312" panose="02010609030101010101" pitchFamily="49" charset="-122"/>
              </a:rPr>
              <a:t>控规新编</a:t>
            </a:r>
            <a:r>
              <a:rPr kumimoji="0" lang="en-US" altLang="zh-CN" sz="2400" b="1" i="0" u="none" strike="noStrike" kern="1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楷体_GB2312" panose="02010609030101010101" pitchFamily="49" charset="-122"/>
              </a:rPr>
              <a:t>/</a:t>
            </a:r>
            <a:r>
              <a:rPr kumimoji="0" lang="zh-CN" altLang="en-US" sz="2400" b="1" i="0" u="none" strike="noStrike" kern="1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楷体_GB2312" panose="02010609030101010101" pitchFamily="49" charset="-122"/>
              </a:rPr>
              <a:t>修编细则</a:t>
            </a:r>
            <a:endParaRPr kumimoji="0" lang="zh-CN" altLang="en-US" sz="3200" b="1" i="0" u="none" strike="noStrike" kern="1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楷体_GB2312" panose="02010609030101010101" pitchFamily="49" charset="-122"/>
            </a:endParaRPr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CB6A6D43-A8DC-70A0-2F3A-E92F2E8DC727}"/>
              </a:ext>
            </a:extLst>
          </p:cNvPr>
          <p:cNvSpPr txBox="1"/>
          <p:nvPr/>
        </p:nvSpPr>
        <p:spPr>
          <a:xfrm>
            <a:off x="7110000" y="5180557"/>
            <a:ext cx="3505194" cy="461665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1" i="0" u="none" strike="noStrike" kern="1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楷体_GB2312" panose="02010609030101010101" pitchFamily="49" charset="-122"/>
              </a:rPr>
              <a:t>功能调整</a:t>
            </a:r>
            <a:endParaRPr kumimoji="0" lang="zh-CN" altLang="en-US" sz="3200" b="1" i="0" u="none" strike="noStrike" kern="1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楷体_GB2312" panose="02010609030101010101" pitchFamily="49" charset="-122"/>
            </a:endParaRPr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3B753FDE-997C-2F8F-2A30-B685F1CA3BCD}"/>
              </a:ext>
            </a:extLst>
          </p:cNvPr>
          <p:cNvSpPr txBox="1"/>
          <p:nvPr/>
        </p:nvSpPr>
        <p:spPr>
          <a:xfrm>
            <a:off x="7110000" y="2740911"/>
            <a:ext cx="3505194" cy="461665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1" i="0" u="none" strike="noStrike" kern="1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楷体_GB2312" panose="02010609030101010101" pitchFamily="49" charset="-122"/>
              </a:rPr>
              <a:t>规划管理单元导则</a:t>
            </a:r>
            <a:endParaRPr kumimoji="0" lang="zh-CN" altLang="en-US" sz="3200" b="1" i="0" u="none" strike="noStrike" kern="1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楷体_GB2312" panose="02010609030101010101" pitchFamily="49" charset="-122"/>
            </a:endParaRPr>
          </a:p>
        </p:txBody>
      </p:sp>
      <p:sp>
        <p:nvSpPr>
          <p:cNvPr id="60" name="左大括号 59">
            <a:extLst>
              <a:ext uri="{FF2B5EF4-FFF2-40B4-BE49-F238E27FC236}">
                <a16:creationId xmlns:a16="http://schemas.microsoft.com/office/drawing/2014/main" id="{AA53EADD-F868-7306-5C6A-ED3064344B26}"/>
              </a:ext>
            </a:extLst>
          </p:cNvPr>
          <p:cNvSpPr/>
          <p:nvPr/>
        </p:nvSpPr>
        <p:spPr>
          <a:xfrm>
            <a:off x="3344064" y="2868136"/>
            <a:ext cx="293103" cy="2390094"/>
          </a:xfrm>
          <a:prstGeom prst="leftBrace">
            <a:avLst/>
          </a:prstGeom>
          <a:ln w="190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07900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8185B62D-879E-4645-B164-9BA3E69FDF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156339" cy="1020855"/>
          </a:xfrm>
          <a:prstGeom prst="rect">
            <a:avLst/>
          </a:prstGeom>
        </p:spPr>
      </p:pic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3768A16A-6C85-4243-9C3B-39A90672F0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291" y="6461389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651ACD-316E-4365-9FB7-82A7CA47D71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pic>
        <p:nvPicPr>
          <p:cNvPr id="25" name="图片 24">
            <a:extLst>
              <a:ext uri="{FF2B5EF4-FFF2-40B4-BE49-F238E27FC236}">
                <a16:creationId xmlns:a16="http://schemas.microsoft.com/office/drawing/2014/main" id="{75E325CD-B08D-429D-ADA1-4BF75513108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3897" y="266599"/>
            <a:ext cx="2181375" cy="252000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9F4C0FC6-5A86-967D-0A3B-A49407A61A43}"/>
              </a:ext>
            </a:extLst>
          </p:cNvPr>
          <p:cNvSpPr txBox="1"/>
          <p:nvPr/>
        </p:nvSpPr>
        <p:spPr>
          <a:xfrm>
            <a:off x="266727" y="145138"/>
            <a:ext cx="11658545" cy="4996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工作进展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4581CB9F-564C-2B06-45B3-C8C894247B18}"/>
              </a:ext>
            </a:extLst>
          </p:cNvPr>
          <p:cNvSpPr txBox="1"/>
          <p:nvPr/>
        </p:nvSpPr>
        <p:spPr>
          <a:xfrm>
            <a:off x="330119" y="784778"/>
            <a:ext cx="1165854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100" cap="none" spc="0" normalizeH="0" baseline="0" noProof="0" dirty="0">
                <a:ln>
                  <a:noFill/>
                </a:ln>
                <a:solidFill>
                  <a:srgbClr val="4D81B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楷体_GB2312" panose="02010609030101010101" pitchFamily="49" charset="-122"/>
              </a:rPr>
              <a:t>第二步：明确各类单元的管控导向，指导下层次及专项规划编制（修编）</a:t>
            </a:r>
          </a:p>
        </p:txBody>
      </p:sp>
      <p:sp>
        <p:nvSpPr>
          <p:cNvPr id="3" name="矩形: 圆角 2">
            <a:extLst>
              <a:ext uri="{FF2B5EF4-FFF2-40B4-BE49-F238E27FC236}">
                <a16:creationId xmlns:a16="http://schemas.microsoft.com/office/drawing/2014/main" id="{8C166F8E-36B4-483C-72FB-70E006A8FC09}"/>
              </a:ext>
            </a:extLst>
          </p:cNvPr>
          <p:cNvSpPr/>
          <p:nvPr/>
        </p:nvSpPr>
        <p:spPr>
          <a:xfrm>
            <a:off x="1415733" y="2098029"/>
            <a:ext cx="9360533" cy="1073664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63500" sx="101000" sy="101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741DA4B0-9969-1CE6-A8D2-185DC20C1C73}"/>
              </a:ext>
            </a:extLst>
          </p:cNvPr>
          <p:cNvCxnSpPr/>
          <p:nvPr/>
        </p:nvCxnSpPr>
        <p:spPr>
          <a:xfrm>
            <a:off x="1442600" y="2356470"/>
            <a:ext cx="0" cy="540857"/>
          </a:xfrm>
          <a:prstGeom prst="line">
            <a:avLst/>
          </a:prstGeom>
          <a:ln w="38100" cap="rnd">
            <a:solidFill>
              <a:srgbClr val="00346B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文本框 32">
            <a:extLst>
              <a:ext uri="{FF2B5EF4-FFF2-40B4-BE49-F238E27FC236}">
                <a16:creationId xmlns:a16="http://schemas.microsoft.com/office/drawing/2014/main" id="{5F70E578-819B-F318-7631-27FB83CA0512}"/>
              </a:ext>
            </a:extLst>
          </p:cNvPr>
          <p:cNvSpPr txBox="1"/>
          <p:nvPr/>
        </p:nvSpPr>
        <p:spPr>
          <a:xfrm>
            <a:off x="1603430" y="2165233"/>
            <a:ext cx="62755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5400" b="1" i="0" u="none" strike="noStrike" kern="1200" cap="none" spc="130" normalizeH="0" baseline="0" noProof="0" dirty="0">
                <a:ln>
                  <a:noFill/>
                </a:ln>
                <a:solidFill>
                  <a:srgbClr val="00346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</a:t>
            </a:r>
            <a:endParaRPr kumimoji="0" lang="zh-CN" altLang="en-US" sz="5400" b="1" i="0" u="none" strike="noStrike" kern="1200" cap="none" spc="130" normalizeH="0" baseline="0" noProof="0" dirty="0">
              <a:ln>
                <a:noFill/>
              </a:ln>
              <a:solidFill>
                <a:srgbClr val="00346B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9" name="文本框 34">
            <a:extLst>
              <a:ext uri="{FF2B5EF4-FFF2-40B4-BE49-F238E27FC236}">
                <a16:creationId xmlns:a16="http://schemas.microsoft.com/office/drawing/2014/main" id="{70255D7A-D077-AD00-B07E-96A73468DC90}"/>
              </a:ext>
            </a:extLst>
          </p:cNvPr>
          <p:cNvSpPr txBox="1"/>
          <p:nvPr/>
        </p:nvSpPr>
        <p:spPr>
          <a:xfrm>
            <a:off x="2143991" y="2316270"/>
            <a:ext cx="8287652" cy="5810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0" i="0" u="none" strike="noStrike" kern="1200" cap="none" spc="13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《</a:t>
            </a:r>
            <a:r>
              <a:rPr kumimoji="0" lang="zh-CN" altLang="en-US" sz="2400" b="0" i="0" u="none" strike="noStrike" kern="1200" cap="none" spc="13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东莞市国土空间总体规划管理单元导则</a:t>
            </a:r>
            <a:r>
              <a:rPr kumimoji="0" lang="en-US" altLang="zh-CN" sz="2400" b="0" i="0" u="none" strike="noStrike" kern="1200" cap="none" spc="13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》</a:t>
            </a:r>
            <a:endParaRPr kumimoji="0" lang="zh-CN" altLang="en-US" sz="2400" b="0" i="0" u="none" strike="noStrike" kern="1200" cap="none" spc="13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0" name="矩形: 圆角 9">
            <a:extLst>
              <a:ext uri="{FF2B5EF4-FFF2-40B4-BE49-F238E27FC236}">
                <a16:creationId xmlns:a16="http://schemas.microsoft.com/office/drawing/2014/main" id="{38A685FC-0293-E763-90F3-410DC622FA05}"/>
              </a:ext>
            </a:extLst>
          </p:cNvPr>
          <p:cNvSpPr/>
          <p:nvPr/>
        </p:nvSpPr>
        <p:spPr>
          <a:xfrm>
            <a:off x="1415733" y="3357154"/>
            <a:ext cx="9360533" cy="1073664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63500" sx="101000" sy="101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231B1489-1100-5974-DC07-F2ED77AF0D39}"/>
              </a:ext>
            </a:extLst>
          </p:cNvPr>
          <p:cNvCxnSpPr/>
          <p:nvPr/>
        </p:nvCxnSpPr>
        <p:spPr>
          <a:xfrm>
            <a:off x="1442600" y="3615595"/>
            <a:ext cx="0" cy="540857"/>
          </a:xfrm>
          <a:prstGeom prst="line">
            <a:avLst/>
          </a:prstGeom>
          <a:ln w="38100" cap="rnd">
            <a:solidFill>
              <a:srgbClr val="00346B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文本框 32">
            <a:extLst>
              <a:ext uri="{FF2B5EF4-FFF2-40B4-BE49-F238E27FC236}">
                <a16:creationId xmlns:a16="http://schemas.microsoft.com/office/drawing/2014/main" id="{9F32A6F1-DE73-21A6-EBD5-3AF8C79819D9}"/>
              </a:ext>
            </a:extLst>
          </p:cNvPr>
          <p:cNvSpPr txBox="1"/>
          <p:nvPr/>
        </p:nvSpPr>
        <p:spPr>
          <a:xfrm>
            <a:off x="1603430" y="3424358"/>
            <a:ext cx="62755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5400" b="1" i="0" u="none" strike="noStrike" kern="1200" cap="none" spc="130" normalizeH="0" baseline="0" noProof="0" dirty="0">
                <a:ln>
                  <a:noFill/>
                </a:ln>
                <a:solidFill>
                  <a:srgbClr val="00346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</a:t>
            </a:r>
            <a:endParaRPr kumimoji="0" lang="zh-CN" altLang="en-US" sz="5400" b="1" i="0" u="none" strike="noStrike" kern="1200" cap="none" spc="130" normalizeH="0" baseline="0" noProof="0" dirty="0">
              <a:ln>
                <a:noFill/>
              </a:ln>
              <a:solidFill>
                <a:srgbClr val="00346B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3" name="文本框 34">
            <a:extLst>
              <a:ext uri="{FF2B5EF4-FFF2-40B4-BE49-F238E27FC236}">
                <a16:creationId xmlns:a16="http://schemas.microsoft.com/office/drawing/2014/main" id="{0A0CAE3F-8B26-6BDF-67A9-B18AB4EFD307}"/>
              </a:ext>
            </a:extLst>
          </p:cNvPr>
          <p:cNvSpPr txBox="1"/>
          <p:nvPr/>
        </p:nvSpPr>
        <p:spPr>
          <a:xfrm>
            <a:off x="2143991" y="3575395"/>
            <a:ext cx="8287652" cy="5810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0" i="0" u="none" strike="noStrike" kern="1200" cap="none" spc="13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《</a:t>
            </a:r>
            <a:r>
              <a:rPr kumimoji="0" lang="zh-CN" altLang="en-US" sz="2400" b="0" i="0" u="none" strike="noStrike" kern="1200" cap="none" spc="13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东莞市国土空间总体规划管理单元管控细则</a:t>
            </a:r>
            <a:r>
              <a:rPr kumimoji="0" lang="en-US" altLang="zh-CN" sz="2400" b="0" i="0" u="none" strike="noStrike" kern="1200" cap="none" spc="13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》</a:t>
            </a:r>
            <a:endParaRPr kumimoji="0" lang="zh-CN" altLang="en-US" sz="2400" b="0" i="0" u="none" strike="noStrike" kern="1200" cap="none" spc="13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5" name="矩形: 圆角 14">
            <a:extLst>
              <a:ext uri="{FF2B5EF4-FFF2-40B4-BE49-F238E27FC236}">
                <a16:creationId xmlns:a16="http://schemas.microsoft.com/office/drawing/2014/main" id="{770447E1-5BE4-B46F-0997-D5F3175EC31D}"/>
              </a:ext>
            </a:extLst>
          </p:cNvPr>
          <p:cNvSpPr/>
          <p:nvPr/>
        </p:nvSpPr>
        <p:spPr>
          <a:xfrm>
            <a:off x="1415733" y="4597694"/>
            <a:ext cx="9360533" cy="1073664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63500" sx="101000" sy="101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C0C00CDE-1AF8-EEE2-3364-94116E761A2E}"/>
              </a:ext>
            </a:extLst>
          </p:cNvPr>
          <p:cNvCxnSpPr/>
          <p:nvPr/>
        </p:nvCxnSpPr>
        <p:spPr>
          <a:xfrm>
            <a:off x="1442600" y="4856135"/>
            <a:ext cx="0" cy="540857"/>
          </a:xfrm>
          <a:prstGeom prst="line">
            <a:avLst/>
          </a:prstGeom>
          <a:ln w="38100" cap="rnd">
            <a:solidFill>
              <a:srgbClr val="00346B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文本框 32">
            <a:extLst>
              <a:ext uri="{FF2B5EF4-FFF2-40B4-BE49-F238E27FC236}">
                <a16:creationId xmlns:a16="http://schemas.microsoft.com/office/drawing/2014/main" id="{1AFE39D3-C2B6-32FF-0F3E-4CCD5EF7C86F}"/>
              </a:ext>
            </a:extLst>
          </p:cNvPr>
          <p:cNvSpPr txBox="1"/>
          <p:nvPr/>
        </p:nvSpPr>
        <p:spPr>
          <a:xfrm>
            <a:off x="1603430" y="4664898"/>
            <a:ext cx="62755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5400" b="1" i="0" u="none" strike="noStrike" kern="1200" cap="none" spc="130" normalizeH="0" baseline="0" noProof="0" dirty="0">
                <a:ln>
                  <a:noFill/>
                </a:ln>
                <a:solidFill>
                  <a:srgbClr val="00346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3</a:t>
            </a:r>
            <a:endParaRPr kumimoji="0" lang="zh-CN" altLang="en-US" sz="5400" b="1" i="0" u="none" strike="noStrike" kern="1200" cap="none" spc="130" normalizeH="0" baseline="0" noProof="0" dirty="0">
              <a:ln>
                <a:noFill/>
              </a:ln>
              <a:solidFill>
                <a:srgbClr val="00346B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4" name="文本框 34">
            <a:extLst>
              <a:ext uri="{FF2B5EF4-FFF2-40B4-BE49-F238E27FC236}">
                <a16:creationId xmlns:a16="http://schemas.microsoft.com/office/drawing/2014/main" id="{23050339-53B7-2511-9091-D0A4CF2DE0FA}"/>
              </a:ext>
            </a:extLst>
          </p:cNvPr>
          <p:cNvSpPr txBox="1"/>
          <p:nvPr/>
        </p:nvSpPr>
        <p:spPr>
          <a:xfrm>
            <a:off x="2143991" y="4815935"/>
            <a:ext cx="8287652" cy="5810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0" i="0" u="none" strike="noStrike" kern="1200" cap="none" spc="13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《</a:t>
            </a:r>
            <a:r>
              <a:rPr kumimoji="0" lang="zh-CN" altLang="en-US" sz="2400" b="0" i="0" u="none" strike="noStrike" kern="1200" cap="none" spc="13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东莞市国土空间总体规划管理单元管理办法</a:t>
            </a:r>
            <a:r>
              <a:rPr kumimoji="0" lang="en-US" altLang="zh-CN" sz="2400" b="0" i="0" u="none" strike="noStrike" kern="1200" cap="none" spc="13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》</a:t>
            </a:r>
            <a:endParaRPr kumimoji="0" lang="zh-CN" altLang="en-US" sz="2400" b="0" i="0" u="none" strike="noStrike" kern="1200" cap="none" spc="13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85279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>
            <a:extLst>
              <a:ext uri="{FF2B5EF4-FFF2-40B4-BE49-F238E27FC236}">
                <a16:creationId xmlns:a16="http://schemas.microsoft.com/office/drawing/2014/main" id="{B4739B15-0A07-421F-B8F6-AD3FBB5942FA}"/>
              </a:ext>
            </a:extLst>
          </p:cNvPr>
          <p:cNvSpPr/>
          <p:nvPr/>
        </p:nvSpPr>
        <p:spPr>
          <a:xfrm>
            <a:off x="0" y="0"/>
            <a:ext cx="7767202" cy="6858000"/>
          </a:xfrm>
          <a:prstGeom prst="rect">
            <a:avLst/>
          </a:prstGeom>
          <a:blipFill dpi="0" rotWithShape="1">
            <a:blip r:embed="rId4">
              <a:alphaModFix amt="32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FC09D839-DADC-4C43-B6CD-E00FA0EAE3FF}"/>
              </a:ext>
            </a:extLst>
          </p:cNvPr>
          <p:cNvSpPr txBox="1"/>
          <p:nvPr/>
        </p:nvSpPr>
        <p:spPr>
          <a:xfrm>
            <a:off x="304305" y="168334"/>
            <a:ext cx="2648445" cy="76944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6794BD"/>
                </a:solidFill>
                <a:effectLst/>
                <a:uLnTx/>
                <a:uFillTx/>
                <a:latin typeface="李旭科毛笔行书" panose="02010600030101010101" pitchFamily="2" charset="-122"/>
                <a:ea typeface="李旭科毛笔行书" panose="02010600030101010101" pitchFamily="2" charset="-122"/>
                <a:cs typeface="+mn-cs"/>
              </a:rPr>
              <a:t>汇报提纲</a:t>
            </a:r>
            <a:endParaRPr kumimoji="0" lang="en-US" altLang="zh-CN" sz="4400" b="1" i="0" u="none" strike="noStrike" kern="1200" cap="none" spc="0" normalizeH="0" baseline="0" noProof="0" dirty="0">
              <a:ln>
                <a:noFill/>
              </a:ln>
              <a:solidFill>
                <a:srgbClr val="6794BD"/>
              </a:solidFill>
              <a:effectLst/>
              <a:uLnTx/>
              <a:uFillTx/>
              <a:latin typeface="李旭科毛笔行书" panose="02010600030101010101" pitchFamily="2" charset="-122"/>
              <a:ea typeface="李旭科毛笔行书" panose="02010600030101010101" pitchFamily="2" charset="-122"/>
              <a:cs typeface="+mn-cs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E9C52E81-1011-1F53-DDCC-70287C3D0FCF}"/>
              </a:ext>
            </a:extLst>
          </p:cNvPr>
          <p:cNvSpPr txBox="1"/>
          <p:nvPr/>
        </p:nvSpPr>
        <p:spPr>
          <a:xfrm>
            <a:off x="4643679" y="1098196"/>
            <a:ext cx="4745456" cy="505099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>
            <a:defPPr>
              <a:defRPr lang="zh-CN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400" b="1" i="0" u="none" strike="noStrike" cap="none" spc="0" normalizeH="0" baseline="0">
                <a:ln>
                  <a:noFill/>
                </a:ln>
                <a:solidFill>
                  <a:srgbClr val="6794BD"/>
                </a:solidFill>
                <a:effectLst/>
                <a:uLnTx/>
                <a:uFillTx/>
                <a:latin typeface="李旭科毛笔行书" panose="02010600030101010101" pitchFamily="2" charset="-122"/>
                <a:ea typeface="李旭科毛笔行书" panose="02010600030101010101" pitchFamily="2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 </a:t>
            </a:r>
            <a:r>
              <a:rPr kumimoji="0" lang="zh-CN" alt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工作背景</a:t>
            </a:r>
            <a:endParaRPr kumimoji="0" lang="en-US" altLang="zh-CN" sz="44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400" b="1" i="0" u="none" strike="noStrike" kern="1200" cap="none" spc="0" normalizeH="0" baseline="0" noProof="0" dirty="0">
                <a:ln>
                  <a:noFill/>
                </a:ln>
                <a:solidFill>
                  <a:srgbClr val="6794BD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 </a:t>
            </a:r>
            <a:r>
              <a:rPr kumimoji="0" lang="zh-CN" alt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6794BD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工作理解</a:t>
            </a:r>
            <a:endParaRPr kumimoji="0" lang="en-US" altLang="zh-CN" sz="4400" b="1" i="0" u="none" strike="noStrike" kern="1200" cap="none" spc="0" normalizeH="0" baseline="0" noProof="0" dirty="0">
              <a:ln>
                <a:noFill/>
              </a:ln>
              <a:solidFill>
                <a:srgbClr val="6794BD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3 </a:t>
            </a:r>
            <a:r>
              <a:rPr kumimoji="0" lang="zh-CN" alt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管控衔接</a:t>
            </a:r>
            <a:endParaRPr kumimoji="0" lang="en-US" altLang="zh-CN" sz="44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4 </a:t>
            </a:r>
            <a:r>
              <a:rPr kumimoji="0" lang="zh-CN" alt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分类导向</a:t>
            </a:r>
            <a:endParaRPr kumimoji="0" lang="en-US" altLang="zh-CN" sz="44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5 </a:t>
            </a:r>
            <a:r>
              <a:rPr kumimoji="0" lang="zh-CN" alt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工作计划</a:t>
            </a:r>
            <a:endParaRPr kumimoji="0" lang="en-US" altLang="zh-CN" sz="44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625598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8185B62D-879E-4645-B164-9BA3E69FDF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156339" cy="1020855"/>
          </a:xfrm>
          <a:prstGeom prst="rect">
            <a:avLst/>
          </a:prstGeom>
        </p:spPr>
      </p:pic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3768A16A-6C85-4243-9C3B-39A90672F0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291" y="6461389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651ACD-316E-4365-9FB7-82A7CA47D71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2338A1DD-3E7B-481B-B8AE-C0FA15D0D7EA}"/>
              </a:ext>
            </a:extLst>
          </p:cNvPr>
          <p:cNvSpPr txBox="1"/>
          <p:nvPr/>
        </p:nvSpPr>
        <p:spPr>
          <a:xfrm>
            <a:off x="266727" y="145138"/>
            <a:ext cx="11658545" cy="4996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工作理解</a:t>
            </a:r>
            <a:endParaRPr kumimoji="0" lang="en-US" altLang="zh-CN" sz="2000" b="1" i="0" u="none" strike="noStrike" kern="1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pic>
        <p:nvPicPr>
          <p:cNvPr id="25" name="图片 24">
            <a:extLst>
              <a:ext uri="{FF2B5EF4-FFF2-40B4-BE49-F238E27FC236}">
                <a16:creationId xmlns:a16="http://schemas.microsoft.com/office/drawing/2014/main" id="{75E325CD-B08D-429D-ADA1-4BF75513108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3897" y="266599"/>
            <a:ext cx="2181375" cy="252000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469BBAE7-BD8C-73D6-E762-A62702043190}"/>
              </a:ext>
            </a:extLst>
          </p:cNvPr>
          <p:cNvSpPr/>
          <p:nvPr/>
        </p:nvSpPr>
        <p:spPr>
          <a:xfrm>
            <a:off x="3276128" y="5143432"/>
            <a:ext cx="3911698" cy="119179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63095C82-C7A9-2DE6-E8BE-751B0FE2F1AA}"/>
              </a:ext>
            </a:extLst>
          </p:cNvPr>
          <p:cNvSpPr/>
          <p:nvPr/>
        </p:nvSpPr>
        <p:spPr>
          <a:xfrm>
            <a:off x="3237794" y="1970028"/>
            <a:ext cx="8687478" cy="56761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4141DFE9-16D9-0EE2-3B1A-E5641A5824EC}"/>
              </a:ext>
            </a:extLst>
          </p:cNvPr>
          <p:cNvSpPr/>
          <p:nvPr/>
        </p:nvSpPr>
        <p:spPr>
          <a:xfrm>
            <a:off x="346827" y="1972434"/>
            <a:ext cx="2782728" cy="565211"/>
          </a:xfrm>
          <a:prstGeom prst="rect">
            <a:avLst/>
          </a:prstGeom>
          <a:solidFill>
            <a:srgbClr val="0544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发展战略谋划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65D38208-9D51-6984-1AD2-59053C45FBFE}"/>
              </a:ext>
            </a:extLst>
          </p:cNvPr>
          <p:cNvSpPr txBox="1"/>
          <p:nvPr/>
        </p:nvSpPr>
        <p:spPr>
          <a:xfrm>
            <a:off x="3237793" y="2067704"/>
            <a:ext cx="305300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-10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Helvetica"/>
                <a:sym typeface="+mn-ea"/>
              </a:rPr>
              <a:t>“一屏一区多廊”</a:t>
            </a:r>
            <a:r>
              <a:rPr kumimoji="0" lang="zh-CN" altLang="en-US" sz="1800" b="1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Helvetica"/>
                <a:sym typeface="+mn-ea"/>
              </a:rPr>
              <a:t>的生态格局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7C09CBB4-3290-CD32-31C8-061E290B5CFF}"/>
              </a:ext>
            </a:extLst>
          </p:cNvPr>
          <p:cNvSpPr txBox="1"/>
          <p:nvPr/>
        </p:nvSpPr>
        <p:spPr>
          <a:xfrm>
            <a:off x="6220695" y="2067704"/>
            <a:ext cx="352649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-10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Helvetica"/>
                <a:sym typeface="+mn-ea"/>
              </a:rPr>
              <a:t>“三心三副多节点”</a:t>
            </a:r>
            <a:r>
              <a:rPr kumimoji="0" lang="zh-CN" altLang="en-US" sz="1800" b="1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Helvetica"/>
                <a:sym typeface="+mn-ea"/>
              </a:rPr>
              <a:t>的城镇格局</a:t>
            </a:r>
            <a:endParaRPr kumimoji="0" lang="zh-CN" altLang="en-US" sz="1800" b="1" i="0" u="none" strike="noStrike" kern="1200" cap="none" spc="-10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Helvetica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DD087483-F4AB-59B7-B7FA-D7FBD4459C36}"/>
              </a:ext>
            </a:extLst>
          </p:cNvPr>
          <p:cNvSpPr txBox="1"/>
          <p:nvPr/>
        </p:nvSpPr>
        <p:spPr>
          <a:xfrm>
            <a:off x="9381942" y="2067704"/>
            <a:ext cx="239693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-10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Helvetica"/>
                <a:sym typeface="+mn-ea"/>
              </a:rPr>
              <a:t>“</a:t>
            </a:r>
            <a:r>
              <a:rPr kumimoji="0" lang="en-US" altLang="zh-CN" sz="1800" b="1" i="0" u="none" strike="noStrike" kern="1200" cap="none" spc="-10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Helvetica"/>
                <a:sym typeface="+mn-ea"/>
              </a:rPr>
              <a:t>6+6</a:t>
            </a:r>
            <a:r>
              <a:rPr kumimoji="0" lang="zh-CN" altLang="en-US" sz="1800" b="1" i="0" u="none" strike="noStrike" kern="1200" cap="none" spc="-10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Helvetica"/>
                <a:sym typeface="+mn-ea"/>
              </a:rPr>
              <a:t>”</a:t>
            </a:r>
            <a:r>
              <a:rPr kumimoji="0" lang="zh-CN" altLang="en-US" sz="1800" b="1" i="0" u="none" strike="noStrike" kern="1200" cap="none" spc="-10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Helvetica"/>
                <a:sym typeface="+mn-ea"/>
              </a:rPr>
              <a:t>枢纽门户地区</a:t>
            </a:r>
            <a:endParaRPr kumimoji="0" lang="zh-CN" altLang="en-US" sz="1800" b="1" i="0" u="none" strike="noStrike" kern="1200" cap="none" spc="-10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Helvetica"/>
            </a:endParaRPr>
          </a:p>
        </p:txBody>
      </p:sp>
      <p:cxnSp>
        <p:nvCxnSpPr>
          <p:cNvPr id="14" name="直接箭头连接符 13">
            <a:extLst>
              <a:ext uri="{FF2B5EF4-FFF2-40B4-BE49-F238E27FC236}">
                <a16:creationId xmlns:a16="http://schemas.microsoft.com/office/drawing/2014/main" id="{5D44D189-A6A7-60E2-B88D-773C7EB7963A}"/>
              </a:ext>
            </a:extLst>
          </p:cNvPr>
          <p:cNvCxnSpPr>
            <a:cxnSpLocks/>
          </p:cNvCxnSpPr>
          <p:nvPr/>
        </p:nvCxnSpPr>
        <p:spPr>
          <a:xfrm>
            <a:off x="1759295" y="2537645"/>
            <a:ext cx="0" cy="52400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矩形 14">
            <a:extLst>
              <a:ext uri="{FF2B5EF4-FFF2-40B4-BE49-F238E27FC236}">
                <a16:creationId xmlns:a16="http://schemas.microsoft.com/office/drawing/2014/main" id="{41B4A868-4854-D3EA-E1CD-B216E9345B98}"/>
              </a:ext>
            </a:extLst>
          </p:cNvPr>
          <p:cNvSpPr/>
          <p:nvPr/>
        </p:nvSpPr>
        <p:spPr>
          <a:xfrm>
            <a:off x="3237794" y="3140118"/>
            <a:ext cx="3950031" cy="162900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grpSp>
        <p:nvGrpSpPr>
          <p:cNvPr id="16" name="组合 15">
            <a:extLst>
              <a:ext uri="{FF2B5EF4-FFF2-40B4-BE49-F238E27FC236}">
                <a16:creationId xmlns:a16="http://schemas.microsoft.com/office/drawing/2014/main" id="{B3513344-D8B0-B72E-E73B-D97F520AA3F8}"/>
              </a:ext>
            </a:extLst>
          </p:cNvPr>
          <p:cNvGrpSpPr/>
          <p:nvPr/>
        </p:nvGrpSpPr>
        <p:grpSpPr>
          <a:xfrm>
            <a:off x="3915640" y="3687962"/>
            <a:ext cx="2983997" cy="1026184"/>
            <a:chOff x="7948013" y="4307916"/>
            <a:chExt cx="3053009" cy="1015121"/>
          </a:xfrm>
        </p:grpSpPr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A961D334-0644-FBF0-97DF-E1E8041509BD}"/>
                </a:ext>
              </a:extLst>
            </p:cNvPr>
            <p:cNvSpPr txBox="1"/>
            <p:nvPr/>
          </p:nvSpPr>
          <p:spPr>
            <a:xfrm>
              <a:off x="7948013" y="4307916"/>
              <a:ext cx="305300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800" b="1" i="0" u="none" strike="noStrike" kern="1200" cap="none" spc="-10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Helvetica"/>
                  <a:sym typeface="+mn-ea"/>
                </a:rPr>
                <a:t>农业空间（永久基本农田）</a:t>
              </a: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8" name="文本框 17">
              <a:extLst>
                <a:ext uri="{FF2B5EF4-FFF2-40B4-BE49-F238E27FC236}">
                  <a16:creationId xmlns:a16="http://schemas.microsoft.com/office/drawing/2014/main" id="{6E87508A-932C-370E-9992-87D4B0E91B0B}"/>
                </a:ext>
              </a:extLst>
            </p:cNvPr>
            <p:cNvSpPr txBox="1"/>
            <p:nvPr/>
          </p:nvSpPr>
          <p:spPr>
            <a:xfrm>
              <a:off x="7948013" y="4630810"/>
              <a:ext cx="278775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800" b="1" i="0" u="none" strike="noStrike" kern="1200" cap="none" spc="-10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Helvetica"/>
                  <a:sym typeface="+mn-ea"/>
                </a:rPr>
                <a:t>生态空间（生态保护红线）</a:t>
              </a:r>
              <a:endParaRPr kumimoji="0" lang="zh-CN" altLang="en-US" sz="1800" b="1" i="0" u="none" strike="noStrike" kern="120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Helvetica"/>
              </a:endParaRPr>
            </a:p>
          </p:txBody>
        </p:sp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AE14E553-A031-EC0F-2271-8228D676F9EE}"/>
                </a:ext>
              </a:extLst>
            </p:cNvPr>
            <p:cNvSpPr txBox="1"/>
            <p:nvPr/>
          </p:nvSpPr>
          <p:spPr>
            <a:xfrm>
              <a:off x="7948013" y="4953705"/>
              <a:ext cx="278775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800" b="1" i="0" u="none" strike="noStrike" kern="1200" cap="none" spc="-10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Helvetica"/>
                  <a:sym typeface="+mn-ea"/>
                </a:rPr>
                <a:t>城镇空间（城镇开发边界）</a:t>
              </a:r>
              <a:endParaRPr kumimoji="0" lang="zh-CN" altLang="en-US" sz="1800" b="1" i="0" u="none" strike="noStrike" kern="120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Helvetica"/>
              </a:endParaRPr>
            </a:p>
          </p:txBody>
        </p:sp>
      </p:grpSp>
      <p:cxnSp>
        <p:nvCxnSpPr>
          <p:cNvPr id="20" name="直接箭头连接符 19">
            <a:extLst>
              <a:ext uri="{FF2B5EF4-FFF2-40B4-BE49-F238E27FC236}">
                <a16:creationId xmlns:a16="http://schemas.microsoft.com/office/drawing/2014/main" id="{1DFD7212-5F3A-50E1-E27E-BB4BD287B4A3}"/>
              </a:ext>
            </a:extLst>
          </p:cNvPr>
          <p:cNvCxnSpPr>
            <a:cxnSpLocks/>
          </p:cNvCxnSpPr>
          <p:nvPr/>
        </p:nvCxnSpPr>
        <p:spPr>
          <a:xfrm>
            <a:off x="1728161" y="3746782"/>
            <a:ext cx="0" cy="135207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矩形 21">
            <a:extLst>
              <a:ext uri="{FF2B5EF4-FFF2-40B4-BE49-F238E27FC236}">
                <a16:creationId xmlns:a16="http://schemas.microsoft.com/office/drawing/2014/main" id="{72C3244A-D4DA-C628-D2C6-461E700D9BAC}"/>
              </a:ext>
            </a:extLst>
          </p:cNvPr>
          <p:cNvSpPr/>
          <p:nvPr/>
        </p:nvSpPr>
        <p:spPr>
          <a:xfrm>
            <a:off x="336797" y="3136995"/>
            <a:ext cx="2782728" cy="565211"/>
          </a:xfrm>
          <a:prstGeom prst="rect">
            <a:avLst/>
          </a:prstGeom>
          <a:solidFill>
            <a:srgbClr val="0544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空间格局谋划</a:t>
            </a: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438F877B-822E-F2F0-B92D-5F0CA3A28871}"/>
              </a:ext>
            </a:extLst>
          </p:cNvPr>
          <p:cNvSpPr/>
          <p:nvPr/>
        </p:nvSpPr>
        <p:spPr>
          <a:xfrm>
            <a:off x="336797" y="5143431"/>
            <a:ext cx="2782728" cy="565211"/>
          </a:xfrm>
          <a:prstGeom prst="rect">
            <a:avLst/>
          </a:prstGeom>
          <a:solidFill>
            <a:srgbClr val="0544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用地布局谋划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BB4C11F1-5C61-5724-60A1-8BF35F94EEB9}"/>
              </a:ext>
            </a:extLst>
          </p:cNvPr>
          <p:cNvSpPr txBox="1"/>
          <p:nvPr/>
        </p:nvSpPr>
        <p:spPr>
          <a:xfrm>
            <a:off x="3686304" y="5549136"/>
            <a:ext cx="305300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-10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Helvetica"/>
                <a:sym typeface="+mn-ea"/>
              </a:rPr>
              <a:t>规模管控</a:t>
            </a:r>
            <a:r>
              <a:rPr kumimoji="0" lang="zh-CN" altLang="en-US" sz="2000" b="1" i="0" u="none" strike="noStrike" kern="120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Helvetica"/>
                <a:sym typeface="+mn-ea"/>
              </a:rPr>
              <a:t>（落实规模要求）</a:t>
            </a: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EC31FD23-2516-7426-ED69-C4EC23587E74}"/>
              </a:ext>
            </a:extLst>
          </p:cNvPr>
          <p:cNvSpPr txBox="1"/>
          <p:nvPr/>
        </p:nvSpPr>
        <p:spPr>
          <a:xfrm>
            <a:off x="3616251" y="3239466"/>
            <a:ext cx="290492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-10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Helvetica"/>
              </a:rPr>
              <a:t>“三区三线”划定</a:t>
            </a: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3275E017-8B42-1003-C792-698184B65333}"/>
              </a:ext>
            </a:extLst>
          </p:cNvPr>
          <p:cNvSpPr/>
          <p:nvPr/>
        </p:nvSpPr>
        <p:spPr>
          <a:xfrm>
            <a:off x="7916264" y="3134557"/>
            <a:ext cx="3950031" cy="162900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grpSp>
        <p:nvGrpSpPr>
          <p:cNvPr id="29" name="组合 28">
            <a:extLst>
              <a:ext uri="{FF2B5EF4-FFF2-40B4-BE49-F238E27FC236}">
                <a16:creationId xmlns:a16="http://schemas.microsoft.com/office/drawing/2014/main" id="{4F7256FE-8957-D78B-8F44-210A194CDED2}"/>
              </a:ext>
            </a:extLst>
          </p:cNvPr>
          <p:cNvGrpSpPr/>
          <p:nvPr/>
        </p:nvGrpSpPr>
        <p:grpSpPr>
          <a:xfrm>
            <a:off x="8594110" y="3682402"/>
            <a:ext cx="3184771" cy="1022159"/>
            <a:chOff x="7948012" y="4307916"/>
            <a:chExt cx="3258426" cy="1011139"/>
          </a:xfrm>
        </p:grpSpPr>
        <p:sp>
          <p:nvSpPr>
            <p:cNvPr id="30" name="文本框 29">
              <a:extLst>
                <a:ext uri="{FF2B5EF4-FFF2-40B4-BE49-F238E27FC236}">
                  <a16:creationId xmlns:a16="http://schemas.microsoft.com/office/drawing/2014/main" id="{2270F222-5239-D1FE-F0C3-12FF81670B64}"/>
                </a:ext>
              </a:extLst>
            </p:cNvPr>
            <p:cNvSpPr txBox="1"/>
            <p:nvPr/>
          </p:nvSpPr>
          <p:spPr>
            <a:xfrm>
              <a:off x="7948013" y="4307916"/>
              <a:ext cx="3258425" cy="36535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800" b="1" i="0" u="none" strike="noStrike" kern="1200" cap="none" spc="-10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Helvetica"/>
                  <a:sym typeface="+mn-ea"/>
                </a:rPr>
                <a:t>空间秩序（差异化的单元类型）</a:t>
              </a:r>
            </a:p>
          </p:txBody>
        </p:sp>
        <p:sp>
          <p:nvSpPr>
            <p:cNvPr id="31" name="文本框 30">
              <a:extLst>
                <a:ext uri="{FF2B5EF4-FFF2-40B4-BE49-F238E27FC236}">
                  <a16:creationId xmlns:a16="http://schemas.microsoft.com/office/drawing/2014/main" id="{A56A43F0-4F79-5E20-2FCA-89ED723E2C92}"/>
                </a:ext>
              </a:extLst>
            </p:cNvPr>
            <p:cNvSpPr txBox="1"/>
            <p:nvPr/>
          </p:nvSpPr>
          <p:spPr>
            <a:xfrm>
              <a:off x="7948012" y="4630810"/>
              <a:ext cx="3174012" cy="36535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800" b="1" i="0" u="none" strike="noStrike" kern="1200" cap="none" spc="-10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Helvetica"/>
                  <a:sym typeface="+mn-ea"/>
                </a:rPr>
                <a:t>治理平台（差异化的治理规则）</a:t>
              </a:r>
            </a:p>
          </p:txBody>
        </p:sp>
        <p:sp>
          <p:nvSpPr>
            <p:cNvPr id="32" name="文本框 31">
              <a:extLst>
                <a:ext uri="{FF2B5EF4-FFF2-40B4-BE49-F238E27FC236}">
                  <a16:creationId xmlns:a16="http://schemas.microsoft.com/office/drawing/2014/main" id="{AA006D65-9AEF-E69A-AE5D-37700824FF78}"/>
                </a:ext>
              </a:extLst>
            </p:cNvPr>
            <p:cNvSpPr txBox="1"/>
            <p:nvPr/>
          </p:nvSpPr>
          <p:spPr>
            <a:xfrm>
              <a:off x="7948012" y="4953705"/>
              <a:ext cx="3053009" cy="36535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800" b="1" i="0" u="none" strike="noStrike" kern="1200" cap="none" spc="-10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Helvetica"/>
                  <a:sym typeface="+mn-ea"/>
                </a:rPr>
                <a:t>管控共识（部门协同政策）</a:t>
              </a:r>
            </a:p>
          </p:txBody>
        </p:sp>
      </p:grpSp>
      <p:sp>
        <p:nvSpPr>
          <p:cNvPr id="33" name="文本框 32">
            <a:extLst>
              <a:ext uri="{FF2B5EF4-FFF2-40B4-BE49-F238E27FC236}">
                <a16:creationId xmlns:a16="http://schemas.microsoft.com/office/drawing/2014/main" id="{84CCB4B3-5770-977F-045D-53421CB6AB72}"/>
              </a:ext>
            </a:extLst>
          </p:cNvPr>
          <p:cNvSpPr txBox="1"/>
          <p:nvPr/>
        </p:nvSpPr>
        <p:spPr>
          <a:xfrm>
            <a:off x="8412990" y="3221600"/>
            <a:ext cx="290492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-10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Helvetica"/>
              </a:rPr>
              <a:t>规划管理单元</a:t>
            </a: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33C98E15-0FDD-21F0-73CE-6E5CC30A7268}"/>
              </a:ext>
            </a:extLst>
          </p:cNvPr>
          <p:cNvSpPr/>
          <p:nvPr/>
        </p:nvSpPr>
        <p:spPr>
          <a:xfrm>
            <a:off x="7944775" y="5137662"/>
            <a:ext cx="3911698" cy="119179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00398205-E1C8-CEE2-B5E1-9E0FA16CF4D0}"/>
              </a:ext>
            </a:extLst>
          </p:cNvPr>
          <p:cNvSpPr txBox="1"/>
          <p:nvPr/>
        </p:nvSpPr>
        <p:spPr>
          <a:xfrm>
            <a:off x="8594109" y="5224724"/>
            <a:ext cx="3053009" cy="9671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-10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Helvetica"/>
                <a:sym typeface="+mn-ea"/>
              </a:rPr>
              <a:t>用途管控</a:t>
            </a:r>
            <a:r>
              <a:rPr kumimoji="0" lang="zh-CN" altLang="en-US" sz="2000" b="1" i="0" u="none" strike="noStrike" kern="120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Helvetica"/>
                <a:sym typeface="+mn-ea"/>
              </a:rPr>
              <a:t>（用地规划图）</a:t>
            </a:r>
            <a:endParaRPr kumimoji="0" lang="en-US" altLang="zh-CN" sz="2000" b="1" i="0" u="none" strike="noStrike" kern="1200" cap="none" spc="-10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Helvetica"/>
              <a:sym typeface="+mn-ea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-10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Helvetica"/>
                <a:sym typeface="+mn-ea"/>
              </a:rPr>
              <a:t>专项管控</a:t>
            </a:r>
            <a:r>
              <a:rPr kumimoji="0" lang="zh-CN" altLang="en-US" sz="2000" b="1" i="0" u="none" strike="noStrike" kern="1200" cap="none" spc="-1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Helvetica"/>
                <a:sym typeface="+mn-ea"/>
              </a:rPr>
              <a:t>（专项管控底线）</a:t>
            </a: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37" name="箭头: 右 36">
            <a:extLst>
              <a:ext uri="{FF2B5EF4-FFF2-40B4-BE49-F238E27FC236}">
                <a16:creationId xmlns:a16="http://schemas.microsoft.com/office/drawing/2014/main" id="{4E5E9252-31B3-EEE0-E73C-5A957937983E}"/>
              </a:ext>
            </a:extLst>
          </p:cNvPr>
          <p:cNvSpPr/>
          <p:nvPr/>
        </p:nvSpPr>
        <p:spPr>
          <a:xfrm>
            <a:off x="7367225" y="3827779"/>
            <a:ext cx="420516" cy="362072"/>
          </a:xfrm>
          <a:prstGeom prst="rightArrow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6F4820E4-FA3E-4D4A-13AD-2C7150C9F640}"/>
              </a:ext>
            </a:extLst>
          </p:cNvPr>
          <p:cNvSpPr txBox="1"/>
          <p:nvPr/>
        </p:nvSpPr>
        <p:spPr>
          <a:xfrm>
            <a:off x="330119" y="784778"/>
            <a:ext cx="1165854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100" cap="none" spc="0" normalizeH="0" baseline="0" noProof="0" dirty="0">
                <a:ln>
                  <a:noFill/>
                </a:ln>
                <a:solidFill>
                  <a:srgbClr val="4D81B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楷体_GB2312" panose="02010609030101010101" pitchFamily="49" charset="-122"/>
              </a:rPr>
              <a:t>三区三线划定后，国土空间规划进入到空间布局谋划阶段： </a:t>
            </a:r>
          </a:p>
        </p:txBody>
      </p:sp>
    </p:spTree>
    <p:extLst>
      <p:ext uri="{BB962C8B-B14F-4D97-AF65-F5344CB8AC3E}">
        <p14:creationId xmlns:p14="http://schemas.microsoft.com/office/powerpoint/2010/main" val="183372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8185B62D-879E-4645-B164-9BA3E69FDF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156339" cy="1020855"/>
          </a:xfrm>
          <a:prstGeom prst="rect">
            <a:avLst/>
          </a:prstGeom>
        </p:spPr>
      </p:pic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3768A16A-6C85-4243-9C3B-39A90672F0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291" y="6461389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651ACD-316E-4365-9FB7-82A7CA47D71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2338A1DD-3E7B-481B-B8AE-C0FA15D0D7EA}"/>
              </a:ext>
            </a:extLst>
          </p:cNvPr>
          <p:cNvSpPr txBox="1"/>
          <p:nvPr/>
        </p:nvSpPr>
        <p:spPr>
          <a:xfrm>
            <a:off x="266727" y="145138"/>
            <a:ext cx="11658545" cy="4996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工作理解</a:t>
            </a:r>
            <a:endParaRPr kumimoji="0" lang="en-US" altLang="zh-CN" sz="2000" b="1" i="0" u="none" strike="noStrike" kern="1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pic>
        <p:nvPicPr>
          <p:cNvPr id="25" name="图片 24">
            <a:extLst>
              <a:ext uri="{FF2B5EF4-FFF2-40B4-BE49-F238E27FC236}">
                <a16:creationId xmlns:a16="http://schemas.microsoft.com/office/drawing/2014/main" id="{75E325CD-B08D-429D-ADA1-4BF75513108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3897" y="266599"/>
            <a:ext cx="2181375" cy="252000"/>
          </a:xfrm>
          <a:prstGeom prst="rect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A5040B18-6B91-A199-5E40-E65DF3EDC52B}"/>
              </a:ext>
            </a:extLst>
          </p:cNvPr>
          <p:cNvSpPr txBox="1"/>
          <p:nvPr/>
        </p:nvSpPr>
        <p:spPr>
          <a:xfrm>
            <a:off x="330119" y="784778"/>
            <a:ext cx="1165854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100" cap="none" spc="0" normalizeH="0" baseline="0" noProof="0" dirty="0">
                <a:ln>
                  <a:noFill/>
                </a:ln>
                <a:solidFill>
                  <a:srgbClr val="4D81B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楷体_GB2312" panose="02010609030101010101" pitchFamily="49" charset="-122"/>
              </a:rPr>
              <a:t>规划管理单元应具有规划和规则的双重属性</a:t>
            </a:r>
          </a:p>
        </p:txBody>
      </p: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ABA1D7F2-4EB8-E262-4DE8-1625061B8F23}"/>
              </a:ext>
            </a:extLst>
          </p:cNvPr>
          <p:cNvGrpSpPr/>
          <p:nvPr/>
        </p:nvGrpSpPr>
        <p:grpSpPr>
          <a:xfrm>
            <a:off x="4766775" y="2842657"/>
            <a:ext cx="2251884" cy="2251884"/>
            <a:chOff x="4100790" y="2360472"/>
            <a:chExt cx="2880000" cy="2880000"/>
          </a:xfrm>
        </p:grpSpPr>
        <p:sp>
          <p:nvSpPr>
            <p:cNvPr id="14" name="圆">
              <a:extLst>
                <a:ext uri="{FF2B5EF4-FFF2-40B4-BE49-F238E27FC236}">
                  <a16:creationId xmlns:a16="http://schemas.microsoft.com/office/drawing/2014/main" id="{4122B2C6-78D3-8A06-A493-BC84AE4535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00790" y="2360472"/>
              <a:ext cx="2880000" cy="2880000"/>
            </a:xfrm>
            <a:prstGeom prst="ellipse">
              <a:avLst/>
            </a:prstGeom>
            <a:solidFill>
              <a:srgbClr val="1173CD"/>
            </a:solidFill>
            <a:ln w="4" cap="flat">
              <a:noFill/>
              <a:prstDash val="solid"/>
              <a:miter lim="800000"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/>
                <a:ea typeface="微软雅黑"/>
                <a:cs typeface="Arial"/>
              </a:endParaRPr>
            </a:p>
          </p:txBody>
        </p:sp>
        <p:sp>
          <p:nvSpPr>
            <p:cNvPr id="16" name="圆环">
              <a:extLst>
                <a:ext uri="{FF2B5EF4-FFF2-40B4-BE49-F238E27FC236}">
                  <a16:creationId xmlns:a16="http://schemas.microsoft.com/office/drawing/2014/main" id="{7A99BE2E-17DB-8423-E806-3C1A5543C7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50190" y="2509296"/>
              <a:ext cx="2581200" cy="2582352"/>
            </a:xfrm>
            <a:prstGeom prst="ellipse">
              <a:avLst/>
            </a:prstGeom>
            <a:noFill/>
            <a:ln>
              <a:solidFill>
                <a:srgbClr val="F8F8F8"/>
              </a:solidFill>
              <a:prstDash val="dash"/>
            </a:ln>
          </p:spPr>
          <p:txBody>
            <a:bodyPr vert="horz" wrap="square" lIns="91404" tIns="45702" rIns="91404" bIns="45702" numCol="1" anchor="t" anchorCtr="0" compatLnSpc="1">
              <a:prstTxWarp prst="textNoShape">
                <a:avLst/>
              </a:prstTxWarp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zh-CN" altLang="en-US" sz="1799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/>
                <a:ea typeface="微软雅黑"/>
                <a:cs typeface="Arial"/>
              </a:endParaRPr>
            </a:p>
          </p:txBody>
        </p:sp>
      </p:grpSp>
      <p:sp>
        <p:nvSpPr>
          <p:cNvPr id="18" name="文本">
            <a:extLst>
              <a:ext uri="{FF2B5EF4-FFF2-40B4-BE49-F238E27FC236}">
                <a16:creationId xmlns:a16="http://schemas.microsoft.com/office/drawing/2014/main" id="{4DDF6938-28F1-227F-D30A-997A4A0AF9D6}"/>
              </a:ext>
            </a:extLst>
          </p:cNvPr>
          <p:cNvSpPr/>
          <p:nvPr/>
        </p:nvSpPr>
        <p:spPr>
          <a:xfrm>
            <a:off x="5300245" y="3368434"/>
            <a:ext cx="1184941" cy="1200329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3600" b="1" i="0" u="none" strike="noStrike" kern="1200" cap="none" spc="3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/>
                <a:ea typeface="微软雅黑"/>
                <a:cs typeface="Arial"/>
              </a:rPr>
              <a:t>管理</a:t>
            </a:r>
            <a:endParaRPr kumimoji="0" lang="en-US" altLang="zh-CN" sz="3600" b="1" i="0" u="none" strike="noStrike" kern="1200" cap="none" spc="30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/>
              <a:ea typeface="微软雅黑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3600" b="1" i="0" u="none" strike="noStrike" kern="1200" cap="none" spc="3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/>
                <a:ea typeface="微软雅黑"/>
                <a:cs typeface="Arial"/>
              </a:rPr>
              <a:t>单元</a:t>
            </a:r>
            <a:endParaRPr kumimoji="0" lang="zh-CN" altLang="en-US" sz="36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/>
              <a:ea typeface="微软雅黑"/>
              <a:cs typeface="Arial"/>
            </a:endParaRPr>
          </a:p>
        </p:txBody>
      </p:sp>
      <p:grpSp>
        <p:nvGrpSpPr>
          <p:cNvPr id="35" name="组合 34">
            <a:extLst>
              <a:ext uri="{FF2B5EF4-FFF2-40B4-BE49-F238E27FC236}">
                <a16:creationId xmlns:a16="http://schemas.microsoft.com/office/drawing/2014/main" id="{AD33A665-AB91-138C-08A4-6943E5471570}"/>
              </a:ext>
            </a:extLst>
          </p:cNvPr>
          <p:cNvGrpSpPr/>
          <p:nvPr/>
        </p:nvGrpSpPr>
        <p:grpSpPr>
          <a:xfrm>
            <a:off x="6426187" y="1563205"/>
            <a:ext cx="2018251" cy="4810785"/>
            <a:chOff x="6260691" y="1059293"/>
            <a:chExt cx="2157934" cy="5143739"/>
          </a:xfrm>
        </p:grpSpPr>
        <p:sp>
          <p:nvSpPr>
            <p:cNvPr id="26" name="图形">
              <a:extLst>
                <a:ext uri="{FF2B5EF4-FFF2-40B4-BE49-F238E27FC236}">
                  <a16:creationId xmlns:a16="http://schemas.microsoft.com/office/drawing/2014/main" id="{20DBBAA6-CECA-C132-C704-0A3F40A48024}"/>
                </a:ext>
              </a:extLst>
            </p:cNvPr>
            <p:cNvSpPr/>
            <p:nvPr/>
          </p:nvSpPr>
          <p:spPr bwMode="auto">
            <a:xfrm>
              <a:off x="6260691" y="4365805"/>
              <a:ext cx="1829769" cy="1837227"/>
            </a:xfrm>
            <a:custGeom>
              <a:avLst/>
              <a:gdLst>
                <a:gd name="T0" fmla="*/ 3898 w 3898"/>
                <a:gd name="T1" fmla="*/ 944 h 3904"/>
                <a:gd name="T2" fmla="*/ 934 w 3898"/>
                <a:gd name="T3" fmla="*/ 3904 h 3904"/>
                <a:gd name="T4" fmla="*/ 0 w 3898"/>
                <a:gd name="T5" fmla="*/ 1642 h 3904"/>
                <a:gd name="T6" fmla="*/ 1624 w 3898"/>
                <a:gd name="T7" fmla="*/ 0 h 3904"/>
                <a:gd name="T8" fmla="*/ 3898 w 3898"/>
                <a:gd name="T9" fmla="*/ 944 h 3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98" h="3904">
                  <a:moveTo>
                    <a:pt x="3898" y="944"/>
                  </a:moveTo>
                  <a:cubicBezTo>
                    <a:pt x="3316" y="2213"/>
                    <a:pt x="2294" y="3284"/>
                    <a:pt x="934" y="3904"/>
                  </a:cubicBezTo>
                  <a:lnTo>
                    <a:pt x="0" y="1642"/>
                  </a:lnTo>
                  <a:cubicBezTo>
                    <a:pt x="734" y="1284"/>
                    <a:pt x="1292" y="696"/>
                    <a:pt x="1624" y="0"/>
                  </a:cubicBezTo>
                  <a:lnTo>
                    <a:pt x="3898" y="944"/>
                  </a:lnTo>
                  <a:close/>
                </a:path>
              </a:pathLst>
            </a:custGeom>
            <a:solidFill>
              <a:schemeClr val="accent2"/>
            </a:solidFill>
            <a:ln w="4" cap="flat">
              <a:noFill/>
              <a:prstDash val="solid"/>
              <a:miter lim="800000"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/>
                <a:ea typeface="微软雅黑"/>
                <a:cs typeface="Arial"/>
              </a:endParaRPr>
            </a:p>
          </p:txBody>
        </p:sp>
        <p:sp>
          <p:nvSpPr>
            <p:cNvPr id="29" name="图形">
              <a:extLst>
                <a:ext uri="{FF2B5EF4-FFF2-40B4-BE49-F238E27FC236}">
                  <a16:creationId xmlns:a16="http://schemas.microsoft.com/office/drawing/2014/main" id="{5870530B-F9E1-C802-D72D-34D01D285EC4}"/>
                </a:ext>
              </a:extLst>
            </p:cNvPr>
            <p:cNvSpPr/>
            <p:nvPr/>
          </p:nvSpPr>
          <p:spPr bwMode="auto">
            <a:xfrm>
              <a:off x="7096020" y="2647911"/>
              <a:ext cx="1322605" cy="1971476"/>
            </a:xfrm>
            <a:custGeom>
              <a:avLst/>
              <a:gdLst>
                <a:gd name="T0" fmla="*/ 2294 w 2814"/>
                <a:gd name="T1" fmla="*/ 0 h 4189"/>
                <a:gd name="T2" fmla="*/ 2290 w 2814"/>
                <a:gd name="T3" fmla="*/ 4189 h 4189"/>
                <a:gd name="T4" fmla="*/ 12 w 2814"/>
                <a:gd name="T5" fmla="*/ 3244 h 4189"/>
                <a:gd name="T6" fmla="*/ 0 w 2814"/>
                <a:gd name="T7" fmla="*/ 948 h 4189"/>
                <a:gd name="T8" fmla="*/ 2294 w 2814"/>
                <a:gd name="T9" fmla="*/ 0 h 4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14" h="4189">
                  <a:moveTo>
                    <a:pt x="2294" y="0"/>
                  </a:moveTo>
                  <a:cubicBezTo>
                    <a:pt x="2814" y="1401"/>
                    <a:pt x="2778" y="2881"/>
                    <a:pt x="2290" y="4189"/>
                  </a:cubicBezTo>
                  <a:lnTo>
                    <a:pt x="12" y="3244"/>
                  </a:lnTo>
                  <a:cubicBezTo>
                    <a:pt x="253" y="2522"/>
                    <a:pt x="265" y="1717"/>
                    <a:pt x="0" y="948"/>
                  </a:cubicBezTo>
                  <a:lnTo>
                    <a:pt x="2294" y="0"/>
                  </a:lnTo>
                  <a:close/>
                </a:path>
              </a:pathLst>
            </a:custGeom>
            <a:solidFill>
              <a:schemeClr val="accent2"/>
            </a:solidFill>
            <a:ln w="4" cap="flat">
              <a:noFill/>
              <a:prstDash val="solid"/>
              <a:miter lim="800000"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/>
                <a:ea typeface="微软雅黑"/>
                <a:cs typeface="Arial"/>
              </a:endParaRPr>
            </a:p>
          </p:txBody>
        </p:sp>
        <p:sp>
          <p:nvSpPr>
            <p:cNvPr id="32" name="图形">
              <a:extLst>
                <a:ext uri="{FF2B5EF4-FFF2-40B4-BE49-F238E27FC236}">
                  <a16:creationId xmlns:a16="http://schemas.microsoft.com/office/drawing/2014/main" id="{587C5BAB-84F5-AEE8-E45E-5E440AF7A1A1}"/>
                </a:ext>
              </a:extLst>
            </p:cNvPr>
            <p:cNvSpPr/>
            <p:nvPr/>
          </p:nvSpPr>
          <p:spPr bwMode="auto">
            <a:xfrm>
              <a:off x="6260691" y="1059293"/>
              <a:ext cx="1832255" cy="1842199"/>
            </a:xfrm>
            <a:custGeom>
              <a:avLst/>
              <a:gdLst>
                <a:gd name="T0" fmla="*/ 946 w 3906"/>
                <a:gd name="T1" fmla="*/ 0 h 3912"/>
                <a:gd name="T2" fmla="*/ 3906 w 3906"/>
                <a:gd name="T3" fmla="*/ 2964 h 3912"/>
                <a:gd name="T4" fmla="*/ 1613 w 3906"/>
                <a:gd name="T5" fmla="*/ 3912 h 3912"/>
                <a:gd name="T6" fmla="*/ 0 w 3906"/>
                <a:gd name="T7" fmla="*/ 2278 h 3912"/>
                <a:gd name="T8" fmla="*/ 946 w 3906"/>
                <a:gd name="T9" fmla="*/ 0 h 39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05" h="3912">
                  <a:moveTo>
                    <a:pt x="946" y="0"/>
                  </a:moveTo>
                  <a:cubicBezTo>
                    <a:pt x="2215" y="582"/>
                    <a:pt x="3286" y="1605"/>
                    <a:pt x="3906" y="2964"/>
                  </a:cubicBezTo>
                  <a:lnTo>
                    <a:pt x="1613" y="3912"/>
                  </a:lnTo>
                  <a:cubicBezTo>
                    <a:pt x="1257" y="3181"/>
                    <a:pt x="681" y="2620"/>
                    <a:pt x="0" y="2278"/>
                  </a:cubicBezTo>
                  <a:lnTo>
                    <a:pt x="946" y="0"/>
                  </a:lnTo>
                  <a:close/>
                </a:path>
              </a:pathLst>
            </a:custGeom>
            <a:solidFill>
              <a:schemeClr val="accent2"/>
            </a:solidFill>
            <a:ln w="4" cap="flat">
              <a:noFill/>
              <a:prstDash val="solid"/>
              <a:miter lim="800000"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/>
                <a:ea typeface="微软雅黑"/>
                <a:cs typeface="Arial"/>
              </a:endParaRPr>
            </a:p>
          </p:txBody>
        </p:sp>
      </p:grpSp>
      <p:grpSp>
        <p:nvGrpSpPr>
          <p:cNvPr id="36" name="组合 35">
            <a:extLst>
              <a:ext uri="{FF2B5EF4-FFF2-40B4-BE49-F238E27FC236}">
                <a16:creationId xmlns:a16="http://schemas.microsoft.com/office/drawing/2014/main" id="{A804D1C1-C7E0-109B-B527-11129F402619}"/>
              </a:ext>
            </a:extLst>
          </p:cNvPr>
          <p:cNvGrpSpPr/>
          <p:nvPr/>
        </p:nvGrpSpPr>
        <p:grpSpPr>
          <a:xfrm rot="10800000">
            <a:off x="3328558" y="1594960"/>
            <a:ext cx="2076745" cy="4810785"/>
            <a:chOff x="6198149" y="1059293"/>
            <a:chExt cx="2220476" cy="5143739"/>
          </a:xfrm>
        </p:grpSpPr>
        <p:grpSp>
          <p:nvGrpSpPr>
            <p:cNvPr id="37" name="组合 36">
              <a:extLst>
                <a:ext uri="{FF2B5EF4-FFF2-40B4-BE49-F238E27FC236}">
                  <a16:creationId xmlns:a16="http://schemas.microsoft.com/office/drawing/2014/main" id="{BB380CAC-E4E0-A71D-CC1C-F9296EE38B47}"/>
                </a:ext>
              </a:extLst>
            </p:cNvPr>
            <p:cNvGrpSpPr/>
            <p:nvPr/>
          </p:nvGrpSpPr>
          <p:grpSpPr>
            <a:xfrm>
              <a:off x="6208810" y="4365805"/>
              <a:ext cx="1881650" cy="1837227"/>
              <a:chOff x="2277311" y="4434639"/>
              <a:chExt cx="1881650" cy="1837227"/>
            </a:xfrm>
            <a:solidFill>
              <a:srgbClr val="E7E6E6"/>
            </a:solidFill>
          </p:grpSpPr>
          <p:sp>
            <p:nvSpPr>
              <p:cNvPr id="50" name="图形">
                <a:extLst>
                  <a:ext uri="{FF2B5EF4-FFF2-40B4-BE49-F238E27FC236}">
                    <a16:creationId xmlns:a16="http://schemas.microsoft.com/office/drawing/2014/main" id="{F56D77D7-8945-0178-0B4F-F3411332F18F}"/>
                  </a:ext>
                </a:extLst>
              </p:cNvPr>
              <p:cNvSpPr/>
              <p:nvPr/>
            </p:nvSpPr>
            <p:spPr bwMode="auto">
              <a:xfrm>
                <a:off x="2329192" y="4434639"/>
                <a:ext cx="1829769" cy="1837227"/>
              </a:xfrm>
              <a:custGeom>
                <a:avLst/>
                <a:gdLst>
                  <a:gd name="T0" fmla="*/ 3898 w 3898"/>
                  <a:gd name="T1" fmla="*/ 944 h 3904"/>
                  <a:gd name="T2" fmla="*/ 934 w 3898"/>
                  <a:gd name="T3" fmla="*/ 3904 h 3904"/>
                  <a:gd name="T4" fmla="*/ 0 w 3898"/>
                  <a:gd name="T5" fmla="*/ 1642 h 3904"/>
                  <a:gd name="T6" fmla="*/ 1624 w 3898"/>
                  <a:gd name="T7" fmla="*/ 0 h 3904"/>
                  <a:gd name="T8" fmla="*/ 3898 w 3898"/>
                  <a:gd name="T9" fmla="*/ 944 h 39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98" h="3904">
                    <a:moveTo>
                      <a:pt x="3898" y="944"/>
                    </a:moveTo>
                    <a:cubicBezTo>
                      <a:pt x="3316" y="2213"/>
                      <a:pt x="2294" y="3284"/>
                      <a:pt x="934" y="3904"/>
                    </a:cubicBezTo>
                    <a:lnTo>
                      <a:pt x="0" y="1642"/>
                    </a:lnTo>
                    <a:cubicBezTo>
                      <a:pt x="734" y="1284"/>
                      <a:pt x="1292" y="696"/>
                      <a:pt x="1624" y="0"/>
                    </a:cubicBezTo>
                    <a:lnTo>
                      <a:pt x="3898" y="944"/>
                    </a:lnTo>
                    <a:close/>
                  </a:path>
                </a:pathLst>
              </a:custGeom>
              <a:solidFill>
                <a:srgbClr val="1173CD"/>
              </a:solidFill>
              <a:ln w="4" cap="flat">
                <a:noFill/>
                <a:prstDash val="solid"/>
                <a:miter lim="800000"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2400" b="0" i="0" u="none" strike="noStrike" kern="120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微软雅黑"/>
                  <a:ea typeface="微软雅黑"/>
                  <a:cs typeface="Arial"/>
                </a:endParaRPr>
              </a:p>
            </p:txBody>
          </p:sp>
          <p:sp>
            <p:nvSpPr>
              <p:cNvPr id="51" name="文本">
                <a:extLst>
                  <a:ext uri="{FF2B5EF4-FFF2-40B4-BE49-F238E27FC236}">
                    <a16:creationId xmlns:a16="http://schemas.microsoft.com/office/drawing/2014/main" id="{D075E3C9-FBFC-E722-18CC-DDED50DF8E6F}"/>
                  </a:ext>
                </a:extLst>
              </p:cNvPr>
              <p:cNvSpPr txBox="1"/>
              <p:nvPr/>
            </p:nvSpPr>
            <p:spPr>
              <a:xfrm rot="10800000">
                <a:off x="2277311" y="5027866"/>
                <a:ext cx="1658435" cy="49361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zh-CN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400" b="1">
                    <a:solidFill>
                      <a:schemeClr val="bg1"/>
                    </a:solidFill>
                    <a:latin typeface="微软雅黑"/>
                    <a:ea typeface="微软雅黑"/>
                    <a:cs typeface="Arial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微软雅黑"/>
                    <a:ea typeface="微软雅黑"/>
                    <a:cs typeface="Arial"/>
                  </a:rPr>
                  <a:t>战略响应</a:t>
                </a:r>
              </a:p>
            </p:txBody>
          </p:sp>
        </p:grpSp>
        <p:grpSp>
          <p:nvGrpSpPr>
            <p:cNvPr id="38" name="组合 37">
              <a:extLst>
                <a:ext uri="{FF2B5EF4-FFF2-40B4-BE49-F238E27FC236}">
                  <a16:creationId xmlns:a16="http://schemas.microsoft.com/office/drawing/2014/main" id="{C9043D0A-062F-E401-7BAB-5DDA9D78FAE8}"/>
                </a:ext>
              </a:extLst>
            </p:cNvPr>
            <p:cNvGrpSpPr/>
            <p:nvPr/>
          </p:nvGrpSpPr>
          <p:grpSpPr>
            <a:xfrm>
              <a:off x="7096020" y="2647911"/>
              <a:ext cx="1322605" cy="1971476"/>
              <a:chOff x="3164521" y="2716745"/>
              <a:chExt cx="1322605" cy="1971476"/>
            </a:xfrm>
            <a:solidFill>
              <a:srgbClr val="E7E6E6"/>
            </a:solidFill>
          </p:grpSpPr>
          <p:sp>
            <p:nvSpPr>
              <p:cNvPr id="47" name="图形">
                <a:extLst>
                  <a:ext uri="{FF2B5EF4-FFF2-40B4-BE49-F238E27FC236}">
                    <a16:creationId xmlns:a16="http://schemas.microsoft.com/office/drawing/2014/main" id="{BC64657A-C0E0-2F57-666F-45EA43245138}"/>
                  </a:ext>
                </a:extLst>
              </p:cNvPr>
              <p:cNvSpPr/>
              <p:nvPr/>
            </p:nvSpPr>
            <p:spPr bwMode="auto">
              <a:xfrm>
                <a:off x="3164521" y="2716745"/>
                <a:ext cx="1322605" cy="1971476"/>
              </a:xfrm>
              <a:custGeom>
                <a:avLst/>
                <a:gdLst>
                  <a:gd name="T0" fmla="*/ 2294 w 2814"/>
                  <a:gd name="T1" fmla="*/ 0 h 4189"/>
                  <a:gd name="T2" fmla="*/ 2290 w 2814"/>
                  <a:gd name="T3" fmla="*/ 4189 h 4189"/>
                  <a:gd name="T4" fmla="*/ 12 w 2814"/>
                  <a:gd name="T5" fmla="*/ 3244 h 4189"/>
                  <a:gd name="T6" fmla="*/ 0 w 2814"/>
                  <a:gd name="T7" fmla="*/ 948 h 4189"/>
                  <a:gd name="T8" fmla="*/ 2294 w 2814"/>
                  <a:gd name="T9" fmla="*/ 0 h 4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14" h="4189">
                    <a:moveTo>
                      <a:pt x="2294" y="0"/>
                    </a:moveTo>
                    <a:cubicBezTo>
                      <a:pt x="2814" y="1401"/>
                      <a:pt x="2778" y="2881"/>
                      <a:pt x="2290" y="4189"/>
                    </a:cubicBezTo>
                    <a:lnTo>
                      <a:pt x="12" y="3244"/>
                    </a:lnTo>
                    <a:cubicBezTo>
                      <a:pt x="253" y="2522"/>
                      <a:pt x="265" y="1717"/>
                      <a:pt x="0" y="948"/>
                    </a:cubicBezTo>
                    <a:lnTo>
                      <a:pt x="2294" y="0"/>
                    </a:lnTo>
                    <a:close/>
                  </a:path>
                </a:pathLst>
              </a:custGeom>
              <a:solidFill>
                <a:srgbClr val="1173CD"/>
              </a:solidFill>
              <a:ln w="4" cap="flat">
                <a:noFill/>
                <a:prstDash val="solid"/>
                <a:miter lim="800000"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2400" b="0" i="0" u="none" strike="noStrike" kern="120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微软雅黑"/>
                  <a:ea typeface="微软雅黑"/>
                  <a:cs typeface="Arial"/>
                </a:endParaRPr>
              </a:p>
            </p:txBody>
          </p:sp>
          <p:sp>
            <p:nvSpPr>
              <p:cNvPr id="49" name="文本">
                <a:extLst>
                  <a:ext uri="{FF2B5EF4-FFF2-40B4-BE49-F238E27FC236}">
                    <a16:creationId xmlns:a16="http://schemas.microsoft.com/office/drawing/2014/main" id="{30E26FCE-6F87-A9A6-E3FC-FDDFB60F1335}"/>
                  </a:ext>
                </a:extLst>
              </p:cNvPr>
              <p:cNvSpPr txBox="1"/>
              <p:nvPr/>
            </p:nvSpPr>
            <p:spPr>
              <a:xfrm rot="10800000">
                <a:off x="3332964" y="3183389"/>
                <a:ext cx="953031" cy="1213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zh-CN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400" b="1">
                    <a:solidFill>
                      <a:schemeClr val="bg1"/>
                    </a:solidFill>
                    <a:latin typeface="微软雅黑"/>
                    <a:ea typeface="微软雅黑"/>
                    <a:cs typeface="Arial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微软雅黑"/>
                    <a:ea typeface="微软雅黑"/>
                    <a:cs typeface="Arial"/>
                  </a:rPr>
                  <a:t>空间谋划</a:t>
                </a:r>
              </a:p>
            </p:txBody>
          </p:sp>
        </p:grpSp>
        <p:grpSp>
          <p:nvGrpSpPr>
            <p:cNvPr id="40" name="组合 39">
              <a:extLst>
                <a:ext uri="{FF2B5EF4-FFF2-40B4-BE49-F238E27FC236}">
                  <a16:creationId xmlns:a16="http://schemas.microsoft.com/office/drawing/2014/main" id="{F092BA71-5250-54C5-0BC7-3767A5C5CBDF}"/>
                </a:ext>
              </a:extLst>
            </p:cNvPr>
            <p:cNvGrpSpPr/>
            <p:nvPr/>
          </p:nvGrpSpPr>
          <p:grpSpPr>
            <a:xfrm>
              <a:off x="6198149" y="1059293"/>
              <a:ext cx="1894797" cy="1842200"/>
              <a:chOff x="2266650" y="1128127"/>
              <a:chExt cx="1894797" cy="1842200"/>
            </a:xfrm>
            <a:solidFill>
              <a:srgbClr val="E7E6E6"/>
            </a:solidFill>
          </p:grpSpPr>
          <p:sp>
            <p:nvSpPr>
              <p:cNvPr id="43" name="图形">
                <a:extLst>
                  <a:ext uri="{FF2B5EF4-FFF2-40B4-BE49-F238E27FC236}">
                    <a16:creationId xmlns:a16="http://schemas.microsoft.com/office/drawing/2014/main" id="{4B4E2124-3CC7-502C-F0A1-685FC4A16104}"/>
                  </a:ext>
                </a:extLst>
              </p:cNvPr>
              <p:cNvSpPr/>
              <p:nvPr/>
            </p:nvSpPr>
            <p:spPr bwMode="auto">
              <a:xfrm>
                <a:off x="2329192" y="1128127"/>
                <a:ext cx="1832255" cy="1842200"/>
              </a:xfrm>
              <a:custGeom>
                <a:avLst/>
                <a:gdLst>
                  <a:gd name="T0" fmla="*/ 946 w 3906"/>
                  <a:gd name="T1" fmla="*/ 0 h 3912"/>
                  <a:gd name="T2" fmla="*/ 3906 w 3906"/>
                  <a:gd name="T3" fmla="*/ 2964 h 3912"/>
                  <a:gd name="T4" fmla="*/ 1613 w 3906"/>
                  <a:gd name="T5" fmla="*/ 3912 h 3912"/>
                  <a:gd name="T6" fmla="*/ 0 w 3906"/>
                  <a:gd name="T7" fmla="*/ 2278 h 3912"/>
                  <a:gd name="T8" fmla="*/ 946 w 3906"/>
                  <a:gd name="T9" fmla="*/ 0 h 39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05" h="3912">
                    <a:moveTo>
                      <a:pt x="946" y="0"/>
                    </a:moveTo>
                    <a:cubicBezTo>
                      <a:pt x="2215" y="582"/>
                      <a:pt x="3286" y="1605"/>
                      <a:pt x="3906" y="2964"/>
                    </a:cubicBezTo>
                    <a:lnTo>
                      <a:pt x="1613" y="3912"/>
                    </a:lnTo>
                    <a:cubicBezTo>
                      <a:pt x="1257" y="3181"/>
                      <a:pt x="681" y="2620"/>
                      <a:pt x="0" y="2278"/>
                    </a:cubicBezTo>
                    <a:lnTo>
                      <a:pt x="946" y="0"/>
                    </a:lnTo>
                    <a:close/>
                  </a:path>
                </a:pathLst>
              </a:custGeom>
              <a:solidFill>
                <a:srgbClr val="1173CD"/>
              </a:solidFill>
              <a:ln w="4" cap="flat">
                <a:noFill/>
                <a:prstDash val="solid"/>
                <a:miter lim="800000"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2400" b="0" i="0" u="none" strike="noStrike" kern="120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微软雅黑"/>
                  <a:ea typeface="微软雅黑"/>
                  <a:cs typeface="Arial"/>
                </a:endParaRPr>
              </a:p>
            </p:txBody>
          </p:sp>
          <p:sp>
            <p:nvSpPr>
              <p:cNvPr id="45" name="文本">
                <a:extLst>
                  <a:ext uri="{FF2B5EF4-FFF2-40B4-BE49-F238E27FC236}">
                    <a16:creationId xmlns:a16="http://schemas.microsoft.com/office/drawing/2014/main" id="{842AFF51-4A71-D29B-60FA-B5FF999290B9}"/>
                  </a:ext>
                </a:extLst>
              </p:cNvPr>
              <p:cNvSpPr txBox="1"/>
              <p:nvPr/>
            </p:nvSpPr>
            <p:spPr>
              <a:xfrm rot="10800000">
                <a:off x="2266650" y="1846080"/>
                <a:ext cx="1662825" cy="49361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微软雅黑"/>
                    <a:ea typeface="微软雅黑"/>
                    <a:cs typeface="Arial"/>
                  </a:rPr>
                  <a:t>空间表述</a:t>
                </a:r>
                <a:endParaRPr kumimoji="0" lang="en-US" altLang="zh-CN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/>
                  <a:ea typeface="微软雅黑"/>
                  <a:cs typeface="Arial"/>
                </a:endParaRPr>
              </a:p>
            </p:txBody>
          </p:sp>
        </p:grpSp>
      </p:grpSp>
      <p:sp>
        <p:nvSpPr>
          <p:cNvPr id="53" name="文本框 52">
            <a:extLst>
              <a:ext uri="{FF2B5EF4-FFF2-40B4-BE49-F238E27FC236}">
                <a16:creationId xmlns:a16="http://schemas.microsoft.com/office/drawing/2014/main" id="{36730892-48A9-7A7D-602E-408C2C4AEE4B}"/>
              </a:ext>
            </a:extLst>
          </p:cNvPr>
          <p:cNvSpPr txBox="1"/>
          <p:nvPr/>
        </p:nvSpPr>
        <p:spPr>
          <a:xfrm>
            <a:off x="3091406" y="6156585"/>
            <a:ext cx="186339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1" i="0" u="none" strike="noStrike" kern="100" cap="none" spc="0" normalizeH="0" baseline="0" noProof="0" dirty="0">
                <a:ln>
                  <a:noFill/>
                </a:ln>
                <a:solidFill>
                  <a:srgbClr val="1173CD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楷体_GB2312" panose="02010609030101010101" pitchFamily="49" charset="-122"/>
              </a:rPr>
              <a:t>规划属性</a:t>
            </a: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1173CD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50D6A8D8-B552-2BA1-986B-0E769365D596}"/>
              </a:ext>
            </a:extLst>
          </p:cNvPr>
          <p:cNvSpPr txBox="1"/>
          <p:nvPr/>
        </p:nvSpPr>
        <p:spPr>
          <a:xfrm>
            <a:off x="7299084" y="6156585"/>
            <a:ext cx="186339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1" i="0" u="none" strike="noStrike" kern="1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楷体_GB2312" panose="02010609030101010101" pitchFamily="49" charset="-122"/>
              </a:rPr>
              <a:t>规则属性</a:t>
            </a: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" name="文本框 56">
            <a:extLst>
              <a:ext uri="{FF2B5EF4-FFF2-40B4-BE49-F238E27FC236}">
                <a16:creationId xmlns:a16="http://schemas.microsoft.com/office/drawing/2014/main" id="{384592E0-1ACC-166E-28F1-31181218BC39}"/>
              </a:ext>
            </a:extLst>
          </p:cNvPr>
          <p:cNvSpPr txBox="1"/>
          <p:nvPr/>
        </p:nvSpPr>
        <p:spPr>
          <a:xfrm>
            <a:off x="363787" y="1995020"/>
            <a:ext cx="2763546" cy="3914020"/>
          </a:xfrm>
          <a:prstGeom prst="rect">
            <a:avLst/>
          </a:prstGeom>
          <a:solidFill>
            <a:srgbClr val="EDF1F9"/>
          </a:solidFill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zh-CN" altLang="zh-CN" sz="24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仿宋" panose="02010609060101010101" pitchFamily="49" charset="-122"/>
                <a:cs typeface="Times New Roman" panose="02020603050405020304" pitchFamily="18" charset="0"/>
              </a:rPr>
              <a:t>明晰的空间格局与功能结构</a:t>
            </a:r>
            <a:r>
              <a:rPr kumimoji="0" lang="zh-CN" altLang="en-US" sz="24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仿宋" panose="02010609060101010101" pitchFamily="49" charset="-122"/>
                <a:cs typeface="Times New Roman" panose="02020603050405020304" pitchFamily="18" charset="0"/>
              </a:rPr>
              <a:t>；</a:t>
            </a:r>
            <a:endParaRPr kumimoji="0" lang="en-US" altLang="zh-CN" sz="24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仿宋" panose="02010609060101010101" pitchFamily="49" charset="-122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zh-CN" altLang="en-US" sz="24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仿宋" panose="02010609060101010101" pitchFamily="49" charset="-122"/>
                <a:cs typeface="Times New Roman" panose="02020603050405020304" pitchFamily="18" charset="0"/>
              </a:rPr>
              <a:t>清晰的空间秩序；</a:t>
            </a:r>
            <a:endParaRPr kumimoji="0" lang="en-US" altLang="zh-CN" sz="24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仿宋" panose="02010609060101010101" pitchFamily="49" charset="-122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zh-CN" altLang="zh-CN" sz="24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仿宋" panose="02010609060101010101" pitchFamily="49" charset="-122"/>
                <a:cs typeface="Times New Roman" panose="02020603050405020304" pitchFamily="18" charset="0"/>
              </a:rPr>
              <a:t>作为未来一定时期内空间发展和管控的共识</a:t>
            </a:r>
            <a:r>
              <a:rPr kumimoji="0" lang="zh-CN" altLang="en-US" sz="24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仿宋" panose="02010609060101010101" pitchFamily="49" charset="-122"/>
                <a:cs typeface="Times New Roman" panose="02020603050405020304" pitchFamily="18" charset="0"/>
              </a:rPr>
              <a:t>；</a:t>
            </a:r>
            <a:endParaRPr kumimoji="0" lang="en-US" altLang="zh-CN" sz="24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仿宋" panose="02010609060101010101" pitchFamily="49" charset="-122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zh-CN" altLang="en-US" sz="24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仿宋" panose="02010609060101010101" pitchFamily="49" charset="-122"/>
                <a:cs typeface="Times New Roman" panose="02020603050405020304" pitchFamily="18" charset="0"/>
              </a:rPr>
              <a:t>直接的空间描述。</a:t>
            </a: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" name="文本">
            <a:extLst>
              <a:ext uri="{FF2B5EF4-FFF2-40B4-BE49-F238E27FC236}">
                <a16:creationId xmlns:a16="http://schemas.microsoft.com/office/drawing/2014/main" id="{EB222A56-F055-E7F2-9760-F02647590BC5}"/>
              </a:ext>
            </a:extLst>
          </p:cNvPr>
          <p:cNvSpPr txBox="1"/>
          <p:nvPr/>
        </p:nvSpPr>
        <p:spPr>
          <a:xfrm>
            <a:off x="6562599" y="2287800"/>
            <a:ext cx="155108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>
                <a:solidFill>
                  <a:schemeClr val="bg1"/>
                </a:solidFill>
                <a:latin typeface="微软雅黑"/>
                <a:ea typeface="微软雅黑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/>
                <a:ea typeface="微软雅黑"/>
                <a:cs typeface="Arial"/>
              </a:rPr>
              <a:t>管控导向</a:t>
            </a:r>
          </a:p>
        </p:txBody>
      </p:sp>
      <p:sp>
        <p:nvSpPr>
          <p:cNvPr id="61" name="文本">
            <a:extLst>
              <a:ext uri="{FF2B5EF4-FFF2-40B4-BE49-F238E27FC236}">
                <a16:creationId xmlns:a16="http://schemas.microsoft.com/office/drawing/2014/main" id="{57172F79-80E7-EE44-A138-D41EE7BDF6B0}"/>
              </a:ext>
            </a:extLst>
          </p:cNvPr>
          <p:cNvSpPr txBox="1"/>
          <p:nvPr/>
        </p:nvSpPr>
        <p:spPr>
          <a:xfrm>
            <a:off x="7380270" y="3334250"/>
            <a:ext cx="891341" cy="11350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>
                <a:solidFill>
                  <a:schemeClr val="bg1"/>
                </a:solidFill>
                <a:latin typeface="微软雅黑"/>
                <a:ea typeface="微软雅黑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/>
                <a:ea typeface="微软雅黑"/>
                <a:cs typeface="Arial"/>
              </a:rPr>
              <a:t>实施细则</a:t>
            </a:r>
          </a:p>
        </p:txBody>
      </p:sp>
      <p:sp>
        <p:nvSpPr>
          <p:cNvPr id="63" name="文本">
            <a:extLst>
              <a:ext uri="{FF2B5EF4-FFF2-40B4-BE49-F238E27FC236}">
                <a16:creationId xmlns:a16="http://schemas.microsoft.com/office/drawing/2014/main" id="{19DCC3C3-A10C-9502-859C-24C32C02636E}"/>
              </a:ext>
            </a:extLst>
          </p:cNvPr>
          <p:cNvSpPr txBox="1"/>
          <p:nvPr/>
        </p:nvSpPr>
        <p:spPr>
          <a:xfrm>
            <a:off x="6558493" y="5180808"/>
            <a:ext cx="155519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/>
                <a:ea typeface="微软雅黑"/>
                <a:cs typeface="Arial"/>
              </a:rPr>
              <a:t>政策协同</a:t>
            </a: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/>
              <a:ea typeface="微软雅黑"/>
              <a:cs typeface="Arial"/>
            </a:endParaRPr>
          </a:p>
        </p:txBody>
      </p:sp>
      <p:sp>
        <p:nvSpPr>
          <p:cNvPr id="65" name="文本框 64">
            <a:extLst>
              <a:ext uri="{FF2B5EF4-FFF2-40B4-BE49-F238E27FC236}">
                <a16:creationId xmlns:a16="http://schemas.microsoft.com/office/drawing/2014/main" id="{5C2A1AF9-0166-CF47-6790-BB00F611C879}"/>
              </a:ext>
            </a:extLst>
          </p:cNvPr>
          <p:cNvSpPr txBox="1"/>
          <p:nvPr/>
        </p:nvSpPr>
        <p:spPr>
          <a:xfrm>
            <a:off x="8633224" y="1927683"/>
            <a:ext cx="2763546" cy="3907801"/>
          </a:xfrm>
          <a:prstGeom prst="rect">
            <a:avLst/>
          </a:prstGeom>
          <a:solidFill>
            <a:srgbClr val="FCEBE0"/>
          </a:solidFill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zh-CN" altLang="en-US" sz="24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仿宋" panose="02010609060101010101" pitchFamily="49" charset="-122"/>
                <a:cs typeface="Times New Roman" panose="02020603050405020304" pitchFamily="18" charset="0"/>
              </a:rPr>
              <a:t>空间准入与时序安排；</a:t>
            </a:r>
            <a:endParaRPr kumimoji="0" lang="en-US" altLang="zh-CN" sz="24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仿宋" panose="02010609060101010101" pitchFamily="49" charset="-122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zh-CN" altLang="en-US" sz="24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仿宋" panose="02010609060101010101" pitchFamily="49" charset="-122"/>
                <a:cs typeface="Times New Roman" panose="02020603050405020304" pitchFamily="18" charset="0"/>
              </a:rPr>
              <a:t>清晰的空间治理规则，引导资源精准配置；</a:t>
            </a:r>
            <a:endParaRPr kumimoji="0" lang="en-US" altLang="zh-CN" sz="24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仿宋" panose="02010609060101010101" pitchFamily="49" charset="-122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zh-CN" altLang="en-US" sz="24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仿宋" panose="02010609060101010101" pitchFamily="49" charset="-122"/>
                <a:cs typeface="Times New Roman" panose="02020603050405020304" pitchFamily="18" charset="0"/>
              </a:rPr>
              <a:t>与专项、部门的政策协同。</a:t>
            </a:r>
            <a:endParaRPr kumimoji="0" lang="en-US" altLang="zh-CN" sz="24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仿宋" panose="02010609060101010101" pitchFamily="49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94226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矩形 69">
            <a:extLst>
              <a:ext uri="{FF2B5EF4-FFF2-40B4-BE49-F238E27FC236}">
                <a16:creationId xmlns:a16="http://schemas.microsoft.com/office/drawing/2014/main" id="{0D816D16-88E3-3A36-2961-46D7FD9855FF}"/>
              </a:ext>
            </a:extLst>
          </p:cNvPr>
          <p:cNvSpPr/>
          <p:nvPr/>
        </p:nvSpPr>
        <p:spPr>
          <a:xfrm>
            <a:off x="448396" y="1356280"/>
            <a:ext cx="781176" cy="5501857"/>
          </a:xfrm>
          <a:prstGeom prst="rect">
            <a:avLst/>
          </a:prstGeom>
          <a:solidFill>
            <a:srgbClr val="E8EF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grpSp>
        <p:nvGrpSpPr>
          <p:cNvPr id="83" name="组合 82">
            <a:extLst>
              <a:ext uri="{FF2B5EF4-FFF2-40B4-BE49-F238E27FC236}">
                <a16:creationId xmlns:a16="http://schemas.microsoft.com/office/drawing/2014/main" id="{F3BF5D89-AA77-FC97-4A8E-E0F5045812FC}"/>
              </a:ext>
            </a:extLst>
          </p:cNvPr>
          <p:cNvGrpSpPr/>
          <p:nvPr/>
        </p:nvGrpSpPr>
        <p:grpSpPr>
          <a:xfrm>
            <a:off x="6859672" y="939019"/>
            <a:ext cx="4966467" cy="3583941"/>
            <a:chOff x="6919720" y="1525186"/>
            <a:chExt cx="4426151" cy="3194034"/>
          </a:xfrm>
          <a:solidFill>
            <a:srgbClr val="E8EFF5"/>
          </a:solidFill>
          <a:effectLst>
            <a:outerShdw blurRad="50800" dist="38100" algn="l" rotWithShape="0">
              <a:prstClr val="black">
                <a:alpha val="40000"/>
              </a:prstClr>
            </a:outerShdw>
          </a:effectLst>
        </p:grpSpPr>
        <p:sp>
          <p:nvSpPr>
            <p:cNvPr id="84" name="Freeform 12">
              <a:extLst>
                <a:ext uri="{FF2B5EF4-FFF2-40B4-BE49-F238E27FC236}">
                  <a16:creationId xmlns:a16="http://schemas.microsoft.com/office/drawing/2014/main" id="{465AE145-6C55-F9C9-87C0-220BE5D263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08555" y="1763993"/>
              <a:ext cx="587752" cy="524962"/>
            </a:xfrm>
            <a:custGeom>
              <a:avLst/>
              <a:gdLst>
                <a:gd name="T0" fmla="*/ 123 w 270"/>
                <a:gd name="T1" fmla="*/ 6 h 241"/>
                <a:gd name="T2" fmla="*/ 131 w 270"/>
                <a:gd name="T3" fmla="*/ 1 h 241"/>
                <a:gd name="T4" fmla="*/ 137 w 270"/>
                <a:gd name="T5" fmla="*/ 20 h 241"/>
                <a:gd name="T6" fmla="*/ 145 w 270"/>
                <a:gd name="T7" fmla="*/ 24 h 241"/>
                <a:gd name="T8" fmla="*/ 154 w 270"/>
                <a:gd name="T9" fmla="*/ 30 h 241"/>
                <a:gd name="T10" fmla="*/ 232 w 270"/>
                <a:gd name="T11" fmla="*/ 85 h 241"/>
                <a:gd name="T12" fmla="*/ 260 w 270"/>
                <a:gd name="T13" fmla="*/ 110 h 241"/>
                <a:gd name="T14" fmla="*/ 270 w 270"/>
                <a:gd name="T15" fmla="*/ 130 h 241"/>
                <a:gd name="T16" fmla="*/ 255 w 270"/>
                <a:gd name="T17" fmla="*/ 195 h 241"/>
                <a:gd name="T18" fmla="*/ 251 w 270"/>
                <a:gd name="T19" fmla="*/ 197 h 241"/>
                <a:gd name="T20" fmla="*/ 204 w 270"/>
                <a:gd name="T21" fmla="*/ 227 h 241"/>
                <a:gd name="T22" fmla="*/ 194 w 270"/>
                <a:gd name="T23" fmla="*/ 235 h 241"/>
                <a:gd name="T24" fmla="*/ 186 w 270"/>
                <a:gd name="T25" fmla="*/ 238 h 241"/>
                <a:gd name="T26" fmla="*/ 171 w 270"/>
                <a:gd name="T27" fmla="*/ 231 h 241"/>
                <a:gd name="T28" fmla="*/ 167 w 270"/>
                <a:gd name="T29" fmla="*/ 215 h 241"/>
                <a:gd name="T30" fmla="*/ 160 w 270"/>
                <a:gd name="T31" fmla="*/ 211 h 241"/>
                <a:gd name="T32" fmla="*/ 154 w 270"/>
                <a:gd name="T33" fmla="*/ 206 h 241"/>
                <a:gd name="T34" fmla="*/ 147 w 270"/>
                <a:gd name="T35" fmla="*/ 201 h 241"/>
                <a:gd name="T36" fmla="*/ 141 w 270"/>
                <a:gd name="T37" fmla="*/ 197 h 241"/>
                <a:gd name="T38" fmla="*/ 126 w 270"/>
                <a:gd name="T39" fmla="*/ 182 h 241"/>
                <a:gd name="T40" fmla="*/ 123 w 270"/>
                <a:gd name="T41" fmla="*/ 193 h 241"/>
                <a:gd name="T42" fmla="*/ 120 w 270"/>
                <a:gd name="T43" fmla="*/ 203 h 241"/>
                <a:gd name="T44" fmla="*/ 114 w 270"/>
                <a:gd name="T45" fmla="*/ 209 h 241"/>
                <a:gd name="T46" fmla="*/ 107 w 270"/>
                <a:gd name="T47" fmla="*/ 211 h 241"/>
                <a:gd name="T48" fmla="*/ 101 w 270"/>
                <a:gd name="T49" fmla="*/ 213 h 241"/>
                <a:gd name="T50" fmla="*/ 91 w 270"/>
                <a:gd name="T51" fmla="*/ 211 h 241"/>
                <a:gd name="T52" fmla="*/ 87 w 270"/>
                <a:gd name="T53" fmla="*/ 209 h 241"/>
                <a:gd name="T54" fmla="*/ 79 w 270"/>
                <a:gd name="T55" fmla="*/ 205 h 241"/>
                <a:gd name="T56" fmla="*/ 75 w 270"/>
                <a:gd name="T57" fmla="*/ 203 h 241"/>
                <a:gd name="T58" fmla="*/ 71 w 270"/>
                <a:gd name="T59" fmla="*/ 201 h 241"/>
                <a:gd name="T60" fmla="*/ 67 w 270"/>
                <a:gd name="T61" fmla="*/ 198 h 241"/>
                <a:gd name="T62" fmla="*/ 54 w 270"/>
                <a:gd name="T63" fmla="*/ 197 h 241"/>
                <a:gd name="T64" fmla="*/ 22 w 270"/>
                <a:gd name="T65" fmla="*/ 147 h 241"/>
                <a:gd name="T66" fmla="*/ 20 w 270"/>
                <a:gd name="T67" fmla="*/ 141 h 241"/>
                <a:gd name="T68" fmla="*/ 17 w 270"/>
                <a:gd name="T69" fmla="*/ 133 h 241"/>
                <a:gd name="T70" fmla="*/ 14 w 270"/>
                <a:gd name="T71" fmla="*/ 127 h 241"/>
                <a:gd name="T72" fmla="*/ 12 w 270"/>
                <a:gd name="T73" fmla="*/ 119 h 241"/>
                <a:gd name="T74" fmla="*/ 11 w 270"/>
                <a:gd name="T75" fmla="*/ 108 h 241"/>
                <a:gd name="T76" fmla="*/ 15 w 270"/>
                <a:gd name="T77" fmla="*/ 101 h 241"/>
                <a:gd name="T78" fmla="*/ 19 w 270"/>
                <a:gd name="T79" fmla="*/ 96 h 241"/>
                <a:gd name="T80" fmla="*/ 23 w 270"/>
                <a:gd name="T81" fmla="*/ 89 h 241"/>
                <a:gd name="T82" fmla="*/ 19 w 270"/>
                <a:gd name="T83" fmla="*/ 81 h 241"/>
                <a:gd name="T84" fmla="*/ 14 w 270"/>
                <a:gd name="T85" fmla="*/ 75 h 241"/>
                <a:gd name="T86" fmla="*/ 10 w 270"/>
                <a:gd name="T87" fmla="*/ 68 h 241"/>
                <a:gd name="T88" fmla="*/ 5 w 270"/>
                <a:gd name="T89" fmla="*/ 62 h 241"/>
                <a:gd name="T90" fmla="*/ 1 w 270"/>
                <a:gd name="T91" fmla="*/ 56 h 241"/>
                <a:gd name="T92" fmla="*/ 3 w 270"/>
                <a:gd name="T93" fmla="*/ 48 h 241"/>
                <a:gd name="T94" fmla="*/ 6 w 270"/>
                <a:gd name="T95" fmla="*/ 44 h 241"/>
                <a:gd name="T96" fmla="*/ 8 w 270"/>
                <a:gd name="T97" fmla="*/ 39 h 241"/>
                <a:gd name="T98" fmla="*/ 13 w 270"/>
                <a:gd name="T99" fmla="*/ 30 h 241"/>
                <a:gd name="T100" fmla="*/ 11 w 270"/>
                <a:gd name="T101" fmla="*/ 23 h 241"/>
                <a:gd name="T102" fmla="*/ 41 w 270"/>
                <a:gd name="T103" fmla="*/ 2 h 241"/>
                <a:gd name="T104" fmla="*/ 45 w 270"/>
                <a:gd name="T105" fmla="*/ 7 h 241"/>
                <a:gd name="T106" fmla="*/ 48 w 270"/>
                <a:gd name="T107" fmla="*/ 13 h 241"/>
                <a:gd name="T108" fmla="*/ 52 w 270"/>
                <a:gd name="T109" fmla="*/ 19 h 241"/>
                <a:gd name="T110" fmla="*/ 56 w 270"/>
                <a:gd name="T111" fmla="*/ 24 h 241"/>
                <a:gd name="T112" fmla="*/ 60 w 270"/>
                <a:gd name="T113" fmla="*/ 3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70" h="241">
                  <a:moveTo>
                    <a:pt x="67" y="55"/>
                  </a:moveTo>
                  <a:cubicBezTo>
                    <a:pt x="77" y="56"/>
                    <a:pt x="86" y="56"/>
                    <a:pt x="96" y="57"/>
                  </a:cubicBezTo>
                  <a:cubicBezTo>
                    <a:pt x="97" y="48"/>
                    <a:pt x="97" y="39"/>
                    <a:pt x="98" y="29"/>
                  </a:cubicBezTo>
                  <a:cubicBezTo>
                    <a:pt x="99" y="29"/>
                    <a:pt x="100" y="28"/>
                    <a:pt x="101" y="27"/>
                  </a:cubicBezTo>
                  <a:cubicBezTo>
                    <a:pt x="103" y="25"/>
                    <a:pt x="104" y="24"/>
                    <a:pt x="106" y="22"/>
                  </a:cubicBezTo>
                  <a:cubicBezTo>
                    <a:pt x="109" y="19"/>
                    <a:pt x="113" y="15"/>
                    <a:pt x="116" y="12"/>
                  </a:cubicBezTo>
                  <a:cubicBezTo>
                    <a:pt x="117" y="11"/>
                    <a:pt x="119" y="9"/>
                    <a:pt x="120" y="7"/>
                  </a:cubicBezTo>
                  <a:cubicBezTo>
                    <a:pt x="121" y="7"/>
                    <a:pt x="121" y="7"/>
                    <a:pt x="121" y="7"/>
                  </a:cubicBezTo>
                  <a:cubicBezTo>
                    <a:pt x="121" y="7"/>
                    <a:pt x="122" y="7"/>
                    <a:pt x="122" y="6"/>
                  </a:cubicBezTo>
                  <a:cubicBezTo>
                    <a:pt x="122" y="6"/>
                    <a:pt x="122" y="6"/>
                    <a:pt x="123" y="6"/>
                  </a:cubicBezTo>
                  <a:cubicBezTo>
                    <a:pt x="123" y="6"/>
                    <a:pt x="123" y="6"/>
                    <a:pt x="123" y="6"/>
                  </a:cubicBezTo>
                  <a:cubicBezTo>
                    <a:pt x="123" y="6"/>
                    <a:pt x="123" y="6"/>
                    <a:pt x="124" y="6"/>
                  </a:cubicBezTo>
                  <a:cubicBezTo>
                    <a:pt x="124" y="6"/>
                    <a:pt x="124" y="5"/>
                    <a:pt x="124" y="5"/>
                  </a:cubicBezTo>
                  <a:cubicBezTo>
                    <a:pt x="124" y="5"/>
                    <a:pt x="124" y="5"/>
                    <a:pt x="125" y="5"/>
                  </a:cubicBezTo>
                  <a:cubicBezTo>
                    <a:pt x="125" y="5"/>
                    <a:pt x="125" y="5"/>
                    <a:pt x="125" y="4"/>
                  </a:cubicBezTo>
                  <a:cubicBezTo>
                    <a:pt x="125" y="4"/>
                    <a:pt x="125" y="4"/>
                    <a:pt x="126" y="4"/>
                  </a:cubicBezTo>
                  <a:cubicBezTo>
                    <a:pt x="126" y="4"/>
                    <a:pt x="126" y="4"/>
                    <a:pt x="126" y="3"/>
                  </a:cubicBezTo>
                  <a:cubicBezTo>
                    <a:pt x="127" y="3"/>
                    <a:pt x="127" y="3"/>
                    <a:pt x="127" y="3"/>
                  </a:cubicBezTo>
                  <a:cubicBezTo>
                    <a:pt x="127" y="3"/>
                    <a:pt x="127" y="3"/>
                    <a:pt x="127" y="3"/>
                  </a:cubicBezTo>
                  <a:cubicBezTo>
                    <a:pt x="128" y="2"/>
                    <a:pt x="130" y="1"/>
                    <a:pt x="131" y="1"/>
                  </a:cubicBezTo>
                  <a:cubicBezTo>
                    <a:pt x="131" y="6"/>
                    <a:pt x="131" y="11"/>
                    <a:pt x="131" y="16"/>
                  </a:cubicBezTo>
                  <a:cubicBezTo>
                    <a:pt x="131" y="16"/>
                    <a:pt x="131" y="16"/>
                    <a:pt x="131" y="17"/>
                  </a:cubicBezTo>
                  <a:cubicBezTo>
                    <a:pt x="131" y="17"/>
                    <a:pt x="132" y="17"/>
                    <a:pt x="132" y="17"/>
                  </a:cubicBezTo>
                  <a:cubicBezTo>
                    <a:pt x="132" y="17"/>
                    <a:pt x="132" y="17"/>
                    <a:pt x="132" y="17"/>
                  </a:cubicBezTo>
                  <a:cubicBezTo>
                    <a:pt x="132" y="17"/>
                    <a:pt x="132" y="17"/>
                    <a:pt x="133" y="17"/>
                  </a:cubicBezTo>
                  <a:cubicBezTo>
                    <a:pt x="133" y="17"/>
                    <a:pt x="133" y="17"/>
                    <a:pt x="133" y="18"/>
                  </a:cubicBezTo>
                  <a:cubicBezTo>
                    <a:pt x="134" y="18"/>
                    <a:pt x="134" y="18"/>
                    <a:pt x="135" y="18"/>
                  </a:cubicBezTo>
                  <a:cubicBezTo>
                    <a:pt x="135" y="18"/>
                    <a:pt x="135" y="19"/>
                    <a:pt x="135" y="19"/>
                  </a:cubicBezTo>
                  <a:cubicBezTo>
                    <a:pt x="136" y="19"/>
                    <a:pt x="136" y="19"/>
                    <a:pt x="137" y="19"/>
                  </a:cubicBezTo>
                  <a:cubicBezTo>
                    <a:pt x="137" y="20"/>
                    <a:pt x="137" y="20"/>
                    <a:pt x="137" y="20"/>
                  </a:cubicBezTo>
                  <a:cubicBezTo>
                    <a:pt x="138" y="20"/>
                    <a:pt x="139" y="20"/>
                    <a:pt x="139" y="21"/>
                  </a:cubicBezTo>
                  <a:cubicBezTo>
                    <a:pt x="139" y="21"/>
                    <a:pt x="140" y="21"/>
                    <a:pt x="140" y="21"/>
                  </a:cubicBezTo>
                  <a:cubicBezTo>
                    <a:pt x="140" y="21"/>
                    <a:pt x="140" y="21"/>
                    <a:pt x="140" y="21"/>
                  </a:cubicBezTo>
                  <a:cubicBezTo>
                    <a:pt x="140" y="22"/>
                    <a:pt x="140" y="22"/>
                    <a:pt x="140" y="22"/>
                  </a:cubicBezTo>
                  <a:cubicBezTo>
                    <a:pt x="141" y="22"/>
                    <a:pt x="141" y="22"/>
                    <a:pt x="141" y="22"/>
                  </a:cubicBezTo>
                  <a:cubicBezTo>
                    <a:pt x="141" y="22"/>
                    <a:pt x="141" y="22"/>
                    <a:pt x="141" y="22"/>
                  </a:cubicBezTo>
                  <a:cubicBezTo>
                    <a:pt x="142" y="23"/>
                    <a:pt x="143" y="23"/>
                    <a:pt x="143" y="23"/>
                  </a:cubicBezTo>
                  <a:cubicBezTo>
                    <a:pt x="144" y="23"/>
                    <a:pt x="144" y="24"/>
                    <a:pt x="144" y="24"/>
                  </a:cubicBezTo>
                  <a:cubicBezTo>
                    <a:pt x="144" y="24"/>
                    <a:pt x="144" y="24"/>
                    <a:pt x="145" y="24"/>
                  </a:cubicBezTo>
                  <a:cubicBezTo>
                    <a:pt x="145" y="24"/>
                    <a:pt x="145" y="24"/>
                    <a:pt x="145" y="24"/>
                  </a:cubicBezTo>
                  <a:cubicBezTo>
                    <a:pt x="145" y="24"/>
                    <a:pt x="145" y="24"/>
                    <a:pt x="145" y="24"/>
                  </a:cubicBezTo>
                  <a:cubicBezTo>
                    <a:pt x="145" y="24"/>
                    <a:pt x="145" y="25"/>
                    <a:pt x="146" y="25"/>
                  </a:cubicBezTo>
                  <a:cubicBezTo>
                    <a:pt x="146" y="25"/>
                    <a:pt x="147" y="25"/>
                    <a:pt x="148" y="26"/>
                  </a:cubicBezTo>
                  <a:cubicBezTo>
                    <a:pt x="148" y="26"/>
                    <a:pt x="148" y="26"/>
                    <a:pt x="148" y="26"/>
                  </a:cubicBezTo>
                  <a:cubicBezTo>
                    <a:pt x="149" y="26"/>
                    <a:pt x="149" y="27"/>
                    <a:pt x="149" y="27"/>
                  </a:cubicBezTo>
                  <a:cubicBezTo>
                    <a:pt x="150" y="27"/>
                    <a:pt x="150" y="27"/>
                    <a:pt x="150" y="27"/>
                  </a:cubicBezTo>
                  <a:cubicBezTo>
                    <a:pt x="150" y="28"/>
                    <a:pt x="151" y="28"/>
                    <a:pt x="152" y="28"/>
                  </a:cubicBezTo>
                  <a:cubicBezTo>
                    <a:pt x="152" y="28"/>
                    <a:pt x="152" y="29"/>
                    <a:pt x="152" y="29"/>
                  </a:cubicBezTo>
                  <a:cubicBezTo>
                    <a:pt x="153" y="29"/>
                    <a:pt x="153" y="29"/>
                    <a:pt x="154" y="29"/>
                  </a:cubicBezTo>
                  <a:cubicBezTo>
                    <a:pt x="154" y="29"/>
                    <a:pt x="154" y="30"/>
                    <a:pt x="154" y="30"/>
                  </a:cubicBezTo>
                  <a:cubicBezTo>
                    <a:pt x="155" y="30"/>
                    <a:pt x="155" y="30"/>
                    <a:pt x="156" y="30"/>
                  </a:cubicBezTo>
                  <a:cubicBezTo>
                    <a:pt x="156" y="31"/>
                    <a:pt x="156" y="31"/>
                    <a:pt x="156" y="31"/>
                  </a:cubicBezTo>
                  <a:cubicBezTo>
                    <a:pt x="157" y="31"/>
                    <a:pt x="157" y="31"/>
                    <a:pt x="157" y="31"/>
                  </a:cubicBezTo>
                  <a:cubicBezTo>
                    <a:pt x="157" y="31"/>
                    <a:pt x="157" y="31"/>
                    <a:pt x="157" y="32"/>
                  </a:cubicBezTo>
                  <a:cubicBezTo>
                    <a:pt x="165" y="33"/>
                    <a:pt x="174" y="35"/>
                    <a:pt x="182" y="37"/>
                  </a:cubicBezTo>
                  <a:cubicBezTo>
                    <a:pt x="187" y="42"/>
                    <a:pt x="192" y="47"/>
                    <a:pt x="196" y="52"/>
                  </a:cubicBezTo>
                  <a:cubicBezTo>
                    <a:pt x="202" y="58"/>
                    <a:pt x="208" y="63"/>
                    <a:pt x="214" y="69"/>
                  </a:cubicBezTo>
                  <a:cubicBezTo>
                    <a:pt x="219" y="74"/>
                    <a:pt x="223" y="79"/>
                    <a:pt x="229" y="83"/>
                  </a:cubicBezTo>
                  <a:cubicBezTo>
                    <a:pt x="230" y="84"/>
                    <a:pt x="230" y="85"/>
                    <a:pt x="231" y="85"/>
                  </a:cubicBezTo>
                  <a:cubicBezTo>
                    <a:pt x="231" y="85"/>
                    <a:pt x="231" y="85"/>
                    <a:pt x="232" y="85"/>
                  </a:cubicBezTo>
                  <a:cubicBezTo>
                    <a:pt x="232" y="86"/>
                    <a:pt x="233" y="87"/>
                    <a:pt x="233" y="88"/>
                  </a:cubicBezTo>
                  <a:cubicBezTo>
                    <a:pt x="234" y="88"/>
                    <a:pt x="234" y="88"/>
                    <a:pt x="234" y="88"/>
                  </a:cubicBezTo>
                  <a:cubicBezTo>
                    <a:pt x="235" y="88"/>
                    <a:pt x="235" y="89"/>
                    <a:pt x="236" y="90"/>
                  </a:cubicBezTo>
                  <a:cubicBezTo>
                    <a:pt x="236" y="90"/>
                    <a:pt x="237" y="90"/>
                    <a:pt x="237" y="90"/>
                  </a:cubicBezTo>
                  <a:cubicBezTo>
                    <a:pt x="237" y="91"/>
                    <a:pt x="238" y="91"/>
                    <a:pt x="239" y="92"/>
                  </a:cubicBezTo>
                  <a:cubicBezTo>
                    <a:pt x="245" y="97"/>
                    <a:pt x="251" y="103"/>
                    <a:pt x="258" y="108"/>
                  </a:cubicBezTo>
                  <a:cubicBezTo>
                    <a:pt x="258" y="108"/>
                    <a:pt x="258" y="109"/>
                    <a:pt x="259" y="109"/>
                  </a:cubicBezTo>
                  <a:cubicBezTo>
                    <a:pt x="259" y="109"/>
                    <a:pt x="259" y="110"/>
                    <a:pt x="260" y="110"/>
                  </a:cubicBezTo>
                  <a:cubicBezTo>
                    <a:pt x="260" y="110"/>
                    <a:pt x="260" y="110"/>
                    <a:pt x="260" y="110"/>
                  </a:cubicBezTo>
                  <a:cubicBezTo>
                    <a:pt x="260" y="110"/>
                    <a:pt x="260" y="110"/>
                    <a:pt x="260" y="110"/>
                  </a:cubicBezTo>
                  <a:cubicBezTo>
                    <a:pt x="261" y="111"/>
                    <a:pt x="262" y="112"/>
                    <a:pt x="262" y="113"/>
                  </a:cubicBezTo>
                  <a:cubicBezTo>
                    <a:pt x="263" y="113"/>
                    <a:pt x="263" y="113"/>
                    <a:pt x="263" y="113"/>
                  </a:cubicBezTo>
                  <a:cubicBezTo>
                    <a:pt x="264" y="113"/>
                    <a:pt x="264" y="114"/>
                    <a:pt x="265" y="115"/>
                  </a:cubicBezTo>
                  <a:cubicBezTo>
                    <a:pt x="265" y="115"/>
                    <a:pt x="265" y="115"/>
                    <a:pt x="266" y="115"/>
                  </a:cubicBezTo>
                  <a:cubicBezTo>
                    <a:pt x="266" y="116"/>
                    <a:pt x="267" y="116"/>
                    <a:pt x="268" y="117"/>
                  </a:cubicBezTo>
                  <a:cubicBezTo>
                    <a:pt x="268" y="117"/>
                    <a:pt x="268" y="117"/>
                    <a:pt x="268" y="117"/>
                  </a:cubicBezTo>
                  <a:cubicBezTo>
                    <a:pt x="268" y="117"/>
                    <a:pt x="268" y="117"/>
                    <a:pt x="268" y="118"/>
                  </a:cubicBezTo>
                  <a:cubicBezTo>
                    <a:pt x="269" y="118"/>
                    <a:pt x="270" y="119"/>
                    <a:pt x="270" y="119"/>
                  </a:cubicBezTo>
                  <a:cubicBezTo>
                    <a:pt x="270" y="121"/>
                    <a:pt x="270" y="122"/>
                    <a:pt x="270" y="124"/>
                  </a:cubicBezTo>
                  <a:cubicBezTo>
                    <a:pt x="269" y="125"/>
                    <a:pt x="270" y="129"/>
                    <a:pt x="270" y="130"/>
                  </a:cubicBezTo>
                  <a:cubicBezTo>
                    <a:pt x="270" y="136"/>
                    <a:pt x="270" y="142"/>
                    <a:pt x="270" y="147"/>
                  </a:cubicBezTo>
                  <a:cubicBezTo>
                    <a:pt x="268" y="154"/>
                    <a:pt x="267" y="162"/>
                    <a:pt x="265" y="169"/>
                  </a:cubicBezTo>
                  <a:cubicBezTo>
                    <a:pt x="264" y="172"/>
                    <a:pt x="264" y="174"/>
                    <a:pt x="264" y="176"/>
                  </a:cubicBezTo>
                  <a:cubicBezTo>
                    <a:pt x="264" y="176"/>
                    <a:pt x="264" y="176"/>
                    <a:pt x="263" y="176"/>
                  </a:cubicBezTo>
                  <a:cubicBezTo>
                    <a:pt x="263" y="178"/>
                    <a:pt x="263" y="179"/>
                    <a:pt x="263" y="181"/>
                  </a:cubicBezTo>
                  <a:cubicBezTo>
                    <a:pt x="262" y="184"/>
                    <a:pt x="262" y="189"/>
                    <a:pt x="261" y="193"/>
                  </a:cubicBezTo>
                  <a:cubicBezTo>
                    <a:pt x="260" y="193"/>
                    <a:pt x="259" y="194"/>
                    <a:pt x="258" y="195"/>
                  </a:cubicBezTo>
                  <a:cubicBezTo>
                    <a:pt x="257" y="195"/>
                    <a:pt x="257" y="195"/>
                    <a:pt x="257" y="195"/>
                  </a:cubicBezTo>
                  <a:cubicBezTo>
                    <a:pt x="257" y="195"/>
                    <a:pt x="257" y="195"/>
                    <a:pt x="257" y="195"/>
                  </a:cubicBezTo>
                  <a:cubicBezTo>
                    <a:pt x="256" y="195"/>
                    <a:pt x="256" y="195"/>
                    <a:pt x="255" y="195"/>
                  </a:cubicBezTo>
                  <a:cubicBezTo>
                    <a:pt x="255" y="195"/>
                    <a:pt x="255" y="195"/>
                    <a:pt x="255" y="196"/>
                  </a:cubicBezTo>
                  <a:cubicBezTo>
                    <a:pt x="255" y="196"/>
                    <a:pt x="255" y="196"/>
                    <a:pt x="255" y="196"/>
                  </a:cubicBezTo>
                  <a:cubicBezTo>
                    <a:pt x="255" y="196"/>
                    <a:pt x="255" y="196"/>
                    <a:pt x="255" y="196"/>
                  </a:cubicBezTo>
                  <a:cubicBezTo>
                    <a:pt x="254" y="196"/>
                    <a:pt x="254" y="196"/>
                    <a:pt x="254" y="196"/>
                  </a:cubicBezTo>
                  <a:cubicBezTo>
                    <a:pt x="254" y="196"/>
                    <a:pt x="254" y="196"/>
                    <a:pt x="254" y="196"/>
                  </a:cubicBezTo>
                  <a:cubicBezTo>
                    <a:pt x="254" y="196"/>
                    <a:pt x="254" y="196"/>
                    <a:pt x="253" y="196"/>
                  </a:cubicBezTo>
                  <a:cubicBezTo>
                    <a:pt x="253" y="196"/>
                    <a:pt x="253" y="197"/>
                    <a:pt x="253" y="197"/>
                  </a:cubicBezTo>
                  <a:cubicBezTo>
                    <a:pt x="253" y="197"/>
                    <a:pt x="253" y="197"/>
                    <a:pt x="253" y="197"/>
                  </a:cubicBezTo>
                  <a:cubicBezTo>
                    <a:pt x="253" y="197"/>
                    <a:pt x="253" y="197"/>
                    <a:pt x="253" y="197"/>
                  </a:cubicBezTo>
                  <a:cubicBezTo>
                    <a:pt x="252" y="197"/>
                    <a:pt x="252" y="197"/>
                    <a:pt x="251" y="197"/>
                  </a:cubicBezTo>
                  <a:cubicBezTo>
                    <a:pt x="250" y="198"/>
                    <a:pt x="248" y="199"/>
                    <a:pt x="246" y="200"/>
                  </a:cubicBezTo>
                  <a:cubicBezTo>
                    <a:pt x="246" y="205"/>
                    <a:pt x="246" y="211"/>
                    <a:pt x="246" y="216"/>
                  </a:cubicBezTo>
                  <a:cubicBezTo>
                    <a:pt x="246" y="216"/>
                    <a:pt x="245" y="216"/>
                    <a:pt x="245" y="216"/>
                  </a:cubicBezTo>
                  <a:cubicBezTo>
                    <a:pt x="245" y="216"/>
                    <a:pt x="245" y="216"/>
                    <a:pt x="245" y="217"/>
                  </a:cubicBezTo>
                  <a:cubicBezTo>
                    <a:pt x="233" y="219"/>
                    <a:pt x="221" y="221"/>
                    <a:pt x="209" y="223"/>
                  </a:cubicBezTo>
                  <a:cubicBezTo>
                    <a:pt x="208" y="223"/>
                    <a:pt x="208" y="223"/>
                    <a:pt x="208" y="224"/>
                  </a:cubicBezTo>
                  <a:cubicBezTo>
                    <a:pt x="208" y="224"/>
                    <a:pt x="208" y="224"/>
                    <a:pt x="207" y="224"/>
                  </a:cubicBezTo>
                  <a:cubicBezTo>
                    <a:pt x="207" y="224"/>
                    <a:pt x="207" y="225"/>
                    <a:pt x="206" y="225"/>
                  </a:cubicBezTo>
                  <a:cubicBezTo>
                    <a:pt x="206" y="225"/>
                    <a:pt x="206" y="225"/>
                    <a:pt x="205" y="225"/>
                  </a:cubicBezTo>
                  <a:cubicBezTo>
                    <a:pt x="205" y="226"/>
                    <a:pt x="204" y="226"/>
                    <a:pt x="204" y="227"/>
                  </a:cubicBezTo>
                  <a:cubicBezTo>
                    <a:pt x="204" y="227"/>
                    <a:pt x="204" y="227"/>
                    <a:pt x="203" y="227"/>
                  </a:cubicBezTo>
                  <a:cubicBezTo>
                    <a:pt x="203" y="228"/>
                    <a:pt x="203" y="228"/>
                    <a:pt x="202" y="228"/>
                  </a:cubicBezTo>
                  <a:cubicBezTo>
                    <a:pt x="202" y="228"/>
                    <a:pt x="202" y="228"/>
                    <a:pt x="202" y="228"/>
                  </a:cubicBezTo>
                  <a:cubicBezTo>
                    <a:pt x="201" y="229"/>
                    <a:pt x="201" y="230"/>
                    <a:pt x="200" y="230"/>
                  </a:cubicBezTo>
                  <a:cubicBezTo>
                    <a:pt x="200" y="230"/>
                    <a:pt x="200" y="230"/>
                    <a:pt x="199" y="230"/>
                  </a:cubicBezTo>
                  <a:cubicBezTo>
                    <a:pt x="199" y="231"/>
                    <a:pt x="199" y="231"/>
                    <a:pt x="198" y="232"/>
                  </a:cubicBezTo>
                  <a:cubicBezTo>
                    <a:pt x="198" y="232"/>
                    <a:pt x="198" y="232"/>
                    <a:pt x="197" y="232"/>
                  </a:cubicBezTo>
                  <a:cubicBezTo>
                    <a:pt x="197" y="232"/>
                    <a:pt x="197" y="233"/>
                    <a:pt x="196" y="233"/>
                  </a:cubicBezTo>
                  <a:cubicBezTo>
                    <a:pt x="196" y="233"/>
                    <a:pt x="196" y="233"/>
                    <a:pt x="196" y="233"/>
                  </a:cubicBezTo>
                  <a:cubicBezTo>
                    <a:pt x="195" y="234"/>
                    <a:pt x="195" y="235"/>
                    <a:pt x="194" y="235"/>
                  </a:cubicBezTo>
                  <a:cubicBezTo>
                    <a:pt x="194" y="235"/>
                    <a:pt x="194" y="235"/>
                    <a:pt x="194" y="235"/>
                  </a:cubicBezTo>
                  <a:cubicBezTo>
                    <a:pt x="193" y="235"/>
                    <a:pt x="193" y="236"/>
                    <a:pt x="193" y="236"/>
                  </a:cubicBezTo>
                  <a:cubicBezTo>
                    <a:pt x="192" y="236"/>
                    <a:pt x="191" y="236"/>
                    <a:pt x="190" y="236"/>
                  </a:cubicBezTo>
                  <a:cubicBezTo>
                    <a:pt x="190" y="237"/>
                    <a:pt x="190" y="237"/>
                    <a:pt x="190" y="237"/>
                  </a:cubicBezTo>
                  <a:cubicBezTo>
                    <a:pt x="189" y="237"/>
                    <a:pt x="189" y="237"/>
                    <a:pt x="188" y="237"/>
                  </a:cubicBezTo>
                  <a:cubicBezTo>
                    <a:pt x="188" y="237"/>
                    <a:pt x="188" y="237"/>
                    <a:pt x="188" y="237"/>
                  </a:cubicBezTo>
                  <a:cubicBezTo>
                    <a:pt x="188" y="237"/>
                    <a:pt x="188" y="237"/>
                    <a:pt x="187" y="237"/>
                  </a:cubicBezTo>
                  <a:cubicBezTo>
                    <a:pt x="187" y="237"/>
                    <a:pt x="187" y="237"/>
                    <a:pt x="187" y="238"/>
                  </a:cubicBezTo>
                  <a:cubicBezTo>
                    <a:pt x="187" y="238"/>
                    <a:pt x="186" y="238"/>
                    <a:pt x="186" y="238"/>
                  </a:cubicBezTo>
                  <a:cubicBezTo>
                    <a:pt x="186" y="238"/>
                    <a:pt x="186" y="238"/>
                    <a:pt x="186" y="238"/>
                  </a:cubicBezTo>
                  <a:cubicBezTo>
                    <a:pt x="185" y="238"/>
                    <a:pt x="185" y="238"/>
                    <a:pt x="184" y="238"/>
                  </a:cubicBezTo>
                  <a:cubicBezTo>
                    <a:pt x="184" y="238"/>
                    <a:pt x="184" y="238"/>
                    <a:pt x="184" y="238"/>
                  </a:cubicBezTo>
                  <a:cubicBezTo>
                    <a:pt x="184" y="238"/>
                    <a:pt x="183" y="238"/>
                    <a:pt x="183" y="238"/>
                  </a:cubicBezTo>
                  <a:cubicBezTo>
                    <a:pt x="183" y="238"/>
                    <a:pt x="183" y="238"/>
                    <a:pt x="183" y="239"/>
                  </a:cubicBezTo>
                  <a:cubicBezTo>
                    <a:pt x="182" y="239"/>
                    <a:pt x="181" y="239"/>
                    <a:pt x="180" y="239"/>
                  </a:cubicBezTo>
                  <a:cubicBezTo>
                    <a:pt x="180" y="239"/>
                    <a:pt x="180" y="239"/>
                    <a:pt x="180" y="239"/>
                  </a:cubicBezTo>
                  <a:cubicBezTo>
                    <a:pt x="178" y="240"/>
                    <a:pt x="175" y="240"/>
                    <a:pt x="172" y="241"/>
                  </a:cubicBezTo>
                  <a:cubicBezTo>
                    <a:pt x="172" y="239"/>
                    <a:pt x="172" y="236"/>
                    <a:pt x="171" y="234"/>
                  </a:cubicBezTo>
                  <a:cubicBezTo>
                    <a:pt x="171" y="233"/>
                    <a:pt x="171" y="232"/>
                    <a:pt x="171" y="231"/>
                  </a:cubicBezTo>
                  <a:cubicBezTo>
                    <a:pt x="171" y="231"/>
                    <a:pt x="171" y="231"/>
                    <a:pt x="171" y="231"/>
                  </a:cubicBezTo>
                  <a:cubicBezTo>
                    <a:pt x="171" y="230"/>
                    <a:pt x="171" y="229"/>
                    <a:pt x="171" y="228"/>
                  </a:cubicBezTo>
                  <a:cubicBezTo>
                    <a:pt x="171" y="228"/>
                    <a:pt x="171" y="228"/>
                    <a:pt x="170" y="228"/>
                  </a:cubicBezTo>
                  <a:cubicBezTo>
                    <a:pt x="170" y="227"/>
                    <a:pt x="170" y="226"/>
                    <a:pt x="170" y="225"/>
                  </a:cubicBezTo>
                  <a:cubicBezTo>
                    <a:pt x="170" y="225"/>
                    <a:pt x="170" y="225"/>
                    <a:pt x="170" y="225"/>
                  </a:cubicBezTo>
                  <a:cubicBezTo>
                    <a:pt x="170" y="222"/>
                    <a:pt x="170" y="220"/>
                    <a:pt x="169" y="217"/>
                  </a:cubicBezTo>
                  <a:cubicBezTo>
                    <a:pt x="169" y="217"/>
                    <a:pt x="169" y="217"/>
                    <a:pt x="169" y="217"/>
                  </a:cubicBezTo>
                  <a:cubicBezTo>
                    <a:pt x="169" y="217"/>
                    <a:pt x="168" y="217"/>
                    <a:pt x="168" y="217"/>
                  </a:cubicBezTo>
                  <a:cubicBezTo>
                    <a:pt x="168" y="216"/>
                    <a:pt x="168" y="216"/>
                    <a:pt x="168" y="216"/>
                  </a:cubicBezTo>
                  <a:cubicBezTo>
                    <a:pt x="168" y="216"/>
                    <a:pt x="168" y="216"/>
                    <a:pt x="167" y="216"/>
                  </a:cubicBezTo>
                  <a:cubicBezTo>
                    <a:pt x="167" y="216"/>
                    <a:pt x="167" y="216"/>
                    <a:pt x="167" y="215"/>
                  </a:cubicBezTo>
                  <a:cubicBezTo>
                    <a:pt x="166" y="215"/>
                    <a:pt x="166" y="215"/>
                    <a:pt x="166" y="215"/>
                  </a:cubicBezTo>
                  <a:cubicBezTo>
                    <a:pt x="165" y="215"/>
                    <a:pt x="165" y="214"/>
                    <a:pt x="165" y="214"/>
                  </a:cubicBezTo>
                  <a:cubicBezTo>
                    <a:pt x="165" y="214"/>
                    <a:pt x="165" y="214"/>
                    <a:pt x="164" y="214"/>
                  </a:cubicBezTo>
                  <a:cubicBezTo>
                    <a:pt x="164" y="214"/>
                    <a:pt x="164" y="214"/>
                    <a:pt x="164" y="213"/>
                  </a:cubicBezTo>
                  <a:cubicBezTo>
                    <a:pt x="164" y="213"/>
                    <a:pt x="164" y="213"/>
                    <a:pt x="163" y="213"/>
                  </a:cubicBezTo>
                  <a:cubicBezTo>
                    <a:pt x="163" y="213"/>
                    <a:pt x="163" y="213"/>
                    <a:pt x="163" y="212"/>
                  </a:cubicBezTo>
                  <a:cubicBezTo>
                    <a:pt x="163" y="212"/>
                    <a:pt x="162" y="212"/>
                    <a:pt x="162" y="212"/>
                  </a:cubicBezTo>
                  <a:cubicBezTo>
                    <a:pt x="162" y="212"/>
                    <a:pt x="162" y="212"/>
                    <a:pt x="161" y="211"/>
                  </a:cubicBezTo>
                  <a:cubicBezTo>
                    <a:pt x="161" y="211"/>
                    <a:pt x="161" y="211"/>
                    <a:pt x="161" y="211"/>
                  </a:cubicBezTo>
                  <a:cubicBezTo>
                    <a:pt x="161" y="211"/>
                    <a:pt x="160" y="211"/>
                    <a:pt x="160" y="211"/>
                  </a:cubicBezTo>
                  <a:cubicBezTo>
                    <a:pt x="160" y="211"/>
                    <a:pt x="160" y="211"/>
                    <a:pt x="160" y="211"/>
                  </a:cubicBezTo>
                  <a:cubicBezTo>
                    <a:pt x="159" y="210"/>
                    <a:pt x="159" y="210"/>
                    <a:pt x="159" y="210"/>
                  </a:cubicBezTo>
                  <a:cubicBezTo>
                    <a:pt x="159" y="210"/>
                    <a:pt x="158" y="210"/>
                    <a:pt x="158" y="210"/>
                  </a:cubicBezTo>
                  <a:cubicBezTo>
                    <a:pt x="158" y="209"/>
                    <a:pt x="158" y="209"/>
                    <a:pt x="157" y="209"/>
                  </a:cubicBezTo>
                  <a:cubicBezTo>
                    <a:pt x="157" y="209"/>
                    <a:pt x="157" y="209"/>
                    <a:pt x="157" y="209"/>
                  </a:cubicBezTo>
                  <a:cubicBezTo>
                    <a:pt x="157" y="208"/>
                    <a:pt x="157" y="208"/>
                    <a:pt x="156" y="208"/>
                  </a:cubicBezTo>
                  <a:cubicBezTo>
                    <a:pt x="156" y="208"/>
                    <a:pt x="156" y="208"/>
                    <a:pt x="156" y="208"/>
                  </a:cubicBezTo>
                  <a:cubicBezTo>
                    <a:pt x="156" y="208"/>
                    <a:pt x="156" y="207"/>
                    <a:pt x="155" y="207"/>
                  </a:cubicBezTo>
                  <a:cubicBezTo>
                    <a:pt x="155" y="207"/>
                    <a:pt x="155" y="207"/>
                    <a:pt x="154" y="207"/>
                  </a:cubicBezTo>
                  <a:cubicBezTo>
                    <a:pt x="154" y="206"/>
                    <a:pt x="154" y="206"/>
                    <a:pt x="154" y="206"/>
                  </a:cubicBezTo>
                  <a:cubicBezTo>
                    <a:pt x="153" y="206"/>
                    <a:pt x="153" y="206"/>
                    <a:pt x="153" y="206"/>
                  </a:cubicBezTo>
                  <a:cubicBezTo>
                    <a:pt x="153" y="205"/>
                    <a:pt x="153" y="205"/>
                    <a:pt x="153" y="205"/>
                  </a:cubicBezTo>
                  <a:cubicBezTo>
                    <a:pt x="152" y="205"/>
                    <a:pt x="152" y="205"/>
                    <a:pt x="152" y="205"/>
                  </a:cubicBezTo>
                  <a:cubicBezTo>
                    <a:pt x="152" y="205"/>
                    <a:pt x="152" y="205"/>
                    <a:pt x="152" y="204"/>
                  </a:cubicBezTo>
                  <a:cubicBezTo>
                    <a:pt x="151" y="204"/>
                    <a:pt x="151" y="204"/>
                    <a:pt x="150" y="204"/>
                  </a:cubicBezTo>
                  <a:cubicBezTo>
                    <a:pt x="150" y="204"/>
                    <a:pt x="150" y="203"/>
                    <a:pt x="150" y="203"/>
                  </a:cubicBezTo>
                  <a:cubicBezTo>
                    <a:pt x="150" y="203"/>
                    <a:pt x="149" y="203"/>
                    <a:pt x="149" y="203"/>
                  </a:cubicBezTo>
                  <a:cubicBezTo>
                    <a:pt x="149" y="203"/>
                    <a:pt x="149" y="202"/>
                    <a:pt x="149" y="202"/>
                  </a:cubicBezTo>
                  <a:cubicBezTo>
                    <a:pt x="149" y="202"/>
                    <a:pt x="148" y="202"/>
                    <a:pt x="148" y="202"/>
                  </a:cubicBezTo>
                  <a:cubicBezTo>
                    <a:pt x="148" y="202"/>
                    <a:pt x="148" y="202"/>
                    <a:pt x="147" y="201"/>
                  </a:cubicBezTo>
                  <a:cubicBezTo>
                    <a:pt x="147" y="201"/>
                    <a:pt x="147" y="201"/>
                    <a:pt x="147" y="201"/>
                  </a:cubicBezTo>
                  <a:cubicBezTo>
                    <a:pt x="146" y="201"/>
                    <a:pt x="146" y="200"/>
                    <a:pt x="146" y="200"/>
                  </a:cubicBezTo>
                  <a:cubicBezTo>
                    <a:pt x="146" y="200"/>
                    <a:pt x="145" y="200"/>
                    <a:pt x="145" y="200"/>
                  </a:cubicBezTo>
                  <a:cubicBezTo>
                    <a:pt x="145" y="200"/>
                    <a:pt x="145" y="200"/>
                    <a:pt x="145" y="199"/>
                  </a:cubicBezTo>
                  <a:cubicBezTo>
                    <a:pt x="145" y="199"/>
                    <a:pt x="144" y="199"/>
                    <a:pt x="144" y="199"/>
                  </a:cubicBezTo>
                  <a:cubicBezTo>
                    <a:pt x="144" y="199"/>
                    <a:pt x="144" y="199"/>
                    <a:pt x="144" y="199"/>
                  </a:cubicBezTo>
                  <a:cubicBezTo>
                    <a:pt x="143" y="199"/>
                    <a:pt x="143" y="198"/>
                    <a:pt x="143" y="198"/>
                  </a:cubicBezTo>
                  <a:cubicBezTo>
                    <a:pt x="143" y="198"/>
                    <a:pt x="142" y="198"/>
                    <a:pt x="142" y="197"/>
                  </a:cubicBezTo>
                  <a:cubicBezTo>
                    <a:pt x="142" y="197"/>
                    <a:pt x="142" y="197"/>
                    <a:pt x="141" y="197"/>
                  </a:cubicBezTo>
                  <a:cubicBezTo>
                    <a:pt x="141" y="197"/>
                    <a:pt x="141" y="197"/>
                    <a:pt x="141" y="197"/>
                  </a:cubicBezTo>
                  <a:cubicBezTo>
                    <a:pt x="141" y="197"/>
                    <a:pt x="141" y="197"/>
                    <a:pt x="140" y="197"/>
                  </a:cubicBezTo>
                  <a:cubicBezTo>
                    <a:pt x="140" y="196"/>
                    <a:pt x="140" y="196"/>
                    <a:pt x="140" y="196"/>
                  </a:cubicBezTo>
                  <a:cubicBezTo>
                    <a:pt x="139" y="196"/>
                    <a:pt x="139" y="196"/>
                    <a:pt x="139" y="196"/>
                  </a:cubicBezTo>
                  <a:cubicBezTo>
                    <a:pt x="138" y="195"/>
                    <a:pt x="138" y="194"/>
                    <a:pt x="137" y="193"/>
                  </a:cubicBezTo>
                  <a:cubicBezTo>
                    <a:pt x="136" y="192"/>
                    <a:pt x="135" y="191"/>
                    <a:pt x="133" y="190"/>
                  </a:cubicBezTo>
                  <a:cubicBezTo>
                    <a:pt x="133" y="189"/>
                    <a:pt x="133" y="189"/>
                    <a:pt x="133" y="189"/>
                  </a:cubicBezTo>
                  <a:cubicBezTo>
                    <a:pt x="133" y="189"/>
                    <a:pt x="133" y="189"/>
                    <a:pt x="133" y="189"/>
                  </a:cubicBezTo>
                  <a:cubicBezTo>
                    <a:pt x="133" y="188"/>
                    <a:pt x="132" y="188"/>
                    <a:pt x="132" y="188"/>
                  </a:cubicBezTo>
                  <a:cubicBezTo>
                    <a:pt x="131" y="187"/>
                    <a:pt x="130" y="186"/>
                    <a:pt x="130" y="185"/>
                  </a:cubicBezTo>
                  <a:cubicBezTo>
                    <a:pt x="128" y="184"/>
                    <a:pt x="128" y="183"/>
                    <a:pt x="126" y="182"/>
                  </a:cubicBezTo>
                  <a:cubicBezTo>
                    <a:pt x="126" y="184"/>
                    <a:pt x="125" y="187"/>
                    <a:pt x="125" y="189"/>
                  </a:cubicBezTo>
                  <a:cubicBezTo>
                    <a:pt x="124" y="189"/>
                    <a:pt x="124" y="189"/>
                    <a:pt x="124" y="189"/>
                  </a:cubicBezTo>
                  <a:cubicBezTo>
                    <a:pt x="124" y="189"/>
                    <a:pt x="124" y="190"/>
                    <a:pt x="124" y="190"/>
                  </a:cubicBezTo>
                  <a:cubicBezTo>
                    <a:pt x="124" y="190"/>
                    <a:pt x="124" y="190"/>
                    <a:pt x="124" y="190"/>
                  </a:cubicBezTo>
                  <a:cubicBezTo>
                    <a:pt x="124" y="191"/>
                    <a:pt x="124" y="191"/>
                    <a:pt x="124" y="191"/>
                  </a:cubicBezTo>
                  <a:cubicBezTo>
                    <a:pt x="124" y="191"/>
                    <a:pt x="124" y="191"/>
                    <a:pt x="124" y="191"/>
                  </a:cubicBezTo>
                  <a:cubicBezTo>
                    <a:pt x="124" y="192"/>
                    <a:pt x="124" y="192"/>
                    <a:pt x="124" y="192"/>
                  </a:cubicBezTo>
                  <a:cubicBezTo>
                    <a:pt x="123" y="192"/>
                    <a:pt x="123" y="192"/>
                    <a:pt x="123" y="192"/>
                  </a:cubicBezTo>
                  <a:cubicBezTo>
                    <a:pt x="123" y="193"/>
                    <a:pt x="123" y="193"/>
                    <a:pt x="123" y="193"/>
                  </a:cubicBezTo>
                  <a:cubicBezTo>
                    <a:pt x="123" y="193"/>
                    <a:pt x="123" y="193"/>
                    <a:pt x="123" y="193"/>
                  </a:cubicBezTo>
                  <a:cubicBezTo>
                    <a:pt x="123" y="195"/>
                    <a:pt x="122" y="197"/>
                    <a:pt x="122" y="198"/>
                  </a:cubicBezTo>
                  <a:cubicBezTo>
                    <a:pt x="122" y="198"/>
                    <a:pt x="122" y="198"/>
                    <a:pt x="121" y="198"/>
                  </a:cubicBezTo>
                  <a:cubicBezTo>
                    <a:pt x="121" y="198"/>
                    <a:pt x="121" y="199"/>
                    <a:pt x="121" y="199"/>
                  </a:cubicBezTo>
                  <a:cubicBezTo>
                    <a:pt x="121" y="199"/>
                    <a:pt x="121" y="199"/>
                    <a:pt x="121" y="199"/>
                  </a:cubicBezTo>
                  <a:cubicBezTo>
                    <a:pt x="121" y="200"/>
                    <a:pt x="121" y="200"/>
                    <a:pt x="121" y="200"/>
                  </a:cubicBezTo>
                  <a:cubicBezTo>
                    <a:pt x="121" y="200"/>
                    <a:pt x="121" y="200"/>
                    <a:pt x="121" y="200"/>
                  </a:cubicBezTo>
                  <a:cubicBezTo>
                    <a:pt x="121" y="201"/>
                    <a:pt x="121" y="201"/>
                    <a:pt x="121" y="202"/>
                  </a:cubicBezTo>
                  <a:cubicBezTo>
                    <a:pt x="121" y="202"/>
                    <a:pt x="121" y="202"/>
                    <a:pt x="120" y="202"/>
                  </a:cubicBezTo>
                  <a:cubicBezTo>
                    <a:pt x="120" y="202"/>
                    <a:pt x="120" y="202"/>
                    <a:pt x="120" y="203"/>
                  </a:cubicBezTo>
                  <a:cubicBezTo>
                    <a:pt x="120" y="203"/>
                    <a:pt x="120" y="203"/>
                    <a:pt x="120" y="203"/>
                  </a:cubicBezTo>
                  <a:cubicBezTo>
                    <a:pt x="120" y="203"/>
                    <a:pt x="120" y="203"/>
                    <a:pt x="120" y="204"/>
                  </a:cubicBezTo>
                  <a:cubicBezTo>
                    <a:pt x="120" y="204"/>
                    <a:pt x="120" y="204"/>
                    <a:pt x="120" y="204"/>
                  </a:cubicBezTo>
                  <a:cubicBezTo>
                    <a:pt x="120" y="205"/>
                    <a:pt x="119" y="205"/>
                    <a:pt x="119" y="206"/>
                  </a:cubicBezTo>
                  <a:cubicBezTo>
                    <a:pt x="119" y="206"/>
                    <a:pt x="119" y="206"/>
                    <a:pt x="119" y="206"/>
                  </a:cubicBezTo>
                  <a:cubicBezTo>
                    <a:pt x="118" y="207"/>
                    <a:pt x="117" y="207"/>
                    <a:pt x="116" y="207"/>
                  </a:cubicBezTo>
                  <a:cubicBezTo>
                    <a:pt x="116" y="208"/>
                    <a:pt x="116" y="208"/>
                    <a:pt x="116" y="208"/>
                  </a:cubicBezTo>
                  <a:cubicBezTo>
                    <a:pt x="115" y="208"/>
                    <a:pt x="115" y="208"/>
                    <a:pt x="115" y="208"/>
                  </a:cubicBezTo>
                  <a:cubicBezTo>
                    <a:pt x="115" y="208"/>
                    <a:pt x="115" y="208"/>
                    <a:pt x="115" y="208"/>
                  </a:cubicBezTo>
                  <a:cubicBezTo>
                    <a:pt x="114" y="208"/>
                    <a:pt x="114" y="208"/>
                    <a:pt x="114" y="208"/>
                  </a:cubicBezTo>
                  <a:cubicBezTo>
                    <a:pt x="114" y="208"/>
                    <a:pt x="114" y="208"/>
                    <a:pt x="114" y="209"/>
                  </a:cubicBezTo>
                  <a:cubicBezTo>
                    <a:pt x="113" y="209"/>
                    <a:pt x="113" y="209"/>
                    <a:pt x="113" y="209"/>
                  </a:cubicBezTo>
                  <a:cubicBezTo>
                    <a:pt x="113" y="209"/>
                    <a:pt x="113" y="209"/>
                    <a:pt x="113" y="209"/>
                  </a:cubicBezTo>
                  <a:cubicBezTo>
                    <a:pt x="112" y="209"/>
                    <a:pt x="112" y="209"/>
                    <a:pt x="112" y="209"/>
                  </a:cubicBezTo>
                  <a:cubicBezTo>
                    <a:pt x="112" y="209"/>
                    <a:pt x="112" y="209"/>
                    <a:pt x="112" y="209"/>
                  </a:cubicBezTo>
                  <a:cubicBezTo>
                    <a:pt x="111" y="209"/>
                    <a:pt x="111" y="209"/>
                    <a:pt x="110" y="210"/>
                  </a:cubicBezTo>
                  <a:cubicBezTo>
                    <a:pt x="110" y="210"/>
                    <a:pt x="110" y="210"/>
                    <a:pt x="110" y="210"/>
                  </a:cubicBezTo>
                  <a:cubicBezTo>
                    <a:pt x="110" y="210"/>
                    <a:pt x="109" y="210"/>
                    <a:pt x="109" y="210"/>
                  </a:cubicBezTo>
                  <a:cubicBezTo>
                    <a:pt x="109" y="210"/>
                    <a:pt x="109" y="210"/>
                    <a:pt x="109" y="210"/>
                  </a:cubicBezTo>
                  <a:cubicBezTo>
                    <a:pt x="109" y="210"/>
                    <a:pt x="108" y="210"/>
                    <a:pt x="107" y="211"/>
                  </a:cubicBezTo>
                  <a:cubicBezTo>
                    <a:pt x="107" y="211"/>
                    <a:pt x="107" y="211"/>
                    <a:pt x="107" y="211"/>
                  </a:cubicBezTo>
                  <a:cubicBezTo>
                    <a:pt x="107" y="211"/>
                    <a:pt x="107" y="211"/>
                    <a:pt x="106" y="211"/>
                  </a:cubicBezTo>
                  <a:cubicBezTo>
                    <a:pt x="106" y="211"/>
                    <a:pt x="106" y="211"/>
                    <a:pt x="106" y="211"/>
                  </a:cubicBezTo>
                  <a:cubicBezTo>
                    <a:pt x="106" y="211"/>
                    <a:pt x="105" y="212"/>
                    <a:pt x="104" y="212"/>
                  </a:cubicBezTo>
                  <a:cubicBezTo>
                    <a:pt x="104" y="212"/>
                    <a:pt x="104" y="212"/>
                    <a:pt x="104" y="212"/>
                  </a:cubicBezTo>
                  <a:cubicBezTo>
                    <a:pt x="104" y="212"/>
                    <a:pt x="104" y="212"/>
                    <a:pt x="104" y="212"/>
                  </a:cubicBezTo>
                  <a:cubicBezTo>
                    <a:pt x="104" y="212"/>
                    <a:pt x="104" y="212"/>
                    <a:pt x="104" y="212"/>
                  </a:cubicBezTo>
                  <a:cubicBezTo>
                    <a:pt x="103" y="212"/>
                    <a:pt x="102" y="213"/>
                    <a:pt x="102" y="213"/>
                  </a:cubicBezTo>
                  <a:cubicBezTo>
                    <a:pt x="102" y="213"/>
                    <a:pt x="102" y="213"/>
                    <a:pt x="102" y="213"/>
                  </a:cubicBezTo>
                  <a:cubicBezTo>
                    <a:pt x="101" y="213"/>
                    <a:pt x="101" y="213"/>
                    <a:pt x="101" y="213"/>
                  </a:cubicBezTo>
                  <a:cubicBezTo>
                    <a:pt x="101" y="213"/>
                    <a:pt x="101" y="213"/>
                    <a:pt x="101" y="213"/>
                  </a:cubicBezTo>
                  <a:cubicBezTo>
                    <a:pt x="100" y="213"/>
                    <a:pt x="100" y="213"/>
                    <a:pt x="100" y="213"/>
                  </a:cubicBezTo>
                  <a:cubicBezTo>
                    <a:pt x="99" y="214"/>
                    <a:pt x="98" y="214"/>
                    <a:pt x="97" y="214"/>
                  </a:cubicBezTo>
                  <a:cubicBezTo>
                    <a:pt x="96" y="213"/>
                    <a:pt x="95" y="213"/>
                    <a:pt x="93" y="213"/>
                  </a:cubicBezTo>
                  <a:cubicBezTo>
                    <a:pt x="93" y="213"/>
                    <a:pt x="93" y="212"/>
                    <a:pt x="93" y="212"/>
                  </a:cubicBezTo>
                  <a:cubicBezTo>
                    <a:pt x="93" y="212"/>
                    <a:pt x="93" y="212"/>
                    <a:pt x="93" y="212"/>
                  </a:cubicBezTo>
                  <a:cubicBezTo>
                    <a:pt x="93" y="212"/>
                    <a:pt x="93" y="212"/>
                    <a:pt x="93" y="212"/>
                  </a:cubicBezTo>
                  <a:cubicBezTo>
                    <a:pt x="93" y="212"/>
                    <a:pt x="92" y="212"/>
                    <a:pt x="92" y="212"/>
                  </a:cubicBezTo>
                  <a:cubicBezTo>
                    <a:pt x="92" y="212"/>
                    <a:pt x="92" y="212"/>
                    <a:pt x="92" y="212"/>
                  </a:cubicBezTo>
                  <a:cubicBezTo>
                    <a:pt x="92" y="212"/>
                    <a:pt x="92" y="212"/>
                    <a:pt x="91" y="212"/>
                  </a:cubicBezTo>
                  <a:cubicBezTo>
                    <a:pt x="91" y="212"/>
                    <a:pt x="91" y="211"/>
                    <a:pt x="91" y="211"/>
                  </a:cubicBezTo>
                  <a:cubicBezTo>
                    <a:pt x="91" y="211"/>
                    <a:pt x="91" y="211"/>
                    <a:pt x="91" y="211"/>
                  </a:cubicBezTo>
                  <a:cubicBezTo>
                    <a:pt x="91" y="211"/>
                    <a:pt x="91" y="211"/>
                    <a:pt x="91" y="211"/>
                  </a:cubicBezTo>
                  <a:cubicBezTo>
                    <a:pt x="90" y="211"/>
                    <a:pt x="90" y="211"/>
                    <a:pt x="89" y="211"/>
                  </a:cubicBezTo>
                  <a:cubicBezTo>
                    <a:pt x="89" y="210"/>
                    <a:pt x="89" y="210"/>
                    <a:pt x="89" y="210"/>
                  </a:cubicBezTo>
                  <a:cubicBezTo>
                    <a:pt x="89" y="210"/>
                    <a:pt x="88" y="210"/>
                    <a:pt x="88" y="210"/>
                  </a:cubicBezTo>
                  <a:cubicBezTo>
                    <a:pt x="88" y="210"/>
                    <a:pt x="88" y="210"/>
                    <a:pt x="88" y="210"/>
                  </a:cubicBezTo>
                  <a:cubicBezTo>
                    <a:pt x="88" y="210"/>
                    <a:pt x="88" y="210"/>
                    <a:pt x="88" y="210"/>
                  </a:cubicBezTo>
                  <a:cubicBezTo>
                    <a:pt x="88" y="209"/>
                    <a:pt x="88" y="209"/>
                    <a:pt x="88" y="209"/>
                  </a:cubicBezTo>
                  <a:cubicBezTo>
                    <a:pt x="87" y="209"/>
                    <a:pt x="87" y="209"/>
                    <a:pt x="87" y="209"/>
                  </a:cubicBezTo>
                  <a:cubicBezTo>
                    <a:pt x="87" y="209"/>
                    <a:pt x="87" y="209"/>
                    <a:pt x="87" y="209"/>
                  </a:cubicBezTo>
                  <a:cubicBezTo>
                    <a:pt x="87" y="209"/>
                    <a:pt x="86" y="209"/>
                    <a:pt x="86" y="209"/>
                  </a:cubicBezTo>
                  <a:cubicBezTo>
                    <a:pt x="86" y="209"/>
                    <a:pt x="86" y="209"/>
                    <a:pt x="86" y="209"/>
                  </a:cubicBezTo>
                  <a:cubicBezTo>
                    <a:pt x="86" y="209"/>
                    <a:pt x="86" y="209"/>
                    <a:pt x="85" y="209"/>
                  </a:cubicBezTo>
                  <a:cubicBezTo>
                    <a:pt x="85" y="208"/>
                    <a:pt x="85" y="208"/>
                    <a:pt x="85" y="208"/>
                  </a:cubicBezTo>
                  <a:cubicBezTo>
                    <a:pt x="85" y="208"/>
                    <a:pt x="85" y="208"/>
                    <a:pt x="85" y="208"/>
                  </a:cubicBezTo>
                  <a:cubicBezTo>
                    <a:pt x="83" y="207"/>
                    <a:pt x="82" y="206"/>
                    <a:pt x="80" y="205"/>
                  </a:cubicBezTo>
                  <a:cubicBezTo>
                    <a:pt x="80" y="205"/>
                    <a:pt x="80" y="205"/>
                    <a:pt x="79" y="205"/>
                  </a:cubicBezTo>
                  <a:cubicBezTo>
                    <a:pt x="79" y="205"/>
                    <a:pt x="79" y="205"/>
                    <a:pt x="79" y="205"/>
                  </a:cubicBezTo>
                  <a:cubicBezTo>
                    <a:pt x="79" y="205"/>
                    <a:pt x="79" y="205"/>
                    <a:pt x="79" y="205"/>
                  </a:cubicBezTo>
                  <a:cubicBezTo>
                    <a:pt x="79" y="205"/>
                    <a:pt x="79" y="205"/>
                    <a:pt x="79" y="205"/>
                  </a:cubicBezTo>
                  <a:cubicBezTo>
                    <a:pt x="79" y="205"/>
                    <a:pt x="78" y="205"/>
                    <a:pt x="78" y="205"/>
                  </a:cubicBezTo>
                  <a:cubicBezTo>
                    <a:pt x="78" y="205"/>
                    <a:pt x="78" y="204"/>
                    <a:pt x="78" y="204"/>
                  </a:cubicBezTo>
                  <a:cubicBezTo>
                    <a:pt x="78" y="204"/>
                    <a:pt x="78" y="204"/>
                    <a:pt x="77" y="204"/>
                  </a:cubicBezTo>
                  <a:cubicBezTo>
                    <a:pt x="77" y="204"/>
                    <a:pt x="77" y="204"/>
                    <a:pt x="77" y="204"/>
                  </a:cubicBezTo>
                  <a:cubicBezTo>
                    <a:pt x="77" y="204"/>
                    <a:pt x="77" y="204"/>
                    <a:pt x="77" y="204"/>
                  </a:cubicBezTo>
                  <a:cubicBezTo>
                    <a:pt x="77" y="204"/>
                    <a:pt x="77" y="204"/>
                    <a:pt x="77" y="204"/>
                  </a:cubicBezTo>
                  <a:cubicBezTo>
                    <a:pt x="76" y="204"/>
                    <a:pt x="76" y="204"/>
                    <a:pt x="76" y="204"/>
                  </a:cubicBezTo>
                  <a:cubicBezTo>
                    <a:pt x="76" y="203"/>
                    <a:pt x="76" y="203"/>
                    <a:pt x="76" y="203"/>
                  </a:cubicBezTo>
                  <a:cubicBezTo>
                    <a:pt x="75" y="203"/>
                    <a:pt x="75" y="203"/>
                    <a:pt x="75" y="203"/>
                  </a:cubicBezTo>
                  <a:cubicBezTo>
                    <a:pt x="75" y="203"/>
                    <a:pt x="75" y="203"/>
                    <a:pt x="75" y="203"/>
                  </a:cubicBezTo>
                  <a:cubicBezTo>
                    <a:pt x="75" y="203"/>
                    <a:pt x="74" y="203"/>
                    <a:pt x="74" y="203"/>
                  </a:cubicBezTo>
                  <a:cubicBezTo>
                    <a:pt x="74" y="202"/>
                    <a:pt x="74" y="202"/>
                    <a:pt x="74" y="202"/>
                  </a:cubicBezTo>
                  <a:cubicBezTo>
                    <a:pt x="74" y="202"/>
                    <a:pt x="74" y="202"/>
                    <a:pt x="74" y="202"/>
                  </a:cubicBezTo>
                  <a:cubicBezTo>
                    <a:pt x="74" y="202"/>
                    <a:pt x="74" y="202"/>
                    <a:pt x="74" y="202"/>
                  </a:cubicBezTo>
                  <a:cubicBezTo>
                    <a:pt x="73" y="202"/>
                    <a:pt x="73" y="202"/>
                    <a:pt x="73" y="202"/>
                  </a:cubicBezTo>
                  <a:cubicBezTo>
                    <a:pt x="73" y="202"/>
                    <a:pt x="73" y="202"/>
                    <a:pt x="73" y="202"/>
                  </a:cubicBezTo>
                  <a:cubicBezTo>
                    <a:pt x="73" y="202"/>
                    <a:pt x="72" y="202"/>
                    <a:pt x="72" y="202"/>
                  </a:cubicBezTo>
                  <a:cubicBezTo>
                    <a:pt x="72" y="201"/>
                    <a:pt x="72" y="201"/>
                    <a:pt x="72" y="201"/>
                  </a:cubicBezTo>
                  <a:cubicBezTo>
                    <a:pt x="72" y="201"/>
                    <a:pt x="72" y="201"/>
                    <a:pt x="71" y="201"/>
                  </a:cubicBezTo>
                  <a:cubicBezTo>
                    <a:pt x="71" y="201"/>
                    <a:pt x="71" y="201"/>
                    <a:pt x="71" y="201"/>
                  </a:cubicBezTo>
                  <a:cubicBezTo>
                    <a:pt x="71" y="201"/>
                    <a:pt x="71" y="201"/>
                    <a:pt x="71" y="201"/>
                  </a:cubicBezTo>
                  <a:cubicBezTo>
                    <a:pt x="71" y="201"/>
                    <a:pt x="71" y="201"/>
                    <a:pt x="71" y="200"/>
                  </a:cubicBezTo>
                  <a:cubicBezTo>
                    <a:pt x="70" y="200"/>
                    <a:pt x="70" y="200"/>
                    <a:pt x="69" y="200"/>
                  </a:cubicBezTo>
                  <a:cubicBezTo>
                    <a:pt x="69" y="200"/>
                    <a:pt x="69" y="200"/>
                    <a:pt x="69" y="199"/>
                  </a:cubicBezTo>
                  <a:cubicBezTo>
                    <a:pt x="69" y="199"/>
                    <a:pt x="69" y="199"/>
                    <a:pt x="68" y="199"/>
                  </a:cubicBezTo>
                  <a:cubicBezTo>
                    <a:pt x="68" y="199"/>
                    <a:pt x="68" y="199"/>
                    <a:pt x="68" y="199"/>
                  </a:cubicBezTo>
                  <a:cubicBezTo>
                    <a:pt x="68" y="199"/>
                    <a:pt x="68" y="199"/>
                    <a:pt x="68" y="199"/>
                  </a:cubicBezTo>
                  <a:cubicBezTo>
                    <a:pt x="68" y="199"/>
                    <a:pt x="68" y="199"/>
                    <a:pt x="68" y="199"/>
                  </a:cubicBezTo>
                  <a:cubicBezTo>
                    <a:pt x="67" y="199"/>
                    <a:pt x="67" y="199"/>
                    <a:pt x="67" y="199"/>
                  </a:cubicBezTo>
                  <a:cubicBezTo>
                    <a:pt x="67" y="199"/>
                    <a:pt x="67" y="198"/>
                    <a:pt x="67" y="198"/>
                  </a:cubicBezTo>
                  <a:cubicBezTo>
                    <a:pt x="67" y="198"/>
                    <a:pt x="66" y="198"/>
                    <a:pt x="66" y="198"/>
                  </a:cubicBezTo>
                  <a:cubicBezTo>
                    <a:pt x="66" y="198"/>
                    <a:pt x="66" y="198"/>
                    <a:pt x="66" y="198"/>
                  </a:cubicBezTo>
                  <a:cubicBezTo>
                    <a:pt x="66" y="198"/>
                    <a:pt x="66" y="198"/>
                    <a:pt x="66" y="198"/>
                  </a:cubicBezTo>
                  <a:cubicBezTo>
                    <a:pt x="66" y="198"/>
                    <a:pt x="66" y="198"/>
                    <a:pt x="66" y="198"/>
                  </a:cubicBezTo>
                  <a:cubicBezTo>
                    <a:pt x="65" y="198"/>
                    <a:pt x="65" y="198"/>
                    <a:pt x="65" y="198"/>
                  </a:cubicBezTo>
                  <a:cubicBezTo>
                    <a:pt x="65" y="198"/>
                    <a:pt x="65" y="197"/>
                    <a:pt x="65" y="197"/>
                  </a:cubicBezTo>
                  <a:cubicBezTo>
                    <a:pt x="64" y="197"/>
                    <a:pt x="63" y="197"/>
                    <a:pt x="63" y="197"/>
                  </a:cubicBezTo>
                  <a:cubicBezTo>
                    <a:pt x="63" y="197"/>
                    <a:pt x="63" y="196"/>
                    <a:pt x="63" y="196"/>
                  </a:cubicBezTo>
                  <a:cubicBezTo>
                    <a:pt x="60" y="197"/>
                    <a:pt x="57" y="197"/>
                    <a:pt x="54" y="197"/>
                  </a:cubicBezTo>
                  <a:cubicBezTo>
                    <a:pt x="54" y="197"/>
                    <a:pt x="54" y="197"/>
                    <a:pt x="54" y="197"/>
                  </a:cubicBezTo>
                  <a:cubicBezTo>
                    <a:pt x="46" y="198"/>
                    <a:pt x="39" y="199"/>
                    <a:pt x="32" y="199"/>
                  </a:cubicBezTo>
                  <a:cubicBezTo>
                    <a:pt x="30" y="200"/>
                    <a:pt x="27" y="200"/>
                    <a:pt x="25" y="200"/>
                  </a:cubicBezTo>
                  <a:cubicBezTo>
                    <a:pt x="24" y="201"/>
                    <a:pt x="23" y="200"/>
                    <a:pt x="22" y="201"/>
                  </a:cubicBezTo>
                  <a:cubicBezTo>
                    <a:pt x="22" y="201"/>
                    <a:pt x="22" y="201"/>
                    <a:pt x="22" y="200"/>
                  </a:cubicBezTo>
                  <a:cubicBezTo>
                    <a:pt x="21" y="199"/>
                    <a:pt x="22" y="194"/>
                    <a:pt x="22" y="192"/>
                  </a:cubicBezTo>
                  <a:cubicBezTo>
                    <a:pt x="22" y="184"/>
                    <a:pt x="22" y="176"/>
                    <a:pt x="22" y="169"/>
                  </a:cubicBezTo>
                  <a:cubicBezTo>
                    <a:pt x="23" y="162"/>
                    <a:pt x="23" y="155"/>
                    <a:pt x="23" y="148"/>
                  </a:cubicBezTo>
                  <a:cubicBezTo>
                    <a:pt x="23" y="148"/>
                    <a:pt x="23" y="148"/>
                    <a:pt x="22" y="148"/>
                  </a:cubicBezTo>
                  <a:cubicBezTo>
                    <a:pt x="22" y="148"/>
                    <a:pt x="22" y="147"/>
                    <a:pt x="22" y="147"/>
                  </a:cubicBezTo>
                  <a:cubicBezTo>
                    <a:pt x="22" y="147"/>
                    <a:pt x="22" y="147"/>
                    <a:pt x="22" y="147"/>
                  </a:cubicBezTo>
                  <a:cubicBezTo>
                    <a:pt x="22" y="147"/>
                    <a:pt x="22" y="146"/>
                    <a:pt x="22" y="146"/>
                  </a:cubicBezTo>
                  <a:cubicBezTo>
                    <a:pt x="22" y="146"/>
                    <a:pt x="22" y="146"/>
                    <a:pt x="22" y="146"/>
                  </a:cubicBezTo>
                  <a:cubicBezTo>
                    <a:pt x="22" y="146"/>
                    <a:pt x="22" y="145"/>
                    <a:pt x="21" y="144"/>
                  </a:cubicBezTo>
                  <a:cubicBezTo>
                    <a:pt x="21" y="144"/>
                    <a:pt x="21" y="144"/>
                    <a:pt x="21" y="144"/>
                  </a:cubicBezTo>
                  <a:cubicBezTo>
                    <a:pt x="21" y="144"/>
                    <a:pt x="21" y="144"/>
                    <a:pt x="21" y="143"/>
                  </a:cubicBezTo>
                  <a:cubicBezTo>
                    <a:pt x="21" y="143"/>
                    <a:pt x="21" y="143"/>
                    <a:pt x="21" y="143"/>
                  </a:cubicBezTo>
                  <a:cubicBezTo>
                    <a:pt x="21" y="143"/>
                    <a:pt x="21" y="142"/>
                    <a:pt x="20" y="141"/>
                  </a:cubicBezTo>
                  <a:cubicBezTo>
                    <a:pt x="20" y="141"/>
                    <a:pt x="20" y="141"/>
                    <a:pt x="20" y="141"/>
                  </a:cubicBezTo>
                  <a:cubicBezTo>
                    <a:pt x="20" y="141"/>
                    <a:pt x="20" y="141"/>
                    <a:pt x="20" y="141"/>
                  </a:cubicBezTo>
                  <a:cubicBezTo>
                    <a:pt x="20" y="141"/>
                    <a:pt x="20" y="141"/>
                    <a:pt x="20" y="141"/>
                  </a:cubicBezTo>
                  <a:cubicBezTo>
                    <a:pt x="20" y="140"/>
                    <a:pt x="19" y="139"/>
                    <a:pt x="19" y="139"/>
                  </a:cubicBezTo>
                  <a:cubicBezTo>
                    <a:pt x="19" y="139"/>
                    <a:pt x="19" y="139"/>
                    <a:pt x="19" y="139"/>
                  </a:cubicBezTo>
                  <a:cubicBezTo>
                    <a:pt x="19" y="138"/>
                    <a:pt x="19" y="138"/>
                    <a:pt x="19" y="138"/>
                  </a:cubicBezTo>
                  <a:cubicBezTo>
                    <a:pt x="19" y="138"/>
                    <a:pt x="19" y="138"/>
                    <a:pt x="19" y="138"/>
                  </a:cubicBezTo>
                  <a:cubicBezTo>
                    <a:pt x="19" y="137"/>
                    <a:pt x="18" y="136"/>
                    <a:pt x="18" y="136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18" y="136"/>
                    <a:pt x="18" y="135"/>
                    <a:pt x="18" y="135"/>
                  </a:cubicBezTo>
                  <a:cubicBezTo>
                    <a:pt x="18" y="135"/>
                    <a:pt x="18" y="135"/>
                    <a:pt x="18" y="135"/>
                  </a:cubicBezTo>
                  <a:cubicBezTo>
                    <a:pt x="17" y="134"/>
                    <a:pt x="17" y="134"/>
                    <a:pt x="17" y="133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17" y="133"/>
                    <a:pt x="17" y="133"/>
                    <a:pt x="17" y="132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6" y="132"/>
                    <a:pt x="16" y="131"/>
                    <a:pt x="16" y="130"/>
                  </a:cubicBezTo>
                  <a:cubicBezTo>
                    <a:pt x="16" y="130"/>
                    <a:pt x="16" y="130"/>
                    <a:pt x="16" y="130"/>
                  </a:cubicBezTo>
                  <a:cubicBezTo>
                    <a:pt x="16" y="130"/>
                    <a:pt x="16" y="130"/>
                    <a:pt x="16" y="129"/>
                  </a:cubicBezTo>
                  <a:cubicBezTo>
                    <a:pt x="16" y="129"/>
                    <a:pt x="16" y="129"/>
                    <a:pt x="15" y="129"/>
                  </a:cubicBezTo>
                  <a:cubicBezTo>
                    <a:pt x="15" y="129"/>
                    <a:pt x="15" y="128"/>
                    <a:pt x="15" y="127"/>
                  </a:cubicBezTo>
                  <a:cubicBezTo>
                    <a:pt x="15" y="127"/>
                    <a:pt x="15" y="127"/>
                    <a:pt x="15" y="127"/>
                  </a:cubicBezTo>
                  <a:cubicBezTo>
                    <a:pt x="15" y="127"/>
                    <a:pt x="15" y="127"/>
                    <a:pt x="15" y="127"/>
                  </a:cubicBezTo>
                  <a:cubicBezTo>
                    <a:pt x="15" y="127"/>
                    <a:pt x="15" y="127"/>
                    <a:pt x="14" y="127"/>
                  </a:cubicBezTo>
                  <a:cubicBezTo>
                    <a:pt x="14" y="126"/>
                    <a:pt x="14" y="125"/>
                    <a:pt x="14" y="125"/>
                  </a:cubicBezTo>
                  <a:cubicBezTo>
                    <a:pt x="14" y="125"/>
                    <a:pt x="14" y="125"/>
                    <a:pt x="14" y="125"/>
                  </a:cubicBezTo>
                  <a:cubicBezTo>
                    <a:pt x="14" y="124"/>
                    <a:pt x="14" y="124"/>
                    <a:pt x="14" y="124"/>
                  </a:cubicBezTo>
                  <a:cubicBezTo>
                    <a:pt x="14" y="124"/>
                    <a:pt x="14" y="124"/>
                    <a:pt x="13" y="124"/>
                  </a:cubicBezTo>
                  <a:cubicBezTo>
                    <a:pt x="13" y="123"/>
                    <a:pt x="13" y="122"/>
                    <a:pt x="13" y="122"/>
                  </a:cubicBezTo>
                  <a:cubicBezTo>
                    <a:pt x="13" y="122"/>
                    <a:pt x="13" y="122"/>
                    <a:pt x="13" y="122"/>
                  </a:cubicBezTo>
                  <a:cubicBezTo>
                    <a:pt x="13" y="122"/>
                    <a:pt x="13" y="121"/>
                    <a:pt x="13" y="121"/>
                  </a:cubicBezTo>
                  <a:cubicBezTo>
                    <a:pt x="13" y="121"/>
                    <a:pt x="12" y="121"/>
                    <a:pt x="12" y="121"/>
                  </a:cubicBezTo>
                  <a:cubicBezTo>
                    <a:pt x="12" y="120"/>
                    <a:pt x="12" y="120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18"/>
                  </a:cubicBezTo>
                  <a:cubicBezTo>
                    <a:pt x="12" y="118"/>
                    <a:pt x="11" y="118"/>
                    <a:pt x="11" y="118"/>
                  </a:cubicBezTo>
                  <a:cubicBezTo>
                    <a:pt x="11" y="118"/>
                    <a:pt x="11" y="117"/>
                    <a:pt x="11" y="116"/>
                  </a:cubicBezTo>
                  <a:cubicBezTo>
                    <a:pt x="10" y="115"/>
                    <a:pt x="9" y="113"/>
                    <a:pt x="9" y="111"/>
                  </a:cubicBezTo>
                  <a:cubicBezTo>
                    <a:pt x="10" y="110"/>
                    <a:pt x="9" y="111"/>
                    <a:pt x="10" y="110"/>
                  </a:cubicBezTo>
                  <a:cubicBezTo>
                    <a:pt x="10" y="110"/>
                    <a:pt x="10" y="110"/>
                    <a:pt x="10" y="110"/>
                  </a:cubicBezTo>
                  <a:cubicBezTo>
                    <a:pt x="10" y="110"/>
                    <a:pt x="10" y="109"/>
                    <a:pt x="10" y="109"/>
                  </a:cubicBezTo>
                  <a:cubicBezTo>
                    <a:pt x="10" y="109"/>
                    <a:pt x="11" y="109"/>
                    <a:pt x="11" y="109"/>
                  </a:cubicBezTo>
                  <a:cubicBezTo>
                    <a:pt x="11" y="109"/>
                    <a:pt x="11" y="108"/>
                    <a:pt x="11" y="108"/>
                  </a:cubicBezTo>
                  <a:cubicBezTo>
                    <a:pt x="11" y="108"/>
                    <a:pt x="11" y="108"/>
                    <a:pt x="11" y="108"/>
                  </a:cubicBezTo>
                  <a:cubicBezTo>
                    <a:pt x="11" y="108"/>
                    <a:pt x="11" y="108"/>
                    <a:pt x="11" y="107"/>
                  </a:cubicBezTo>
                  <a:cubicBezTo>
                    <a:pt x="11" y="107"/>
                    <a:pt x="12" y="107"/>
                    <a:pt x="12" y="107"/>
                  </a:cubicBezTo>
                  <a:cubicBezTo>
                    <a:pt x="12" y="107"/>
                    <a:pt x="12" y="107"/>
                    <a:pt x="12" y="106"/>
                  </a:cubicBezTo>
                  <a:cubicBezTo>
                    <a:pt x="12" y="106"/>
                    <a:pt x="12" y="106"/>
                    <a:pt x="13" y="106"/>
                  </a:cubicBezTo>
                  <a:cubicBezTo>
                    <a:pt x="13" y="106"/>
                    <a:pt x="13" y="105"/>
                    <a:pt x="13" y="105"/>
                  </a:cubicBezTo>
                  <a:cubicBezTo>
                    <a:pt x="13" y="105"/>
                    <a:pt x="14" y="104"/>
                    <a:pt x="14" y="104"/>
                  </a:cubicBezTo>
                  <a:cubicBezTo>
                    <a:pt x="14" y="104"/>
                    <a:pt x="14" y="103"/>
                    <a:pt x="14" y="103"/>
                  </a:cubicBezTo>
                  <a:cubicBezTo>
                    <a:pt x="14" y="103"/>
                    <a:pt x="14" y="103"/>
                    <a:pt x="14" y="103"/>
                  </a:cubicBezTo>
                  <a:cubicBezTo>
                    <a:pt x="15" y="103"/>
                    <a:pt x="15" y="102"/>
                    <a:pt x="15" y="102"/>
                  </a:cubicBezTo>
                  <a:cubicBezTo>
                    <a:pt x="15" y="102"/>
                    <a:pt x="15" y="102"/>
                    <a:pt x="15" y="101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6" y="101"/>
                    <a:pt x="16" y="101"/>
                    <a:pt x="16" y="101"/>
                  </a:cubicBezTo>
                  <a:cubicBezTo>
                    <a:pt x="16" y="101"/>
                    <a:pt x="16" y="100"/>
                    <a:pt x="16" y="100"/>
                  </a:cubicBezTo>
                  <a:cubicBezTo>
                    <a:pt x="16" y="100"/>
                    <a:pt x="16" y="100"/>
                    <a:pt x="17" y="100"/>
                  </a:cubicBezTo>
                  <a:cubicBezTo>
                    <a:pt x="17" y="99"/>
                    <a:pt x="17" y="99"/>
                    <a:pt x="17" y="98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98"/>
                    <a:pt x="17" y="98"/>
                    <a:pt x="18" y="97"/>
                  </a:cubicBezTo>
                  <a:cubicBezTo>
                    <a:pt x="18" y="97"/>
                    <a:pt x="18" y="97"/>
                    <a:pt x="18" y="97"/>
                  </a:cubicBezTo>
                  <a:cubicBezTo>
                    <a:pt x="18" y="97"/>
                    <a:pt x="18" y="96"/>
                    <a:pt x="18" y="96"/>
                  </a:cubicBezTo>
                  <a:cubicBezTo>
                    <a:pt x="18" y="96"/>
                    <a:pt x="19" y="96"/>
                    <a:pt x="19" y="96"/>
                  </a:cubicBezTo>
                  <a:cubicBezTo>
                    <a:pt x="19" y="96"/>
                    <a:pt x="19" y="96"/>
                    <a:pt x="19" y="96"/>
                  </a:cubicBezTo>
                  <a:cubicBezTo>
                    <a:pt x="19" y="95"/>
                    <a:pt x="19" y="95"/>
                    <a:pt x="19" y="95"/>
                  </a:cubicBezTo>
                  <a:cubicBezTo>
                    <a:pt x="19" y="95"/>
                    <a:pt x="20" y="94"/>
                    <a:pt x="20" y="94"/>
                  </a:cubicBezTo>
                  <a:cubicBezTo>
                    <a:pt x="20" y="94"/>
                    <a:pt x="20" y="94"/>
                    <a:pt x="20" y="93"/>
                  </a:cubicBezTo>
                  <a:cubicBezTo>
                    <a:pt x="20" y="93"/>
                    <a:pt x="20" y="93"/>
                    <a:pt x="20" y="93"/>
                  </a:cubicBezTo>
                  <a:cubicBezTo>
                    <a:pt x="21" y="93"/>
                    <a:pt x="21" y="93"/>
                    <a:pt x="21" y="92"/>
                  </a:cubicBezTo>
                  <a:cubicBezTo>
                    <a:pt x="21" y="92"/>
                    <a:pt x="21" y="91"/>
                    <a:pt x="21" y="91"/>
                  </a:cubicBezTo>
                  <a:cubicBezTo>
                    <a:pt x="22" y="91"/>
                    <a:pt x="22" y="91"/>
                    <a:pt x="22" y="91"/>
                  </a:cubicBezTo>
                  <a:cubicBezTo>
                    <a:pt x="22" y="90"/>
                    <a:pt x="22" y="90"/>
                    <a:pt x="22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23" y="89"/>
                    <a:pt x="23" y="88"/>
                    <a:pt x="23" y="88"/>
                  </a:cubicBezTo>
                  <a:cubicBezTo>
                    <a:pt x="23" y="88"/>
                    <a:pt x="24" y="88"/>
                    <a:pt x="24" y="88"/>
                  </a:cubicBezTo>
                  <a:cubicBezTo>
                    <a:pt x="23" y="87"/>
                    <a:pt x="23" y="86"/>
                    <a:pt x="22" y="85"/>
                  </a:cubicBezTo>
                  <a:cubicBezTo>
                    <a:pt x="22" y="85"/>
                    <a:pt x="22" y="85"/>
                    <a:pt x="21" y="85"/>
                  </a:cubicBezTo>
                  <a:cubicBezTo>
                    <a:pt x="21" y="84"/>
                    <a:pt x="21" y="84"/>
                    <a:pt x="21" y="84"/>
                  </a:cubicBezTo>
                  <a:cubicBezTo>
                    <a:pt x="21" y="84"/>
                    <a:pt x="21" y="84"/>
                    <a:pt x="21" y="84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0" y="83"/>
                    <a:pt x="20" y="82"/>
                    <a:pt x="20" y="82"/>
                  </a:cubicBezTo>
                  <a:cubicBezTo>
                    <a:pt x="20" y="82"/>
                    <a:pt x="20" y="82"/>
                    <a:pt x="20" y="82"/>
                  </a:cubicBezTo>
                  <a:cubicBezTo>
                    <a:pt x="19" y="81"/>
                    <a:pt x="19" y="81"/>
                    <a:pt x="19" y="81"/>
                  </a:cubicBezTo>
                  <a:cubicBezTo>
                    <a:pt x="19" y="81"/>
                    <a:pt x="19" y="80"/>
                    <a:pt x="19" y="80"/>
                  </a:cubicBezTo>
                  <a:cubicBezTo>
                    <a:pt x="18" y="80"/>
                    <a:pt x="18" y="80"/>
                    <a:pt x="18" y="80"/>
                  </a:cubicBezTo>
                  <a:cubicBezTo>
                    <a:pt x="18" y="80"/>
                    <a:pt x="18" y="79"/>
                    <a:pt x="18" y="79"/>
                  </a:cubicBezTo>
                  <a:cubicBezTo>
                    <a:pt x="18" y="79"/>
                    <a:pt x="17" y="79"/>
                    <a:pt x="17" y="78"/>
                  </a:cubicBezTo>
                  <a:cubicBezTo>
                    <a:pt x="17" y="78"/>
                    <a:pt x="17" y="78"/>
                    <a:pt x="17" y="78"/>
                  </a:cubicBezTo>
                  <a:cubicBezTo>
                    <a:pt x="17" y="78"/>
                    <a:pt x="16" y="77"/>
                    <a:pt x="16" y="77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6" y="77"/>
                    <a:pt x="16" y="76"/>
                    <a:pt x="15" y="76"/>
                  </a:cubicBezTo>
                  <a:cubicBezTo>
                    <a:pt x="15" y="76"/>
                    <a:pt x="15" y="76"/>
                    <a:pt x="15" y="75"/>
                  </a:cubicBezTo>
                  <a:cubicBezTo>
                    <a:pt x="15" y="75"/>
                    <a:pt x="14" y="75"/>
                    <a:pt x="14" y="75"/>
                  </a:cubicBezTo>
                  <a:cubicBezTo>
                    <a:pt x="14" y="74"/>
                    <a:pt x="14" y="74"/>
                    <a:pt x="14" y="74"/>
                  </a:cubicBezTo>
                  <a:cubicBezTo>
                    <a:pt x="14" y="74"/>
                    <a:pt x="14" y="74"/>
                    <a:pt x="13" y="74"/>
                  </a:cubicBezTo>
                  <a:cubicBezTo>
                    <a:pt x="13" y="73"/>
                    <a:pt x="13" y="73"/>
                    <a:pt x="13" y="73"/>
                  </a:cubicBezTo>
                  <a:cubicBezTo>
                    <a:pt x="13" y="73"/>
                    <a:pt x="13" y="72"/>
                    <a:pt x="12" y="72"/>
                  </a:cubicBezTo>
                  <a:cubicBezTo>
                    <a:pt x="12" y="72"/>
                    <a:pt x="12" y="72"/>
                    <a:pt x="12" y="71"/>
                  </a:cubicBezTo>
                  <a:cubicBezTo>
                    <a:pt x="12" y="71"/>
                    <a:pt x="12" y="71"/>
                    <a:pt x="12" y="71"/>
                  </a:cubicBezTo>
                  <a:cubicBezTo>
                    <a:pt x="12" y="71"/>
                    <a:pt x="12" y="71"/>
                    <a:pt x="12" y="70"/>
                  </a:cubicBezTo>
                  <a:cubicBezTo>
                    <a:pt x="11" y="70"/>
                    <a:pt x="11" y="70"/>
                    <a:pt x="11" y="70"/>
                  </a:cubicBezTo>
                  <a:cubicBezTo>
                    <a:pt x="11" y="70"/>
                    <a:pt x="11" y="69"/>
                    <a:pt x="11" y="69"/>
                  </a:cubicBezTo>
                  <a:cubicBezTo>
                    <a:pt x="10" y="69"/>
                    <a:pt x="10" y="69"/>
                    <a:pt x="10" y="68"/>
                  </a:cubicBezTo>
                  <a:cubicBezTo>
                    <a:pt x="10" y="68"/>
                    <a:pt x="10" y="68"/>
                    <a:pt x="10" y="68"/>
                  </a:cubicBezTo>
                  <a:cubicBezTo>
                    <a:pt x="9" y="67"/>
                    <a:pt x="9" y="67"/>
                    <a:pt x="9" y="67"/>
                  </a:cubicBezTo>
                  <a:cubicBezTo>
                    <a:pt x="9" y="67"/>
                    <a:pt x="9" y="67"/>
                    <a:pt x="9" y="67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8" y="66"/>
                    <a:pt x="8" y="65"/>
                    <a:pt x="8" y="65"/>
                  </a:cubicBezTo>
                  <a:cubicBezTo>
                    <a:pt x="8" y="65"/>
                    <a:pt x="7" y="65"/>
                    <a:pt x="7" y="65"/>
                  </a:cubicBezTo>
                  <a:cubicBezTo>
                    <a:pt x="7" y="65"/>
                    <a:pt x="7" y="64"/>
                    <a:pt x="7" y="64"/>
                  </a:cubicBezTo>
                  <a:cubicBezTo>
                    <a:pt x="7" y="64"/>
                    <a:pt x="6" y="64"/>
                    <a:pt x="6" y="63"/>
                  </a:cubicBezTo>
                  <a:cubicBezTo>
                    <a:pt x="6" y="63"/>
                    <a:pt x="6" y="63"/>
                    <a:pt x="6" y="63"/>
                  </a:cubicBezTo>
                  <a:cubicBezTo>
                    <a:pt x="6" y="62"/>
                    <a:pt x="5" y="62"/>
                    <a:pt x="5" y="62"/>
                  </a:cubicBezTo>
                  <a:cubicBezTo>
                    <a:pt x="5" y="62"/>
                    <a:pt x="5" y="62"/>
                    <a:pt x="5" y="61"/>
                  </a:cubicBezTo>
                  <a:cubicBezTo>
                    <a:pt x="5" y="61"/>
                    <a:pt x="5" y="61"/>
                    <a:pt x="4" y="61"/>
                  </a:cubicBezTo>
                  <a:cubicBezTo>
                    <a:pt x="4" y="61"/>
                    <a:pt x="4" y="60"/>
                    <a:pt x="4" y="60"/>
                  </a:cubicBezTo>
                  <a:cubicBezTo>
                    <a:pt x="4" y="60"/>
                    <a:pt x="4" y="60"/>
                    <a:pt x="3" y="60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3" y="59"/>
                    <a:pt x="3" y="59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2" y="58"/>
                    <a:pt x="2" y="57"/>
                    <a:pt x="2" y="57"/>
                  </a:cubicBezTo>
                  <a:cubicBezTo>
                    <a:pt x="2" y="57"/>
                    <a:pt x="2" y="57"/>
                    <a:pt x="2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0" y="55"/>
                    <a:pt x="0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3"/>
                    <a:pt x="1" y="52"/>
                    <a:pt x="1" y="51"/>
                  </a:cubicBezTo>
                  <a:cubicBezTo>
                    <a:pt x="1" y="51"/>
                    <a:pt x="1" y="51"/>
                    <a:pt x="2" y="51"/>
                  </a:cubicBezTo>
                  <a:cubicBezTo>
                    <a:pt x="2" y="51"/>
                    <a:pt x="2" y="51"/>
                    <a:pt x="2" y="50"/>
                  </a:cubicBezTo>
                  <a:cubicBezTo>
                    <a:pt x="2" y="50"/>
                    <a:pt x="2" y="50"/>
                    <a:pt x="3" y="50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3" y="49"/>
                    <a:pt x="3" y="49"/>
                    <a:pt x="3" y="48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3" y="48"/>
                    <a:pt x="3" y="48"/>
                    <a:pt x="4" y="48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5" y="45"/>
                    <a:pt x="5" y="45"/>
                    <a:pt x="5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4"/>
                    <a:pt x="6" y="44"/>
                    <a:pt x="6" y="44"/>
                  </a:cubicBezTo>
                  <a:cubicBezTo>
                    <a:pt x="6" y="44"/>
                    <a:pt x="6" y="43"/>
                    <a:pt x="6" y="43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6" y="43"/>
                    <a:pt x="6" y="43"/>
                    <a:pt x="6" y="42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7" y="42"/>
                    <a:pt x="7" y="41"/>
                    <a:pt x="7" y="41"/>
                  </a:cubicBezTo>
                  <a:cubicBezTo>
                    <a:pt x="7" y="41"/>
                    <a:pt x="7" y="41"/>
                    <a:pt x="7" y="41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8" y="39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7"/>
                    <a:pt x="9" y="37"/>
                    <a:pt x="9" y="36"/>
                  </a:cubicBezTo>
                  <a:cubicBezTo>
                    <a:pt x="9" y="36"/>
                    <a:pt x="10" y="36"/>
                    <a:pt x="10" y="36"/>
                  </a:cubicBezTo>
                  <a:cubicBezTo>
                    <a:pt x="10" y="35"/>
                    <a:pt x="10" y="35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3"/>
                    <a:pt x="11" y="33"/>
                  </a:cubicBezTo>
                  <a:cubicBezTo>
                    <a:pt x="12" y="31"/>
                    <a:pt x="12" y="32"/>
                    <a:pt x="13" y="30"/>
                  </a:cubicBezTo>
                  <a:cubicBezTo>
                    <a:pt x="13" y="30"/>
                    <a:pt x="12" y="30"/>
                    <a:pt x="12" y="30"/>
                  </a:cubicBezTo>
                  <a:cubicBezTo>
                    <a:pt x="12" y="29"/>
                    <a:pt x="12" y="28"/>
                    <a:pt x="12" y="28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2" y="27"/>
                    <a:pt x="12" y="27"/>
                    <a:pt x="12" y="26"/>
                  </a:cubicBezTo>
                  <a:cubicBezTo>
                    <a:pt x="12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4"/>
                    <a:pt x="11" y="24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1" y="24"/>
                    <a:pt x="11" y="23"/>
                    <a:pt x="11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1"/>
                    <a:pt x="10" y="20"/>
                    <a:pt x="10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19"/>
                    <a:pt x="9" y="18"/>
                    <a:pt x="9" y="18"/>
                  </a:cubicBezTo>
                  <a:cubicBezTo>
                    <a:pt x="9" y="17"/>
                    <a:pt x="8" y="16"/>
                    <a:pt x="8" y="15"/>
                  </a:cubicBezTo>
                  <a:cubicBezTo>
                    <a:pt x="19" y="10"/>
                    <a:pt x="29" y="5"/>
                    <a:pt x="40" y="0"/>
                  </a:cubicBezTo>
                  <a:cubicBezTo>
                    <a:pt x="40" y="1"/>
                    <a:pt x="41" y="1"/>
                    <a:pt x="41" y="1"/>
                  </a:cubicBezTo>
                  <a:cubicBezTo>
                    <a:pt x="41" y="1"/>
                    <a:pt x="41" y="2"/>
                    <a:pt x="41" y="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2"/>
                    <a:pt x="41" y="3"/>
                    <a:pt x="41" y="3"/>
                  </a:cubicBezTo>
                  <a:cubicBezTo>
                    <a:pt x="42" y="3"/>
                    <a:pt x="42" y="3"/>
                    <a:pt x="42" y="4"/>
                  </a:cubicBezTo>
                  <a:cubicBezTo>
                    <a:pt x="42" y="4"/>
                    <a:pt x="42" y="4"/>
                    <a:pt x="42" y="4"/>
                  </a:cubicBezTo>
                  <a:cubicBezTo>
                    <a:pt x="43" y="4"/>
                    <a:pt x="43" y="5"/>
                    <a:pt x="43" y="5"/>
                  </a:cubicBezTo>
                  <a:cubicBezTo>
                    <a:pt x="43" y="5"/>
                    <a:pt x="43" y="5"/>
                    <a:pt x="43" y="6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44" y="6"/>
                    <a:pt x="44" y="7"/>
                    <a:pt x="45" y="7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6" y="9"/>
                    <a:pt x="46" y="9"/>
                    <a:pt x="46" y="9"/>
                  </a:cubicBezTo>
                  <a:cubicBezTo>
                    <a:pt x="46" y="9"/>
                    <a:pt x="46" y="10"/>
                    <a:pt x="46" y="10"/>
                  </a:cubicBezTo>
                  <a:cubicBezTo>
                    <a:pt x="47" y="10"/>
                    <a:pt x="47" y="10"/>
                    <a:pt x="47" y="10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7" y="11"/>
                    <a:pt x="48" y="11"/>
                    <a:pt x="48" y="11"/>
                  </a:cubicBezTo>
                  <a:cubicBezTo>
                    <a:pt x="48" y="11"/>
                    <a:pt x="48" y="12"/>
                    <a:pt x="48" y="12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8" y="12"/>
                    <a:pt x="48" y="13"/>
                    <a:pt x="48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49" y="14"/>
                    <a:pt x="50" y="14"/>
                    <a:pt x="50" y="14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50" y="15"/>
                    <a:pt x="50" y="16"/>
                    <a:pt x="51" y="16"/>
                  </a:cubicBezTo>
                  <a:cubicBezTo>
                    <a:pt x="51" y="16"/>
                    <a:pt x="51" y="16"/>
                    <a:pt x="51" y="17"/>
                  </a:cubicBezTo>
                  <a:cubicBezTo>
                    <a:pt x="51" y="17"/>
                    <a:pt x="51" y="17"/>
                    <a:pt x="52" y="17"/>
                  </a:cubicBezTo>
                  <a:cubicBezTo>
                    <a:pt x="52" y="17"/>
                    <a:pt x="52" y="17"/>
                    <a:pt x="52" y="18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52" y="18"/>
                    <a:pt x="52" y="18"/>
                    <a:pt x="52" y="19"/>
                  </a:cubicBezTo>
                  <a:cubicBezTo>
                    <a:pt x="52" y="19"/>
                    <a:pt x="53" y="19"/>
                    <a:pt x="53" y="19"/>
                  </a:cubicBezTo>
                  <a:cubicBezTo>
                    <a:pt x="53" y="19"/>
                    <a:pt x="53" y="19"/>
                    <a:pt x="53" y="20"/>
                  </a:cubicBezTo>
                  <a:cubicBezTo>
                    <a:pt x="53" y="20"/>
                    <a:pt x="53" y="20"/>
                    <a:pt x="54" y="20"/>
                  </a:cubicBezTo>
                  <a:cubicBezTo>
                    <a:pt x="54" y="20"/>
                    <a:pt x="54" y="20"/>
                    <a:pt x="54" y="21"/>
                  </a:cubicBezTo>
                  <a:cubicBezTo>
                    <a:pt x="54" y="21"/>
                    <a:pt x="54" y="21"/>
                    <a:pt x="55" y="21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55" y="23"/>
                    <a:pt x="56" y="23"/>
                    <a:pt x="56" y="24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56" y="24"/>
                    <a:pt x="57" y="24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6"/>
                  </a:cubicBezTo>
                  <a:cubicBezTo>
                    <a:pt x="57" y="26"/>
                    <a:pt x="57" y="26"/>
                    <a:pt x="57" y="26"/>
                  </a:cubicBezTo>
                  <a:cubicBezTo>
                    <a:pt x="58" y="26"/>
                    <a:pt x="58" y="27"/>
                    <a:pt x="58" y="27"/>
                  </a:cubicBezTo>
                  <a:cubicBezTo>
                    <a:pt x="58" y="27"/>
                    <a:pt x="58" y="27"/>
                    <a:pt x="58" y="27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8"/>
                    <a:pt x="59" y="29"/>
                    <a:pt x="59" y="29"/>
                  </a:cubicBezTo>
                  <a:cubicBezTo>
                    <a:pt x="59" y="29"/>
                    <a:pt x="60" y="29"/>
                    <a:pt x="60" y="29"/>
                  </a:cubicBezTo>
                  <a:cubicBezTo>
                    <a:pt x="60" y="29"/>
                    <a:pt x="60" y="30"/>
                    <a:pt x="60" y="30"/>
                  </a:cubicBezTo>
                  <a:cubicBezTo>
                    <a:pt x="60" y="30"/>
                    <a:pt x="60" y="30"/>
                    <a:pt x="61" y="30"/>
                  </a:cubicBezTo>
                  <a:cubicBezTo>
                    <a:pt x="61" y="30"/>
                    <a:pt x="61" y="31"/>
                    <a:pt x="61" y="31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61" y="31"/>
                    <a:pt x="61" y="32"/>
                    <a:pt x="61" y="32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3" y="36"/>
                    <a:pt x="64" y="41"/>
                    <a:pt x="65" y="45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6" y="48"/>
                    <a:pt x="67" y="51"/>
                    <a:pt x="67" y="55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</a:ln>
            <a:effectLst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64800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4000" b="1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0000"/>
                </a:solidFill>
                <a:latin typeface="UKIJ Qolyazma" pitchFamily="18" charset="0"/>
                <a:cs typeface="UKIJ Qolyazma" pitchFamily="18" charset="0"/>
              </a:endParaRPr>
            </a:p>
          </p:txBody>
        </p:sp>
        <p:sp>
          <p:nvSpPr>
            <p:cNvPr id="88" name="Freeform 6">
              <a:extLst>
                <a:ext uri="{FF2B5EF4-FFF2-40B4-BE49-F238E27FC236}">
                  <a16:creationId xmlns:a16="http://schemas.microsoft.com/office/drawing/2014/main" id="{AED24756-BD9F-E3D7-0802-1D596A89363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6304" y="1525186"/>
              <a:ext cx="907875" cy="650541"/>
            </a:xfrm>
            <a:custGeom>
              <a:avLst/>
              <a:gdLst>
                <a:gd name="T0" fmla="*/ 411 w 417"/>
                <a:gd name="T1" fmla="*/ 40 h 299"/>
                <a:gd name="T2" fmla="*/ 403 w 417"/>
                <a:gd name="T3" fmla="*/ 51 h 299"/>
                <a:gd name="T4" fmla="*/ 395 w 417"/>
                <a:gd name="T5" fmla="*/ 61 h 299"/>
                <a:gd name="T6" fmla="*/ 367 w 417"/>
                <a:gd name="T7" fmla="*/ 72 h 299"/>
                <a:gd name="T8" fmla="*/ 355 w 417"/>
                <a:gd name="T9" fmla="*/ 65 h 299"/>
                <a:gd name="T10" fmla="*/ 323 w 417"/>
                <a:gd name="T11" fmla="*/ 68 h 299"/>
                <a:gd name="T12" fmla="*/ 313 w 417"/>
                <a:gd name="T13" fmla="*/ 74 h 299"/>
                <a:gd name="T14" fmla="*/ 308 w 417"/>
                <a:gd name="T15" fmla="*/ 82 h 299"/>
                <a:gd name="T16" fmla="*/ 305 w 417"/>
                <a:gd name="T17" fmla="*/ 90 h 299"/>
                <a:gd name="T18" fmla="*/ 301 w 417"/>
                <a:gd name="T19" fmla="*/ 99 h 299"/>
                <a:gd name="T20" fmla="*/ 297 w 417"/>
                <a:gd name="T21" fmla="*/ 109 h 299"/>
                <a:gd name="T22" fmla="*/ 272 w 417"/>
                <a:gd name="T23" fmla="*/ 134 h 299"/>
                <a:gd name="T24" fmla="*/ 248 w 417"/>
                <a:gd name="T25" fmla="*/ 149 h 299"/>
                <a:gd name="T26" fmla="*/ 227 w 417"/>
                <a:gd name="T27" fmla="*/ 163 h 299"/>
                <a:gd name="T28" fmla="*/ 236 w 417"/>
                <a:gd name="T29" fmla="*/ 172 h 299"/>
                <a:gd name="T30" fmla="*/ 217 w 417"/>
                <a:gd name="T31" fmla="*/ 203 h 299"/>
                <a:gd name="T32" fmla="*/ 191 w 417"/>
                <a:gd name="T33" fmla="*/ 201 h 299"/>
                <a:gd name="T34" fmla="*/ 136 w 417"/>
                <a:gd name="T35" fmla="*/ 195 h 299"/>
                <a:gd name="T36" fmla="*/ 122 w 417"/>
                <a:gd name="T37" fmla="*/ 200 h 299"/>
                <a:gd name="T38" fmla="*/ 112 w 417"/>
                <a:gd name="T39" fmla="*/ 207 h 299"/>
                <a:gd name="T40" fmla="*/ 91 w 417"/>
                <a:gd name="T41" fmla="*/ 226 h 299"/>
                <a:gd name="T42" fmla="*/ 67 w 417"/>
                <a:gd name="T43" fmla="*/ 253 h 299"/>
                <a:gd name="T44" fmla="*/ 59 w 417"/>
                <a:gd name="T45" fmla="*/ 264 h 299"/>
                <a:gd name="T46" fmla="*/ 46 w 417"/>
                <a:gd name="T47" fmla="*/ 277 h 299"/>
                <a:gd name="T48" fmla="*/ 37 w 417"/>
                <a:gd name="T49" fmla="*/ 283 h 299"/>
                <a:gd name="T50" fmla="*/ 29 w 417"/>
                <a:gd name="T51" fmla="*/ 288 h 299"/>
                <a:gd name="T52" fmla="*/ 20 w 417"/>
                <a:gd name="T53" fmla="*/ 293 h 299"/>
                <a:gd name="T54" fmla="*/ 14 w 417"/>
                <a:gd name="T55" fmla="*/ 296 h 299"/>
                <a:gd name="T56" fmla="*/ 4 w 417"/>
                <a:gd name="T57" fmla="*/ 283 h 299"/>
                <a:gd name="T58" fmla="*/ 4 w 417"/>
                <a:gd name="T59" fmla="*/ 248 h 299"/>
                <a:gd name="T60" fmla="*/ 14 w 417"/>
                <a:gd name="T61" fmla="*/ 235 h 299"/>
                <a:gd name="T62" fmla="*/ 27 w 417"/>
                <a:gd name="T63" fmla="*/ 219 h 299"/>
                <a:gd name="T64" fmla="*/ 30 w 417"/>
                <a:gd name="T65" fmla="*/ 212 h 299"/>
                <a:gd name="T66" fmla="*/ 30 w 417"/>
                <a:gd name="T67" fmla="*/ 188 h 299"/>
                <a:gd name="T68" fmla="*/ 27 w 417"/>
                <a:gd name="T69" fmla="*/ 164 h 299"/>
                <a:gd name="T70" fmla="*/ 42 w 417"/>
                <a:gd name="T71" fmla="*/ 117 h 299"/>
                <a:gd name="T72" fmla="*/ 52 w 417"/>
                <a:gd name="T73" fmla="*/ 121 h 299"/>
                <a:gd name="T74" fmla="*/ 97 w 417"/>
                <a:gd name="T75" fmla="*/ 121 h 299"/>
                <a:gd name="T76" fmla="*/ 110 w 417"/>
                <a:gd name="T77" fmla="*/ 122 h 299"/>
                <a:gd name="T78" fmla="*/ 126 w 417"/>
                <a:gd name="T79" fmla="*/ 118 h 299"/>
                <a:gd name="T80" fmla="*/ 135 w 417"/>
                <a:gd name="T81" fmla="*/ 112 h 299"/>
                <a:gd name="T82" fmla="*/ 145 w 417"/>
                <a:gd name="T83" fmla="*/ 104 h 299"/>
                <a:gd name="T84" fmla="*/ 158 w 417"/>
                <a:gd name="T85" fmla="*/ 94 h 299"/>
                <a:gd name="T86" fmla="*/ 171 w 417"/>
                <a:gd name="T87" fmla="*/ 85 h 299"/>
                <a:gd name="T88" fmla="*/ 180 w 417"/>
                <a:gd name="T89" fmla="*/ 78 h 299"/>
                <a:gd name="T90" fmla="*/ 192 w 417"/>
                <a:gd name="T91" fmla="*/ 73 h 299"/>
                <a:gd name="T92" fmla="*/ 226 w 417"/>
                <a:gd name="T93" fmla="*/ 67 h 299"/>
                <a:gd name="T94" fmla="*/ 238 w 417"/>
                <a:gd name="T95" fmla="*/ 63 h 299"/>
                <a:gd name="T96" fmla="*/ 250 w 417"/>
                <a:gd name="T97" fmla="*/ 56 h 299"/>
                <a:gd name="T98" fmla="*/ 260 w 417"/>
                <a:gd name="T99" fmla="*/ 50 h 299"/>
                <a:gd name="T100" fmla="*/ 272 w 417"/>
                <a:gd name="T101" fmla="*/ 37 h 299"/>
                <a:gd name="T102" fmla="*/ 281 w 417"/>
                <a:gd name="T103" fmla="*/ 32 h 299"/>
                <a:gd name="T104" fmla="*/ 302 w 417"/>
                <a:gd name="T105" fmla="*/ 14 h 299"/>
                <a:gd name="T106" fmla="*/ 312 w 417"/>
                <a:gd name="T107" fmla="*/ 7 h 299"/>
                <a:gd name="T108" fmla="*/ 335 w 417"/>
                <a:gd name="T109" fmla="*/ 6 h 299"/>
                <a:gd name="T110" fmla="*/ 356 w 417"/>
                <a:gd name="T111" fmla="*/ 2 h 299"/>
                <a:gd name="T112" fmla="*/ 370 w 417"/>
                <a:gd name="T113" fmla="*/ 2 h 299"/>
                <a:gd name="T114" fmla="*/ 377 w 417"/>
                <a:gd name="T115" fmla="*/ 5 h 299"/>
                <a:gd name="T116" fmla="*/ 391 w 417"/>
                <a:gd name="T117" fmla="*/ 14 h 299"/>
                <a:gd name="T118" fmla="*/ 406 w 417"/>
                <a:gd name="T119" fmla="*/ 27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17" h="299">
                  <a:moveTo>
                    <a:pt x="417" y="31"/>
                  </a:moveTo>
                  <a:cubicBezTo>
                    <a:pt x="417" y="31"/>
                    <a:pt x="417" y="32"/>
                    <a:pt x="417" y="32"/>
                  </a:cubicBezTo>
                  <a:cubicBezTo>
                    <a:pt x="416" y="32"/>
                    <a:pt x="416" y="32"/>
                    <a:pt x="416" y="32"/>
                  </a:cubicBezTo>
                  <a:cubicBezTo>
                    <a:pt x="416" y="32"/>
                    <a:pt x="416" y="33"/>
                    <a:pt x="416" y="33"/>
                  </a:cubicBezTo>
                  <a:cubicBezTo>
                    <a:pt x="416" y="33"/>
                    <a:pt x="415" y="33"/>
                    <a:pt x="415" y="33"/>
                  </a:cubicBezTo>
                  <a:cubicBezTo>
                    <a:pt x="415" y="34"/>
                    <a:pt x="415" y="34"/>
                    <a:pt x="415" y="34"/>
                  </a:cubicBezTo>
                  <a:cubicBezTo>
                    <a:pt x="415" y="34"/>
                    <a:pt x="415" y="34"/>
                    <a:pt x="414" y="35"/>
                  </a:cubicBezTo>
                  <a:cubicBezTo>
                    <a:pt x="414" y="35"/>
                    <a:pt x="414" y="35"/>
                    <a:pt x="414" y="35"/>
                  </a:cubicBezTo>
                  <a:cubicBezTo>
                    <a:pt x="414" y="35"/>
                    <a:pt x="414" y="36"/>
                    <a:pt x="413" y="36"/>
                  </a:cubicBezTo>
                  <a:cubicBezTo>
                    <a:pt x="413" y="36"/>
                    <a:pt x="413" y="36"/>
                    <a:pt x="413" y="37"/>
                  </a:cubicBezTo>
                  <a:cubicBezTo>
                    <a:pt x="413" y="37"/>
                    <a:pt x="413" y="37"/>
                    <a:pt x="413" y="37"/>
                  </a:cubicBezTo>
                  <a:cubicBezTo>
                    <a:pt x="413" y="37"/>
                    <a:pt x="413" y="37"/>
                    <a:pt x="413" y="38"/>
                  </a:cubicBezTo>
                  <a:cubicBezTo>
                    <a:pt x="412" y="38"/>
                    <a:pt x="412" y="38"/>
                    <a:pt x="412" y="38"/>
                  </a:cubicBezTo>
                  <a:cubicBezTo>
                    <a:pt x="412" y="39"/>
                    <a:pt x="412" y="39"/>
                    <a:pt x="412" y="39"/>
                  </a:cubicBezTo>
                  <a:cubicBezTo>
                    <a:pt x="411" y="39"/>
                    <a:pt x="411" y="39"/>
                    <a:pt x="411" y="39"/>
                  </a:cubicBezTo>
                  <a:cubicBezTo>
                    <a:pt x="411" y="40"/>
                    <a:pt x="411" y="40"/>
                    <a:pt x="411" y="40"/>
                  </a:cubicBezTo>
                  <a:cubicBezTo>
                    <a:pt x="411" y="40"/>
                    <a:pt x="410" y="41"/>
                    <a:pt x="410" y="41"/>
                  </a:cubicBezTo>
                  <a:cubicBezTo>
                    <a:pt x="410" y="41"/>
                    <a:pt x="410" y="41"/>
                    <a:pt x="410" y="42"/>
                  </a:cubicBezTo>
                  <a:cubicBezTo>
                    <a:pt x="410" y="42"/>
                    <a:pt x="409" y="42"/>
                    <a:pt x="409" y="42"/>
                  </a:cubicBezTo>
                  <a:cubicBezTo>
                    <a:pt x="409" y="42"/>
                    <a:pt x="409" y="43"/>
                    <a:pt x="409" y="43"/>
                  </a:cubicBezTo>
                  <a:cubicBezTo>
                    <a:pt x="408" y="43"/>
                    <a:pt x="408" y="43"/>
                    <a:pt x="408" y="44"/>
                  </a:cubicBezTo>
                  <a:cubicBezTo>
                    <a:pt x="408" y="44"/>
                    <a:pt x="408" y="44"/>
                    <a:pt x="408" y="44"/>
                  </a:cubicBezTo>
                  <a:cubicBezTo>
                    <a:pt x="407" y="45"/>
                    <a:pt x="407" y="45"/>
                    <a:pt x="407" y="45"/>
                  </a:cubicBezTo>
                  <a:cubicBezTo>
                    <a:pt x="407" y="45"/>
                    <a:pt x="407" y="45"/>
                    <a:pt x="407" y="46"/>
                  </a:cubicBezTo>
                  <a:cubicBezTo>
                    <a:pt x="407" y="46"/>
                    <a:pt x="406" y="46"/>
                    <a:pt x="406" y="46"/>
                  </a:cubicBezTo>
                  <a:cubicBezTo>
                    <a:pt x="406" y="46"/>
                    <a:pt x="406" y="47"/>
                    <a:pt x="406" y="47"/>
                  </a:cubicBezTo>
                  <a:cubicBezTo>
                    <a:pt x="406" y="47"/>
                    <a:pt x="405" y="47"/>
                    <a:pt x="405" y="47"/>
                  </a:cubicBezTo>
                  <a:cubicBezTo>
                    <a:pt x="405" y="48"/>
                    <a:pt x="405" y="48"/>
                    <a:pt x="405" y="48"/>
                  </a:cubicBezTo>
                  <a:cubicBezTo>
                    <a:pt x="405" y="48"/>
                    <a:pt x="404" y="49"/>
                    <a:pt x="404" y="49"/>
                  </a:cubicBezTo>
                  <a:cubicBezTo>
                    <a:pt x="404" y="49"/>
                    <a:pt x="404" y="49"/>
                    <a:pt x="404" y="50"/>
                  </a:cubicBezTo>
                  <a:cubicBezTo>
                    <a:pt x="403" y="50"/>
                    <a:pt x="403" y="50"/>
                    <a:pt x="403" y="51"/>
                  </a:cubicBezTo>
                  <a:cubicBezTo>
                    <a:pt x="403" y="51"/>
                    <a:pt x="403" y="51"/>
                    <a:pt x="403" y="51"/>
                  </a:cubicBezTo>
                  <a:cubicBezTo>
                    <a:pt x="402" y="52"/>
                    <a:pt x="402" y="52"/>
                    <a:pt x="401" y="52"/>
                  </a:cubicBezTo>
                  <a:cubicBezTo>
                    <a:pt x="401" y="52"/>
                    <a:pt x="401" y="52"/>
                    <a:pt x="401" y="53"/>
                  </a:cubicBezTo>
                  <a:cubicBezTo>
                    <a:pt x="401" y="53"/>
                    <a:pt x="401" y="53"/>
                    <a:pt x="400" y="53"/>
                  </a:cubicBezTo>
                  <a:cubicBezTo>
                    <a:pt x="400" y="54"/>
                    <a:pt x="400" y="54"/>
                    <a:pt x="400" y="54"/>
                  </a:cubicBezTo>
                  <a:cubicBezTo>
                    <a:pt x="400" y="54"/>
                    <a:pt x="400" y="55"/>
                    <a:pt x="399" y="55"/>
                  </a:cubicBezTo>
                  <a:cubicBezTo>
                    <a:pt x="399" y="55"/>
                    <a:pt x="399" y="55"/>
                    <a:pt x="399" y="56"/>
                  </a:cubicBezTo>
                  <a:cubicBezTo>
                    <a:pt x="399" y="56"/>
                    <a:pt x="399" y="56"/>
                    <a:pt x="399" y="56"/>
                  </a:cubicBezTo>
                  <a:cubicBezTo>
                    <a:pt x="399" y="56"/>
                    <a:pt x="399" y="56"/>
                    <a:pt x="399" y="56"/>
                  </a:cubicBezTo>
                  <a:cubicBezTo>
                    <a:pt x="398" y="56"/>
                    <a:pt x="398" y="56"/>
                    <a:pt x="398" y="57"/>
                  </a:cubicBezTo>
                  <a:cubicBezTo>
                    <a:pt x="398" y="57"/>
                    <a:pt x="398" y="57"/>
                    <a:pt x="398" y="57"/>
                  </a:cubicBezTo>
                  <a:cubicBezTo>
                    <a:pt x="398" y="58"/>
                    <a:pt x="397" y="58"/>
                    <a:pt x="397" y="58"/>
                  </a:cubicBezTo>
                  <a:cubicBezTo>
                    <a:pt x="397" y="59"/>
                    <a:pt x="397" y="59"/>
                    <a:pt x="397" y="59"/>
                  </a:cubicBezTo>
                  <a:cubicBezTo>
                    <a:pt x="396" y="59"/>
                    <a:pt x="396" y="59"/>
                    <a:pt x="396" y="59"/>
                  </a:cubicBezTo>
                  <a:cubicBezTo>
                    <a:pt x="396" y="59"/>
                    <a:pt x="396" y="60"/>
                    <a:pt x="396" y="60"/>
                  </a:cubicBezTo>
                  <a:cubicBezTo>
                    <a:pt x="396" y="60"/>
                    <a:pt x="395" y="60"/>
                    <a:pt x="395" y="60"/>
                  </a:cubicBezTo>
                  <a:cubicBezTo>
                    <a:pt x="395" y="60"/>
                    <a:pt x="395" y="61"/>
                    <a:pt x="395" y="61"/>
                  </a:cubicBezTo>
                  <a:cubicBezTo>
                    <a:pt x="395" y="61"/>
                    <a:pt x="394" y="61"/>
                    <a:pt x="394" y="62"/>
                  </a:cubicBezTo>
                  <a:cubicBezTo>
                    <a:pt x="394" y="62"/>
                    <a:pt x="394" y="62"/>
                    <a:pt x="394" y="63"/>
                  </a:cubicBezTo>
                  <a:cubicBezTo>
                    <a:pt x="393" y="63"/>
                    <a:pt x="393" y="63"/>
                    <a:pt x="392" y="64"/>
                  </a:cubicBezTo>
                  <a:cubicBezTo>
                    <a:pt x="392" y="64"/>
                    <a:pt x="392" y="64"/>
                    <a:pt x="392" y="65"/>
                  </a:cubicBezTo>
                  <a:cubicBezTo>
                    <a:pt x="391" y="65"/>
                    <a:pt x="391" y="66"/>
                    <a:pt x="390" y="66"/>
                  </a:cubicBezTo>
                  <a:cubicBezTo>
                    <a:pt x="390" y="67"/>
                    <a:pt x="390" y="67"/>
                    <a:pt x="390" y="67"/>
                  </a:cubicBezTo>
                  <a:cubicBezTo>
                    <a:pt x="389" y="68"/>
                    <a:pt x="388" y="69"/>
                    <a:pt x="387" y="70"/>
                  </a:cubicBezTo>
                  <a:cubicBezTo>
                    <a:pt x="387" y="70"/>
                    <a:pt x="387" y="70"/>
                    <a:pt x="387" y="70"/>
                  </a:cubicBezTo>
                  <a:cubicBezTo>
                    <a:pt x="386" y="71"/>
                    <a:pt x="385" y="72"/>
                    <a:pt x="384" y="73"/>
                  </a:cubicBezTo>
                  <a:cubicBezTo>
                    <a:pt x="384" y="74"/>
                    <a:pt x="383" y="74"/>
                    <a:pt x="383" y="75"/>
                  </a:cubicBezTo>
                  <a:cubicBezTo>
                    <a:pt x="382" y="75"/>
                    <a:pt x="382" y="75"/>
                    <a:pt x="382" y="75"/>
                  </a:cubicBezTo>
                  <a:cubicBezTo>
                    <a:pt x="382" y="75"/>
                    <a:pt x="381" y="76"/>
                    <a:pt x="381" y="76"/>
                  </a:cubicBezTo>
                  <a:cubicBezTo>
                    <a:pt x="381" y="76"/>
                    <a:pt x="380" y="76"/>
                    <a:pt x="380" y="76"/>
                  </a:cubicBezTo>
                  <a:cubicBezTo>
                    <a:pt x="380" y="76"/>
                    <a:pt x="380" y="76"/>
                    <a:pt x="380" y="76"/>
                  </a:cubicBezTo>
                  <a:cubicBezTo>
                    <a:pt x="380" y="77"/>
                    <a:pt x="379" y="77"/>
                    <a:pt x="379" y="77"/>
                  </a:cubicBezTo>
                  <a:cubicBezTo>
                    <a:pt x="373" y="77"/>
                    <a:pt x="370" y="75"/>
                    <a:pt x="367" y="72"/>
                  </a:cubicBezTo>
                  <a:cubicBezTo>
                    <a:pt x="366" y="72"/>
                    <a:pt x="366" y="72"/>
                    <a:pt x="365" y="72"/>
                  </a:cubicBezTo>
                  <a:cubicBezTo>
                    <a:pt x="365" y="72"/>
                    <a:pt x="365" y="71"/>
                    <a:pt x="365" y="71"/>
                  </a:cubicBezTo>
                  <a:cubicBezTo>
                    <a:pt x="365" y="71"/>
                    <a:pt x="364" y="71"/>
                    <a:pt x="364" y="71"/>
                  </a:cubicBezTo>
                  <a:cubicBezTo>
                    <a:pt x="364" y="71"/>
                    <a:pt x="364" y="71"/>
                    <a:pt x="364" y="71"/>
                  </a:cubicBezTo>
                  <a:cubicBezTo>
                    <a:pt x="363" y="70"/>
                    <a:pt x="363" y="70"/>
                    <a:pt x="362" y="70"/>
                  </a:cubicBezTo>
                  <a:cubicBezTo>
                    <a:pt x="362" y="70"/>
                    <a:pt x="362" y="70"/>
                    <a:pt x="362" y="70"/>
                  </a:cubicBezTo>
                  <a:cubicBezTo>
                    <a:pt x="362" y="70"/>
                    <a:pt x="362" y="70"/>
                    <a:pt x="361" y="70"/>
                  </a:cubicBezTo>
                  <a:cubicBezTo>
                    <a:pt x="361" y="69"/>
                    <a:pt x="361" y="69"/>
                    <a:pt x="361" y="69"/>
                  </a:cubicBezTo>
                  <a:cubicBezTo>
                    <a:pt x="361" y="69"/>
                    <a:pt x="360" y="69"/>
                    <a:pt x="360" y="69"/>
                  </a:cubicBezTo>
                  <a:cubicBezTo>
                    <a:pt x="360" y="69"/>
                    <a:pt x="360" y="68"/>
                    <a:pt x="360" y="68"/>
                  </a:cubicBezTo>
                  <a:cubicBezTo>
                    <a:pt x="359" y="68"/>
                    <a:pt x="359" y="68"/>
                    <a:pt x="358" y="68"/>
                  </a:cubicBezTo>
                  <a:cubicBezTo>
                    <a:pt x="358" y="68"/>
                    <a:pt x="358" y="68"/>
                    <a:pt x="358" y="67"/>
                  </a:cubicBezTo>
                  <a:cubicBezTo>
                    <a:pt x="358" y="67"/>
                    <a:pt x="358" y="67"/>
                    <a:pt x="357" y="67"/>
                  </a:cubicBezTo>
                  <a:cubicBezTo>
                    <a:pt x="357" y="67"/>
                    <a:pt x="357" y="67"/>
                    <a:pt x="357" y="66"/>
                  </a:cubicBezTo>
                  <a:cubicBezTo>
                    <a:pt x="357" y="66"/>
                    <a:pt x="356" y="66"/>
                    <a:pt x="356" y="66"/>
                  </a:cubicBezTo>
                  <a:cubicBezTo>
                    <a:pt x="356" y="66"/>
                    <a:pt x="355" y="66"/>
                    <a:pt x="355" y="65"/>
                  </a:cubicBezTo>
                  <a:cubicBezTo>
                    <a:pt x="355" y="65"/>
                    <a:pt x="354" y="65"/>
                    <a:pt x="353" y="65"/>
                  </a:cubicBezTo>
                  <a:cubicBezTo>
                    <a:pt x="353" y="64"/>
                    <a:pt x="353" y="64"/>
                    <a:pt x="353" y="64"/>
                  </a:cubicBezTo>
                  <a:cubicBezTo>
                    <a:pt x="352" y="63"/>
                    <a:pt x="346" y="61"/>
                    <a:pt x="344" y="62"/>
                  </a:cubicBezTo>
                  <a:cubicBezTo>
                    <a:pt x="344" y="62"/>
                    <a:pt x="344" y="62"/>
                    <a:pt x="344" y="62"/>
                  </a:cubicBezTo>
                  <a:cubicBezTo>
                    <a:pt x="344" y="62"/>
                    <a:pt x="343" y="62"/>
                    <a:pt x="342" y="62"/>
                  </a:cubicBezTo>
                  <a:cubicBezTo>
                    <a:pt x="342" y="62"/>
                    <a:pt x="342" y="62"/>
                    <a:pt x="342" y="63"/>
                  </a:cubicBezTo>
                  <a:cubicBezTo>
                    <a:pt x="341" y="63"/>
                    <a:pt x="341" y="63"/>
                    <a:pt x="340" y="63"/>
                  </a:cubicBezTo>
                  <a:cubicBezTo>
                    <a:pt x="340" y="63"/>
                    <a:pt x="340" y="63"/>
                    <a:pt x="340" y="63"/>
                  </a:cubicBezTo>
                  <a:cubicBezTo>
                    <a:pt x="339" y="63"/>
                    <a:pt x="339" y="63"/>
                    <a:pt x="338" y="63"/>
                  </a:cubicBezTo>
                  <a:cubicBezTo>
                    <a:pt x="334" y="64"/>
                    <a:pt x="330" y="65"/>
                    <a:pt x="327" y="66"/>
                  </a:cubicBezTo>
                  <a:cubicBezTo>
                    <a:pt x="327" y="66"/>
                    <a:pt x="327" y="67"/>
                    <a:pt x="327" y="67"/>
                  </a:cubicBezTo>
                  <a:cubicBezTo>
                    <a:pt x="326" y="67"/>
                    <a:pt x="326" y="67"/>
                    <a:pt x="326" y="67"/>
                  </a:cubicBezTo>
                  <a:cubicBezTo>
                    <a:pt x="326" y="67"/>
                    <a:pt x="326" y="67"/>
                    <a:pt x="326" y="67"/>
                  </a:cubicBezTo>
                  <a:cubicBezTo>
                    <a:pt x="325" y="67"/>
                    <a:pt x="325" y="67"/>
                    <a:pt x="324" y="67"/>
                  </a:cubicBezTo>
                  <a:cubicBezTo>
                    <a:pt x="324" y="68"/>
                    <a:pt x="324" y="68"/>
                    <a:pt x="324" y="68"/>
                  </a:cubicBezTo>
                  <a:cubicBezTo>
                    <a:pt x="324" y="68"/>
                    <a:pt x="323" y="68"/>
                    <a:pt x="323" y="68"/>
                  </a:cubicBezTo>
                  <a:cubicBezTo>
                    <a:pt x="323" y="68"/>
                    <a:pt x="323" y="68"/>
                    <a:pt x="323" y="68"/>
                  </a:cubicBezTo>
                  <a:cubicBezTo>
                    <a:pt x="323" y="68"/>
                    <a:pt x="322" y="68"/>
                    <a:pt x="322" y="68"/>
                  </a:cubicBezTo>
                  <a:cubicBezTo>
                    <a:pt x="322" y="68"/>
                    <a:pt x="322" y="68"/>
                    <a:pt x="322" y="68"/>
                  </a:cubicBezTo>
                  <a:cubicBezTo>
                    <a:pt x="321" y="69"/>
                    <a:pt x="321" y="69"/>
                    <a:pt x="320" y="69"/>
                  </a:cubicBezTo>
                  <a:cubicBezTo>
                    <a:pt x="320" y="69"/>
                    <a:pt x="320" y="69"/>
                    <a:pt x="320" y="70"/>
                  </a:cubicBezTo>
                  <a:cubicBezTo>
                    <a:pt x="320" y="70"/>
                    <a:pt x="320" y="70"/>
                    <a:pt x="319" y="70"/>
                  </a:cubicBezTo>
                  <a:cubicBezTo>
                    <a:pt x="319" y="70"/>
                    <a:pt x="319" y="70"/>
                    <a:pt x="319" y="70"/>
                  </a:cubicBezTo>
                  <a:cubicBezTo>
                    <a:pt x="319" y="70"/>
                    <a:pt x="319" y="70"/>
                    <a:pt x="318" y="70"/>
                  </a:cubicBezTo>
                  <a:cubicBezTo>
                    <a:pt x="318" y="70"/>
                    <a:pt x="318" y="70"/>
                    <a:pt x="318" y="70"/>
                  </a:cubicBezTo>
                  <a:cubicBezTo>
                    <a:pt x="318" y="70"/>
                    <a:pt x="318" y="70"/>
                    <a:pt x="318" y="70"/>
                  </a:cubicBezTo>
                  <a:cubicBezTo>
                    <a:pt x="317" y="70"/>
                    <a:pt x="317" y="71"/>
                    <a:pt x="317" y="71"/>
                  </a:cubicBezTo>
                  <a:cubicBezTo>
                    <a:pt x="317" y="71"/>
                    <a:pt x="316" y="71"/>
                    <a:pt x="316" y="71"/>
                  </a:cubicBezTo>
                  <a:cubicBezTo>
                    <a:pt x="316" y="71"/>
                    <a:pt x="316" y="72"/>
                    <a:pt x="315" y="72"/>
                  </a:cubicBezTo>
                  <a:cubicBezTo>
                    <a:pt x="315" y="72"/>
                    <a:pt x="315" y="72"/>
                    <a:pt x="315" y="72"/>
                  </a:cubicBezTo>
                  <a:cubicBezTo>
                    <a:pt x="315" y="72"/>
                    <a:pt x="315" y="72"/>
                    <a:pt x="314" y="73"/>
                  </a:cubicBezTo>
                  <a:cubicBezTo>
                    <a:pt x="314" y="73"/>
                    <a:pt x="313" y="73"/>
                    <a:pt x="313" y="74"/>
                  </a:cubicBezTo>
                  <a:cubicBezTo>
                    <a:pt x="313" y="74"/>
                    <a:pt x="313" y="74"/>
                    <a:pt x="313" y="74"/>
                  </a:cubicBezTo>
                  <a:cubicBezTo>
                    <a:pt x="313" y="75"/>
                    <a:pt x="313" y="75"/>
                    <a:pt x="312" y="75"/>
                  </a:cubicBezTo>
                  <a:cubicBezTo>
                    <a:pt x="312" y="75"/>
                    <a:pt x="312" y="75"/>
                    <a:pt x="312" y="75"/>
                  </a:cubicBezTo>
                  <a:cubicBezTo>
                    <a:pt x="312" y="76"/>
                    <a:pt x="312" y="76"/>
                    <a:pt x="312" y="76"/>
                  </a:cubicBezTo>
                  <a:cubicBezTo>
                    <a:pt x="312" y="76"/>
                    <a:pt x="312" y="76"/>
                    <a:pt x="312" y="76"/>
                  </a:cubicBezTo>
                  <a:cubicBezTo>
                    <a:pt x="311" y="76"/>
                    <a:pt x="311" y="76"/>
                    <a:pt x="311" y="76"/>
                  </a:cubicBezTo>
                  <a:cubicBezTo>
                    <a:pt x="311" y="77"/>
                    <a:pt x="311" y="77"/>
                    <a:pt x="311" y="77"/>
                  </a:cubicBezTo>
                  <a:cubicBezTo>
                    <a:pt x="311" y="77"/>
                    <a:pt x="311" y="77"/>
                    <a:pt x="311" y="77"/>
                  </a:cubicBezTo>
                  <a:cubicBezTo>
                    <a:pt x="311" y="77"/>
                    <a:pt x="311" y="78"/>
                    <a:pt x="311" y="78"/>
                  </a:cubicBezTo>
                  <a:cubicBezTo>
                    <a:pt x="311" y="78"/>
                    <a:pt x="311" y="78"/>
                    <a:pt x="311" y="78"/>
                  </a:cubicBezTo>
                  <a:cubicBezTo>
                    <a:pt x="311" y="78"/>
                    <a:pt x="311" y="78"/>
                    <a:pt x="311" y="79"/>
                  </a:cubicBezTo>
                  <a:cubicBezTo>
                    <a:pt x="310" y="79"/>
                    <a:pt x="310" y="79"/>
                    <a:pt x="310" y="79"/>
                  </a:cubicBezTo>
                  <a:cubicBezTo>
                    <a:pt x="310" y="79"/>
                    <a:pt x="310" y="80"/>
                    <a:pt x="310" y="80"/>
                  </a:cubicBezTo>
                  <a:cubicBezTo>
                    <a:pt x="310" y="80"/>
                    <a:pt x="310" y="80"/>
                    <a:pt x="310" y="80"/>
                  </a:cubicBezTo>
                  <a:cubicBezTo>
                    <a:pt x="309" y="81"/>
                    <a:pt x="309" y="81"/>
                    <a:pt x="309" y="82"/>
                  </a:cubicBezTo>
                  <a:cubicBezTo>
                    <a:pt x="309" y="82"/>
                    <a:pt x="309" y="82"/>
                    <a:pt x="308" y="82"/>
                  </a:cubicBezTo>
                  <a:cubicBezTo>
                    <a:pt x="308" y="82"/>
                    <a:pt x="308" y="83"/>
                    <a:pt x="308" y="83"/>
                  </a:cubicBezTo>
                  <a:cubicBezTo>
                    <a:pt x="308" y="83"/>
                    <a:pt x="308" y="83"/>
                    <a:pt x="308" y="83"/>
                  </a:cubicBezTo>
                  <a:cubicBezTo>
                    <a:pt x="308" y="83"/>
                    <a:pt x="308" y="84"/>
                    <a:pt x="308" y="84"/>
                  </a:cubicBezTo>
                  <a:cubicBezTo>
                    <a:pt x="308" y="84"/>
                    <a:pt x="308" y="84"/>
                    <a:pt x="308" y="84"/>
                  </a:cubicBezTo>
                  <a:cubicBezTo>
                    <a:pt x="308" y="84"/>
                    <a:pt x="308" y="85"/>
                    <a:pt x="307" y="85"/>
                  </a:cubicBezTo>
                  <a:cubicBezTo>
                    <a:pt x="307" y="85"/>
                    <a:pt x="307" y="85"/>
                    <a:pt x="307" y="85"/>
                  </a:cubicBezTo>
                  <a:cubicBezTo>
                    <a:pt x="307" y="86"/>
                    <a:pt x="307" y="86"/>
                    <a:pt x="307" y="86"/>
                  </a:cubicBezTo>
                  <a:cubicBezTo>
                    <a:pt x="307" y="86"/>
                    <a:pt x="307" y="86"/>
                    <a:pt x="307" y="86"/>
                  </a:cubicBezTo>
                  <a:cubicBezTo>
                    <a:pt x="307" y="87"/>
                    <a:pt x="307" y="87"/>
                    <a:pt x="307" y="87"/>
                  </a:cubicBezTo>
                  <a:cubicBezTo>
                    <a:pt x="307" y="87"/>
                    <a:pt x="306" y="87"/>
                    <a:pt x="306" y="87"/>
                  </a:cubicBezTo>
                  <a:cubicBezTo>
                    <a:pt x="306" y="87"/>
                    <a:pt x="306" y="88"/>
                    <a:pt x="306" y="88"/>
                  </a:cubicBezTo>
                  <a:cubicBezTo>
                    <a:pt x="306" y="88"/>
                    <a:pt x="306" y="88"/>
                    <a:pt x="306" y="88"/>
                  </a:cubicBezTo>
                  <a:cubicBezTo>
                    <a:pt x="306" y="89"/>
                    <a:pt x="306" y="89"/>
                    <a:pt x="306" y="89"/>
                  </a:cubicBezTo>
                  <a:cubicBezTo>
                    <a:pt x="306" y="89"/>
                    <a:pt x="305" y="89"/>
                    <a:pt x="305" y="89"/>
                  </a:cubicBezTo>
                  <a:cubicBezTo>
                    <a:pt x="305" y="90"/>
                    <a:pt x="305" y="90"/>
                    <a:pt x="305" y="90"/>
                  </a:cubicBezTo>
                  <a:cubicBezTo>
                    <a:pt x="305" y="90"/>
                    <a:pt x="305" y="90"/>
                    <a:pt x="305" y="90"/>
                  </a:cubicBezTo>
                  <a:cubicBezTo>
                    <a:pt x="305" y="91"/>
                    <a:pt x="305" y="91"/>
                    <a:pt x="305" y="91"/>
                  </a:cubicBezTo>
                  <a:cubicBezTo>
                    <a:pt x="305" y="91"/>
                    <a:pt x="305" y="91"/>
                    <a:pt x="305" y="91"/>
                  </a:cubicBezTo>
                  <a:cubicBezTo>
                    <a:pt x="305" y="92"/>
                    <a:pt x="305" y="92"/>
                    <a:pt x="305" y="92"/>
                  </a:cubicBezTo>
                  <a:cubicBezTo>
                    <a:pt x="305" y="92"/>
                    <a:pt x="304" y="92"/>
                    <a:pt x="304" y="92"/>
                  </a:cubicBezTo>
                  <a:cubicBezTo>
                    <a:pt x="304" y="93"/>
                    <a:pt x="304" y="93"/>
                    <a:pt x="304" y="94"/>
                  </a:cubicBezTo>
                  <a:cubicBezTo>
                    <a:pt x="304" y="94"/>
                    <a:pt x="304" y="94"/>
                    <a:pt x="304" y="94"/>
                  </a:cubicBezTo>
                  <a:cubicBezTo>
                    <a:pt x="304" y="94"/>
                    <a:pt x="304" y="94"/>
                    <a:pt x="304" y="95"/>
                  </a:cubicBezTo>
                  <a:cubicBezTo>
                    <a:pt x="303" y="95"/>
                    <a:pt x="303" y="95"/>
                    <a:pt x="303" y="95"/>
                  </a:cubicBezTo>
                  <a:cubicBezTo>
                    <a:pt x="303" y="95"/>
                    <a:pt x="303" y="95"/>
                    <a:pt x="303" y="95"/>
                  </a:cubicBezTo>
                  <a:cubicBezTo>
                    <a:pt x="303" y="95"/>
                    <a:pt x="303" y="95"/>
                    <a:pt x="303" y="95"/>
                  </a:cubicBezTo>
                  <a:cubicBezTo>
                    <a:pt x="303" y="96"/>
                    <a:pt x="303" y="96"/>
                    <a:pt x="303" y="96"/>
                  </a:cubicBezTo>
                  <a:cubicBezTo>
                    <a:pt x="303" y="96"/>
                    <a:pt x="303" y="96"/>
                    <a:pt x="303" y="96"/>
                  </a:cubicBezTo>
                  <a:cubicBezTo>
                    <a:pt x="302" y="97"/>
                    <a:pt x="302" y="97"/>
                    <a:pt x="302" y="98"/>
                  </a:cubicBezTo>
                  <a:cubicBezTo>
                    <a:pt x="302" y="98"/>
                    <a:pt x="302" y="98"/>
                    <a:pt x="302" y="98"/>
                  </a:cubicBezTo>
                  <a:cubicBezTo>
                    <a:pt x="302" y="98"/>
                    <a:pt x="302" y="99"/>
                    <a:pt x="302" y="99"/>
                  </a:cubicBezTo>
                  <a:cubicBezTo>
                    <a:pt x="302" y="99"/>
                    <a:pt x="302" y="99"/>
                    <a:pt x="301" y="99"/>
                  </a:cubicBezTo>
                  <a:cubicBezTo>
                    <a:pt x="301" y="99"/>
                    <a:pt x="301" y="100"/>
                    <a:pt x="301" y="100"/>
                  </a:cubicBezTo>
                  <a:cubicBezTo>
                    <a:pt x="301" y="100"/>
                    <a:pt x="301" y="100"/>
                    <a:pt x="301" y="100"/>
                  </a:cubicBezTo>
                  <a:cubicBezTo>
                    <a:pt x="301" y="101"/>
                    <a:pt x="301" y="101"/>
                    <a:pt x="301" y="101"/>
                  </a:cubicBezTo>
                  <a:cubicBezTo>
                    <a:pt x="301" y="101"/>
                    <a:pt x="301" y="101"/>
                    <a:pt x="300" y="101"/>
                  </a:cubicBezTo>
                  <a:cubicBezTo>
                    <a:pt x="300" y="102"/>
                    <a:pt x="300" y="102"/>
                    <a:pt x="300" y="103"/>
                  </a:cubicBezTo>
                  <a:cubicBezTo>
                    <a:pt x="300" y="103"/>
                    <a:pt x="300" y="103"/>
                    <a:pt x="300" y="103"/>
                  </a:cubicBezTo>
                  <a:cubicBezTo>
                    <a:pt x="300" y="103"/>
                    <a:pt x="300" y="103"/>
                    <a:pt x="300" y="103"/>
                  </a:cubicBezTo>
                  <a:cubicBezTo>
                    <a:pt x="300" y="103"/>
                    <a:pt x="299" y="103"/>
                    <a:pt x="299" y="103"/>
                  </a:cubicBezTo>
                  <a:cubicBezTo>
                    <a:pt x="299" y="104"/>
                    <a:pt x="299" y="104"/>
                    <a:pt x="299" y="104"/>
                  </a:cubicBezTo>
                  <a:cubicBezTo>
                    <a:pt x="299" y="104"/>
                    <a:pt x="299" y="104"/>
                    <a:pt x="299" y="104"/>
                  </a:cubicBezTo>
                  <a:cubicBezTo>
                    <a:pt x="299" y="105"/>
                    <a:pt x="299" y="106"/>
                    <a:pt x="298" y="107"/>
                  </a:cubicBezTo>
                  <a:cubicBezTo>
                    <a:pt x="298" y="107"/>
                    <a:pt x="298" y="107"/>
                    <a:pt x="298" y="107"/>
                  </a:cubicBezTo>
                  <a:cubicBezTo>
                    <a:pt x="298" y="107"/>
                    <a:pt x="298" y="107"/>
                    <a:pt x="298" y="107"/>
                  </a:cubicBezTo>
                  <a:cubicBezTo>
                    <a:pt x="298" y="107"/>
                    <a:pt x="298" y="107"/>
                    <a:pt x="298" y="107"/>
                  </a:cubicBezTo>
                  <a:cubicBezTo>
                    <a:pt x="298" y="108"/>
                    <a:pt x="297" y="108"/>
                    <a:pt x="297" y="109"/>
                  </a:cubicBezTo>
                  <a:cubicBezTo>
                    <a:pt x="297" y="109"/>
                    <a:pt x="297" y="109"/>
                    <a:pt x="297" y="109"/>
                  </a:cubicBezTo>
                  <a:cubicBezTo>
                    <a:pt x="296" y="110"/>
                    <a:pt x="296" y="110"/>
                    <a:pt x="296" y="111"/>
                  </a:cubicBezTo>
                  <a:cubicBezTo>
                    <a:pt x="296" y="111"/>
                    <a:pt x="295" y="111"/>
                    <a:pt x="295" y="111"/>
                  </a:cubicBezTo>
                  <a:cubicBezTo>
                    <a:pt x="295" y="112"/>
                    <a:pt x="295" y="112"/>
                    <a:pt x="295" y="112"/>
                  </a:cubicBezTo>
                  <a:cubicBezTo>
                    <a:pt x="295" y="113"/>
                    <a:pt x="294" y="113"/>
                    <a:pt x="293" y="114"/>
                  </a:cubicBezTo>
                  <a:cubicBezTo>
                    <a:pt x="293" y="114"/>
                    <a:pt x="293" y="114"/>
                    <a:pt x="293" y="114"/>
                  </a:cubicBezTo>
                  <a:cubicBezTo>
                    <a:pt x="292" y="115"/>
                    <a:pt x="291" y="116"/>
                    <a:pt x="290" y="117"/>
                  </a:cubicBezTo>
                  <a:cubicBezTo>
                    <a:pt x="289" y="118"/>
                    <a:pt x="288" y="120"/>
                    <a:pt x="287" y="121"/>
                  </a:cubicBezTo>
                  <a:cubicBezTo>
                    <a:pt x="287" y="121"/>
                    <a:pt x="287" y="121"/>
                    <a:pt x="286" y="121"/>
                  </a:cubicBezTo>
                  <a:cubicBezTo>
                    <a:pt x="285" y="122"/>
                    <a:pt x="284" y="124"/>
                    <a:pt x="282" y="125"/>
                  </a:cubicBezTo>
                  <a:cubicBezTo>
                    <a:pt x="282" y="125"/>
                    <a:pt x="282" y="125"/>
                    <a:pt x="282" y="125"/>
                  </a:cubicBezTo>
                  <a:cubicBezTo>
                    <a:pt x="281" y="126"/>
                    <a:pt x="280" y="127"/>
                    <a:pt x="279" y="128"/>
                  </a:cubicBezTo>
                  <a:cubicBezTo>
                    <a:pt x="279" y="128"/>
                    <a:pt x="278" y="128"/>
                    <a:pt x="278" y="128"/>
                  </a:cubicBezTo>
                  <a:cubicBezTo>
                    <a:pt x="277" y="129"/>
                    <a:pt x="276" y="130"/>
                    <a:pt x="276" y="131"/>
                  </a:cubicBezTo>
                  <a:cubicBezTo>
                    <a:pt x="275" y="131"/>
                    <a:pt x="275" y="131"/>
                    <a:pt x="275" y="131"/>
                  </a:cubicBezTo>
                  <a:cubicBezTo>
                    <a:pt x="274" y="132"/>
                    <a:pt x="273" y="133"/>
                    <a:pt x="272" y="134"/>
                  </a:cubicBezTo>
                  <a:cubicBezTo>
                    <a:pt x="272" y="134"/>
                    <a:pt x="272" y="134"/>
                    <a:pt x="272" y="134"/>
                  </a:cubicBezTo>
                  <a:cubicBezTo>
                    <a:pt x="271" y="135"/>
                    <a:pt x="270" y="135"/>
                    <a:pt x="270" y="136"/>
                  </a:cubicBezTo>
                  <a:cubicBezTo>
                    <a:pt x="269" y="136"/>
                    <a:pt x="269" y="136"/>
                    <a:pt x="269" y="136"/>
                  </a:cubicBezTo>
                  <a:cubicBezTo>
                    <a:pt x="268" y="137"/>
                    <a:pt x="268" y="138"/>
                    <a:pt x="267" y="139"/>
                  </a:cubicBezTo>
                  <a:cubicBezTo>
                    <a:pt x="267" y="139"/>
                    <a:pt x="266" y="139"/>
                    <a:pt x="266" y="139"/>
                  </a:cubicBezTo>
                  <a:cubicBezTo>
                    <a:pt x="266" y="139"/>
                    <a:pt x="265" y="140"/>
                    <a:pt x="264" y="141"/>
                  </a:cubicBezTo>
                  <a:cubicBezTo>
                    <a:pt x="264" y="141"/>
                    <a:pt x="264" y="141"/>
                    <a:pt x="264" y="141"/>
                  </a:cubicBezTo>
                  <a:cubicBezTo>
                    <a:pt x="263" y="142"/>
                    <a:pt x="263" y="142"/>
                    <a:pt x="262" y="143"/>
                  </a:cubicBezTo>
                  <a:cubicBezTo>
                    <a:pt x="262" y="143"/>
                    <a:pt x="261" y="143"/>
                    <a:pt x="261" y="143"/>
                  </a:cubicBezTo>
                  <a:cubicBezTo>
                    <a:pt x="261" y="144"/>
                    <a:pt x="260" y="144"/>
                    <a:pt x="260" y="145"/>
                  </a:cubicBezTo>
                  <a:cubicBezTo>
                    <a:pt x="259" y="145"/>
                    <a:pt x="259" y="145"/>
                    <a:pt x="259" y="145"/>
                  </a:cubicBezTo>
                  <a:cubicBezTo>
                    <a:pt x="258" y="146"/>
                    <a:pt x="258" y="146"/>
                    <a:pt x="257" y="147"/>
                  </a:cubicBezTo>
                  <a:cubicBezTo>
                    <a:pt x="257" y="147"/>
                    <a:pt x="257" y="147"/>
                    <a:pt x="256" y="147"/>
                  </a:cubicBezTo>
                  <a:cubicBezTo>
                    <a:pt x="256" y="147"/>
                    <a:pt x="256" y="148"/>
                    <a:pt x="256" y="148"/>
                  </a:cubicBezTo>
                  <a:cubicBezTo>
                    <a:pt x="255" y="149"/>
                    <a:pt x="254" y="149"/>
                    <a:pt x="254" y="150"/>
                  </a:cubicBezTo>
                  <a:cubicBezTo>
                    <a:pt x="252" y="149"/>
                    <a:pt x="250" y="149"/>
                    <a:pt x="248" y="149"/>
                  </a:cubicBezTo>
                  <a:cubicBezTo>
                    <a:pt x="248" y="149"/>
                    <a:pt x="248" y="149"/>
                    <a:pt x="248" y="149"/>
                  </a:cubicBezTo>
                  <a:cubicBezTo>
                    <a:pt x="245" y="149"/>
                    <a:pt x="241" y="149"/>
                    <a:pt x="238" y="149"/>
                  </a:cubicBezTo>
                  <a:cubicBezTo>
                    <a:pt x="236" y="149"/>
                    <a:pt x="234" y="149"/>
                    <a:pt x="232" y="149"/>
                  </a:cubicBezTo>
                  <a:cubicBezTo>
                    <a:pt x="232" y="149"/>
                    <a:pt x="232" y="149"/>
                    <a:pt x="232" y="149"/>
                  </a:cubicBezTo>
                  <a:cubicBezTo>
                    <a:pt x="231" y="149"/>
                    <a:pt x="231" y="149"/>
                    <a:pt x="230" y="149"/>
                  </a:cubicBezTo>
                  <a:cubicBezTo>
                    <a:pt x="230" y="149"/>
                    <a:pt x="230" y="149"/>
                    <a:pt x="230" y="149"/>
                  </a:cubicBezTo>
                  <a:cubicBezTo>
                    <a:pt x="229" y="149"/>
                    <a:pt x="229" y="149"/>
                    <a:pt x="228" y="150"/>
                  </a:cubicBezTo>
                  <a:cubicBezTo>
                    <a:pt x="228" y="150"/>
                    <a:pt x="227" y="150"/>
                    <a:pt x="227" y="150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27" y="151"/>
                    <a:pt x="227" y="151"/>
                    <a:pt x="227" y="151"/>
                  </a:cubicBezTo>
                  <a:cubicBezTo>
                    <a:pt x="227" y="152"/>
                    <a:pt x="226" y="153"/>
                    <a:pt x="226" y="154"/>
                  </a:cubicBezTo>
                  <a:cubicBezTo>
                    <a:pt x="226" y="154"/>
                    <a:pt x="226" y="154"/>
                    <a:pt x="226" y="154"/>
                  </a:cubicBezTo>
                  <a:cubicBezTo>
                    <a:pt x="225" y="156"/>
                    <a:pt x="226" y="160"/>
                    <a:pt x="227" y="161"/>
                  </a:cubicBezTo>
                  <a:cubicBezTo>
                    <a:pt x="227" y="161"/>
                    <a:pt x="227" y="162"/>
                    <a:pt x="227" y="162"/>
                  </a:cubicBezTo>
                  <a:cubicBezTo>
                    <a:pt x="227" y="162"/>
                    <a:pt x="227" y="162"/>
                    <a:pt x="227" y="162"/>
                  </a:cubicBezTo>
                  <a:cubicBezTo>
                    <a:pt x="227" y="163"/>
                    <a:pt x="227" y="163"/>
                    <a:pt x="227" y="163"/>
                  </a:cubicBezTo>
                  <a:cubicBezTo>
                    <a:pt x="227" y="163"/>
                    <a:pt x="227" y="163"/>
                    <a:pt x="227" y="163"/>
                  </a:cubicBezTo>
                  <a:cubicBezTo>
                    <a:pt x="227" y="164"/>
                    <a:pt x="228" y="164"/>
                    <a:pt x="228" y="165"/>
                  </a:cubicBezTo>
                  <a:cubicBezTo>
                    <a:pt x="228" y="165"/>
                    <a:pt x="228" y="165"/>
                    <a:pt x="228" y="165"/>
                  </a:cubicBezTo>
                  <a:cubicBezTo>
                    <a:pt x="228" y="165"/>
                    <a:pt x="228" y="165"/>
                    <a:pt x="228" y="165"/>
                  </a:cubicBezTo>
                  <a:cubicBezTo>
                    <a:pt x="228" y="165"/>
                    <a:pt x="228" y="166"/>
                    <a:pt x="229" y="166"/>
                  </a:cubicBezTo>
                  <a:cubicBezTo>
                    <a:pt x="229" y="166"/>
                    <a:pt x="229" y="166"/>
                    <a:pt x="229" y="166"/>
                  </a:cubicBezTo>
                  <a:cubicBezTo>
                    <a:pt x="229" y="167"/>
                    <a:pt x="229" y="167"/>
                    <a:pt x="230" y="167"/>
                  </a:cubicBezTo>
                  <a:cubicBezTo>
                    <a:pt x="230" y="167"/>
                    <a:pt x="230" y="167"/>
                    <a:pt x="230" y="167"/>
                  </a:cubicBezTo>
                  <a:cubicBezTo>
                    <a:pt x="230" y="167"/>
                    <a:pt x="230" y="167"/>
                    <a:pt x="230" y="167"/>
                  </a:cubicBezTo>
                  <a:cubicBezTo>
                    <a:pt x="231" y="168"/>
                    <a:pt x="231" y="168"/>
                    <a:pt x="232" y="169"/>
                  </a:cubicBezTo>
                  <a:cubicBezTo>
                    <a:pt x="232" y="169"/>
                    <a:pt x="232" y="169"/>
                    <a:pt x="232" y="169"/>
                  </a:cubicBezTo>
                  <a:cubicBezTo>
                    <a:pt x="232" y="169"/>
                    <a:pt x="233" y="170"/>
                    <a:pt x="233" y="170"/>
                  </a:cubicBezTo>
                  <a:cubicBezTo>
                    <a:pt x="233" y="170"/>
                    <a:pt x="234" y="170"/>
                    <a:pt x="234" y="170"/>
                  </a:cubicBezTo>
                  <a:cubicBezTo>
                    <a:pt x="234" y="170"/>
                    <a:pt x="234" y="171"/>
                    <a:pt x="234" y="171"/>
                  </a:cubicBezTo>
                  <a:cubicBezTo>
                    <a:pt x="235" y="171"/>
                    <a:pt x="235" y="171"/>
                    <a:pt x="235" y="171"/>
                  </a:cubicBezTo>
                  <a:cubicBezTo>
                    <a:pt x="235" y="171"/>
                    <a:pt x="235" y="172"/>
                    <a:pt x="236" y="172"/>
                  </a:cubicBezTo>
                  <a:cubicBezTo>
                    <a:pt x="236" y="172"/>
                    <a:pt x="236" y="172"/>
                    <a:pt x="236" y="172"/>
                  </a:cubicBezTo>
                  <a:cubicBezTo>
                    <a:pt x="237" y="172"/>
                    <a:pt x="237" y="173"/>
                    <a:pt x="237" y="173"/>
                  </a:cubicBezTo>
                  <a:cubicBezTo>
                    <a:pt x="238" y="173"/>
                    <a:pt x="238" y="173"/>
                    <a:pt x="238" y="173"/>
                  </a:cubicBezTo>
                  <a:cubicBezTo>
                    <a:pt x="239" y="174"/>
                    <a:pt x="240" y="175"/>
                    <a:pt x="241" y="176"/>
                  </a:cubicBezTo>
                  <a:cubicBezTo>
                    <a:pt x="241" y="177"/>
                    <a:pt x="242" y="177"/>
                    <a:pt x="242" y="177"/>
                  </a:cubicBezTo>
                  <a:cubicBezTo>
                    <a:pt x="244" y="179"/>
                    <a:pt x="245" y="188"/>
                    <a:pt x="245" y="191"/>
                  </a:cubicBezTo>
                  <a:cubicBezTo>
                    <a:pt x="245" y="192"/>
                    <a:pt x="245" y="193"/>
                    <a:pt x="245" y="194"/>
                  </a:cubicBezTo>
                  <a:cubicBezTo>
                    <a:pt x="245" y="195"/>
                    <a:pt x="244" y="196"/>
                    <a:pt x="244" y="197"/>
                  </a:cubicBezTo>
                  <a:cubicBezTo>
                    <a:pt x="243" y="198"/>
                    <a:pt x="241" y="198"/>
                    <a:pt x="240" y="199"/>
                  </a:cubicBezTo>
                  <a:cubicBezTo>
                    <a:pt x="239" y="199"/>
                    <a:pt x="239" y="199"/>
                    <a:pt x="238" y="199"/>
                  </a:cubicBezTo>
                  <a:cubicBezTo>
                    <a:pt x="238" y="199"/>
                    <a:pt x="238" y="199"/>
                    <a:pt x="238" y="200"/>
                  </a:cubicBezTo>
                  <a:cubicBezTo>
                    <a:pt x="237" y="200"/>
                    <a:pt x="237" y="200"/>
                    <a:pt x="236" y="200"/>
                  </a:cubicBezTo>
                  <a:cubicBezTo>
                    <a:pt x="233" y="200"/>
                    <a:pt x="230" y="201"/>
                    <a:pt x="227" y="202"/>
                  </a:cubicBezTo>
                  <a:cubicBezTo>
                    <a:pt x="224" y="202"/>
                    <a:pt x="222" y="202"/>
                    <a:pt x="220" y="202"/>
                  </a:cubicBezTo>
                  <a:cubicBezTo>
                    <a:pt x="220" y="203"/>
                    <a:pt x="220" y="203"/>
                    <a:pt x="220" y="203"/>
                  </a:cubicBezTo>
                  <a:cubicBezTo>
                    <a:pt x="219" y="203"/>
                    <a:pt x="218" y="203"/>
                    <a:pt x="217" y="203"/>
                  </a:cubicBezTo>
                  <a:cubicBezTo>
                    <a:pt x="217" y="203"/>
                    <a:pt x="217" y="203"/>
                    <a:pt x="217" y="203"/>
                  </a:cubicBezTo>
                  <a:cubicBezTo>
                    <a:pt x="216" y="203"/>
                    <a:pt x="215" y="203"/>
                    <a:pt x="214" y="203"/>
                  </a:cubicBezTo>
                  <a:cubicBezTo>
                    <a:pt x="214" y="203"/>
                    <a:pt x="214" y="203"/>
                    <a:pt x="214" y="203"/>
                  </a:cubicBezTo>
                  <a:cubicBezTo>
                    <a:pt x="214" y="203"/>
                    <a:pt x="213" y="203"/>
                    <a:pt x="212" y="203"/>
                  </a:cubicBezTo>
                  <a:cubicBezTo>
                    <a:pt x="212" y="204"/>
                    <a:pt x="212" y="204"/>
                    <a:pt x="212" y="204"/>
                  </a:cubicBezTo>
                  <a:cubicBezTo>
                    <a:pt x="211" y="204"/>
                    <a:pt x="210" y="204"/>
                    <a:pt x="209" y="204"/>
                  </a:cubicBezTo>
                  <a:cubicBezTo>
                    <a:pt x="209" y="204"/>
                    <a:pt x="209" y="204"/>
                    <a:pt x="209" y="204"/>
                  </a:cubicBezTo>
                  <a:cubicBezTo>
                    <a:pt x="205" y="204"/>
                    <a:pt x="201" y="205"/>
                    <a:pt x="198" y="205"/>
                  </a:cubicBezTo>
                  <a:cubicBezTo>
                    <a:pt x="197" y="204"/>
                    <a:pt x="197" y="204"/>
                    <a:pt x="195" y="203"/>
                  </a:cubicBezTo>
                  <a:cubicBezTo>
                    <a:pt x="195" y="203"/>
                    <a:pt x="195" y="203"/>
                    <a:pt x="195" y="202"/>
                  </a:cubicBezTo>
                  <a:cubicBezTo>
                    <a:pt x="195" y="202"/>
                    <a:pt x="194" y="202"/>
                    <a:pt x="194" y="202"/>
                  </a:cubicBezTo>
                  <a:cubicBezTo>
                    <a:pt x="194" y="202"/>
                    <a:pt x="194" y="202"/>
                    <a:pt x="194" y="202"/>
                  </a:cubicBezTo>
                  <a:cubicBezTo>
                    <a:pt x="194" y="202"/>
                    <a:pt x="193" y="202"/>
                    <a:pt x="193" y="202"/>
                  </a:cubicBezTo>
                  <a:cubicBezTo>
                    <a:pt x="193" y="202"/>
                    <a:pt x="193" y="201"/>
                    <a:pt x="193" y="201"/>
                  </a:cubicBezTo>
                  <a:cubicBezTo>
                    <a:pt x="193" y="201"/>
                    <a:pt x="193" y="201"/>
                    <a:pt x="192" y="201"/>
                  </a:cubicBezTo>
                  <a:cubicBezTo>
                    <a:pt x="192" y="201"/>
                    <a:pt x="192" y="201"/>
                    <a:pt x="192" y="201"/>
                  </a:cubicBezTo>
                  <a:cubicBezTo>
                    <a:pt x="192" y="201"/>
                    <a:pt x="192" y="201"/>
                    <a:pt x="191" y="201"/>
                  </a:cubicBezTo>
                  <a:cubicBezTo>
                    <a:pt x="191" y="201"/>
                    <a:pt x="191" y="200"/>
                    <a:pt x="191" y="200"/>
                  </a:cubicBezTo>
                  <a:cubicBezTo>
                    <a:pt x="191" y="200"/>
                    <a:pt x="191" y="200"/>
                    <a:pt x="191" y="200"/>
                  </a:cubicBezTo>
                  <a:cubicBezTo>
                    <a:pt x="191" y="200"/>
                    <a:pt x="191" y="200"/>
                    <a:pt x="191" y="200"/>
                  </a:cubicBezTo>
                  <a:cubicBezTo>
                    <a:pt x="190" y="200"/>
                    <a:pt x="190" y="200"/>
                    <a:pt x="190" y="200"/>
                  </a:cubicBezTo>
                  <a:cubicBezTo>
                    <a:pt x="190" y="200"/>
                    <a:pt x="190" y="200"/>
                    <a:pt x="190" y="200"/>
                  </a:cubicBezTo>
                  <a:cubicBezTo>
                    <a:pt x="190" y="200"/>
                    <a:pt x="189" y="200"/>
                    <a:pt x="189" y="200"/>
                  </a:cubicBezTo>
                  <a:cubicBezTo>
                    <a:pt x="189" y="199"/>
                    <a:pt x="189" y="199"/>
                    <a:pt x="189" y="199"/>
                  </a:cubicBezTo>
                  <a:cubicBezTo>
                    <a:pt x="189" y="199"/>
                    <a:pt x="189" y="199"/>
                    <a:pt x="189" y="199"/>
                  </a:cubicBezTo>
                  <a:cubicBezTo>
                    <a:pt x="189" y="199"/>
                    <a:pt x="189" y="199"/>
                    <a:pt x="189" y="199"/>
                  </a:cubicBezTo>
                  <a:cubicBezTo>
                    <a:pt x="188" y="199"/>
                    <a:pt x="188" y="199"/>
                    <a:pt x="187" y="199"/>
                  </a:cubicBezTo>
                  <a:cubicBezTo>
                    <a:pt x="179" y="195"/>
                    <a:pt x="169" y="194"/>
                    <a:pt x="157" y="194"/>
                  </a:cubicBezTo>
                  <a:cubicBezTo>
                    <a:pt x="153" y="194"/>
                    <a:pt x="147" y="193"/>
                    <a:pt x="144" y="194"/>
                  </a:cubicBezTo>
                  <a:cubicBezTo>
                    <a:pt x="142" y="194"/>
                    <a:pt x="141" y="194"/>
                    <a:pt x="139" y="194"/>
                  </a:cubicBezTo>
                  <a:cubicBezTo>
                    <a:pt x="139" y="194"/>
                    <a:pt x="139" y="194"/>
                    <a:pt x="139" y="194"/>
                  </a:cubicBezTo>
                  <a:cubicBezTo>
                    <a:pt x="138" y="194"/>
                    <a:pt x="137" y="194"/>
                    <a:pt x="136" y="194"/>
                  </a:cubicBezTo>
                  <a:cubicBezTo>
                    <a:pt x="136" y="194"/>
                    <a:pt x="136" y="195"/>
                    <a:pt x="136" y="195"/>
                  </a:cubicBezTo>
                  <a:cubicBezTo>
                    <a:pt x="135" y="195"/>
                    <a:pt x="134" y="195"/>
                    <a:pt x="133" y="195"/>
                  </a:cubicBezTo>
                  <a:cubicBezTo>
                    <a:pt x="133" y="195"/>
                    <a:pt x="133" y="195"/>
                    <a:pt x="133" y="195"/>
                  </a:cubicBezTo>
                  <a:cubicBezTo>
                    <a:pt x="133" y="195"/>
                    <a:pt x="132" y="195"/>
                    <a:pt x="131" y="195"/>
                  </a:cubicBezTo>
                  <a:cubicBezTo>
                    <a:pt x="131" y="195"/>
                    <a:pt x="131" y="195"/>
                    <a:pt x="131" y="195"/>
                  </a:cubicBezTo>
                  <a:cubicBezTo>
                    <a:pt x="130" y="196"/>
                    <a:pt x="130" y="196"/>
                    <a:pt x="129" y="196"/>
                  </a:cubicBezTo>
                  <a:cubicBezTo>
                    <a:pt x="129" y="196"/>
                    <a:pt x="129" y="196"/>
                    <a:pt x="129" y="196"/>
                  </a:cubicBezTo>
                  <a:cubicBezTo>
                    <a:pt x="128" y="196"/>
                    <a:pt x="128" y="196"/>
                    <a:pt x="128" y="196"/>
                  </a:cubicBezTo>
                  <a:cubicBezTo>
                    <a:pt x="128" y="196"/>
                    <a:pt x="128" y="196"/>
                    <a:pt x="128" y="196"/>
                  </a:cubicBezTo>
                  <a:cubicBezTo>
                    <a:pt x="128" y="196"/>
                    <a:pt x="127" y="196"/>
                    <a:pt x="127" y="196"/>
                  </a:cubicBezTo>
                  <a:cubicBezTo>
                    <a:pt x="127" y="197"/>
                    <a:pt x="127" y="197"/>
                    <a:pt x="127" y="197"/>
                  </a:cubicBezTo>
                  <a:cubicBezTo>
                    <a:pt x="126" y="197"/>
                    <a:pt x="126" y="197"/>
                    <a:pt x="126" y="197"/>
                  </a:cubicBezTo>
                  <a:cubicBezTo>
                    <a:pt x="126" y="197"/>
                    <a:pt x="126" y="197"/>
                    <a:pt x="126" y="198"/>
                  </a:cubicBezTo>
                  <a:cubicBezTo>
                    <a:pt x="125" y="198"/>
                    <a:pt x="125" y="198"/>
                    <a:pt x="124" y="198"/>
                  </a:cubicBezTo>
                  <a:cubicBezTo>
                    <a:pt x="124" y="198"/>
                    <a:pt x="124" y="198"/>
                    <a:pt x="124" y="199"/>
                  </a:cubicBezTo>
                  <a:cubicBezTo>
                    <a:pt x="123" y="199"/>
                    <a:pt x="123" y="199"/>
                    <a:pt x="122" y="199"/>
                  </a:cubicBezTo>
                  <a:cubicBezTo>
                    <a:pt x="122" y="199"/>
                    <a:pt x="122" y="199"/>
                    <a:pt x="122" y="200"/>
                  </a:cubicBezTo>
                  <a:cubicBezTo>
                    <a:pt x="122" y="200"/>
                    <a:pt x="122" y="200"/>
                    <a:pt x="121" y="200"/>
                  </a:cubicBezTo>
                  <a:cubicBezTo>
                    <a:pt x="121" y="200"/>
                    <a:pt x="121" y="200"/>
                    <a:pt x="121" y="200"/>
                  </a:cubicBezTo>
                  <a:cubicBezTo>
                    <a:pt x="121" y="200"/>
                    <a:pt x="121" y="200"/>
                    <a:pt x="120" y="200"/>
                  </a:cubicBezTo>
                  <a:cubicBezTo>
                    <a:pt x="120" y="201"/>
                    <a:pt x="120" y="201"/>
                    <a:pt x="120" y="201"/>
                  </a:cubicBezTo>
                  <a:cubicBezTo>
                    <a:pt x="120" y="201"/>
                    <a:pt x="119" y="201"/>
                    <a:pt x="119" y="201"/>
                  </a:cubicBezTo>
                  <a:cubicBezTo>
                    <a:pt x="119" y="201"/>
                    <a:pt x="119" y="201"/>
                    <a:pt x="119" y="201"/>
                  </a:cubicBezTo>
                  <a:cubicBezTo>
                    <a:pt x="119" y="201"/>
                    <a:pt x="119" y="202"/>
                    <a:pt x="118" y="202"/>
                  </a:cubicBezTo>
                  <a:cubicBezTo>
                    <a:pt x="118" y="202"/>
                    <a:pt x="118" y="202"/>
                    <a:pt x="118" y="202"/>
                  </a:cubicBezTo>
                  <a:cubicBezTo>
                    <a:pt x="118" y="202"/>
                    <a:pt x="117" y="202"/>
                    <a:pt x="117" y="202"/>
                  </a:cubicBezTo>
                  <a:cubicBezTo>
                    <a:pt x="117" y="203"/>
                    <a:pt x="117" y="203"/>
                    <a:pt x="116" y="203"/>
                  </a:cubicBezTo>
                  <a:cubicBezTo>
                    <a:pt x="116" y="203"/>
                    <a:pt x="116" y="203"/>
                    <a:pt x="116" y="203"/>
                  </a:cubicBezTo>
                  <a:cubicBezTo>
                    <a:pt x="116" y="204"/>
                    <a:pt x="115" y="204"/>
                    <a:pt x="115" y="204"/>
                  </a:cubicBezTo>
                  <a:cubicBezTo>
                    <a:pt x="115" y="204"/>
                    <a:pt x="115" y="204"/>
                    <a:pt x="114" y="204"/>
                  </a:cubicBezTo>
                  <a:cubicBezTo>
                    <a:pt x="114" y="205"/>
                    <a:pt x="114" y="205"/>
                    <a:pt x="113" y="206"/>
                  </a:cubicBezTo>
                  <a:cubicBezTo>
                    <a:pt x="113" y="206"/>
                    <a:pt x="113" y="206"/>
                    <a:pt x="113" y="206"/>
                  </a:cubicBezTo>
                  <a:cubicBezTo>
                    <a:pt x="112" y="206"/>
                    <a:pt x="112" y="207"/>
                    <a:pt x="112" y="207"/>
                  </a:cubicBezTo>
                  <a:cubicBezTo>
                    <a:pt x="111" y="207"/>
                    <a:pt x="111" y="207"/>
                    <a:pt x="111" y="207"/>
                  </a:cubicBezTo>
                  <a:cubicBezTo>
                    <a:pt x="110" y="208"/>
                    <a:pt x="110" y="208"/>
                    <a:pt x="109" y="209"/>
                  </a:cubicBezTo>
                  <a:cubicBezTo>
                    <a:pt x="109" y="209"/>
                    <a:pt x="109" y="209"/>
                    <a:pt x="109" y="209"/>
                  </a:cubicBezTo>
                  <a:cubicBezTo>
                    <a:pt x="108" y="210"/>
                    <a:pt x="108" y="210"/>
                    <a:pt x="108" y="210"/>
                  </a:cubicBezTo>
                  <a:cubicBezTo>
                    <a:pt x="107" y="211"/>
                    <a:pt x="107" y="211"/>
                    <a:pt x="107" y="211"/>
                  </a:cubicBezTo>
                  <a:cubicBezTo>
                    <a:pt x="107" y="211"/>
                    <a:pt x="107" y="211"/>
                    <a:pt x="107" y="211"/>
                  </a:cubicBezTo>
                  <a:cubicBezTo>
                    <a:pt x="106" y="211"/>
                    <a:pt x="106" y="211"/>
                    <a:pt x="106" y="211"/>
                  </a:cubicBezTo>
                  <a:cubicBezTo>
                    <a:pt x="105" y="213"/>
                    <a:pt x="104" y="214"/>
                    <a:pt x="103" y="215"/>
                  </a:cubicBezTo>
                  <a:cubicBezTo>
                    <a:pt x="103" y="215"/>
                    <a:pt x="103" y="215"/>
                    <a:pt x="102" y="215"/>
                  </a:cubicBezTo>
                  <a:cubicBezTo>
                    <a:pt x="100" y="217"/>
                    <a:pt x="98" y="219"/>
                    <a:pt x="96" y="222"/>
                  </a:cubicBezTo>
                  <a:cubicBezTo>
                    <a:pt x="96" y="222"/>
                    <a:pt x="95" y="222"/>
                    <a:pt x="95" y="222"/>
                  </a:cubicBezTo>
                  <a:cubicBezTo>
                    <a:pt x="95" y="222"/>
                    <a:pt x="94" y="223"/>
                    <a:pt x="93" y="224"/>
                  </a:cubicBezTo>
                  <a:cubicBezTo>
                    <a:pt x="93" y="224"/>
                    <a:pt x="93" y="224"/>
                    <a:pt x="93" y="224"/>
                  </a:cubicBezTo>
                  <a:cubicBezTo>
                    <a:pt x="93" y="224"/>
                    <a:pt x="93" y="225"/>
                    <a:pt x="93" y="225"/>
                  </a:cubicBezTo>
                  <a:cubicBezTo>
                    <a:pt x="93" y="225"/>
                    <a:pt x="92" y="225"/>
                    <a:pt x="92" y="225"/>
                  </a:cubicBezTo>
                  <a:cubicBezTo>
                    <a:pt x="92" y="225"/>
                    <a:pt x="92" y="226"/>
                    <a:pt x="91" y="226"/>
                  </a:cubicBezTo>
                  <a:cubicBezTo>
                    <a:pt x="87" y="231"/>
                    <a:pt x="82" y="235"/>
                    <a:pt x="78" y="240"/>
                  </a:cubicBezTo>
                  <a:cubicBezTo>
                    <a:pt x="78" y="241"/>
                    <a:pt x="77" y="242"/>
                    <a:pt x="76" y="242"/>
                  </a:cubicBezTo>
                  <a:cubicBezTo>
                    <a:pt x="76" y="243"/>
                    <a:pt x="76" y="243"/>
                    <a:pt x="76" y="243"/>
                  </a:cubicBezTo>
                  <a:cubicBezTo>
                    <a:pt x="76" y="243"/>
                    <a:pt x="75" y="243"/>
                    <a:pt x="75" y="243"/>
                  </a:cubicBezTo>
                  <a:cubicBezTo>
                    <a:pt x="75" y="243"/>
                    <a:pt x="75" y="244"/>
                    <a:pt x="75" y="244"/>
                  </a:cubicBezTo>
                  <a:cubicBezTo>
                    <a:pt x="75" y="244"/>
                    <a:pt x="74" y="244"/>
                    <a:pt x="74" y="244"/>
                  </a:cubicBezTo>
                  <a:cubicBezTo>
                    <a:pt x="74" y="245"/>
                    <a:pt x="74" y="245"/>
                    <a:pt x="74" y="245"/>
                  </a:cubicBezTo>
                  <a:cubicBezTo>
                    <a:pt x="73" y="246"/>
                    <a:pt x="73" y="246"/>
                    <a:pt x="72" y="247"/>
                  </a:cubicBezTo>
                  <a:cubicBezTo>
                    <a:pt x="72" y="247"/>
                    <a:pt x="72" y="247"/>
                    <a:pt x="72" y="248"/>
                  </a:cubicBezTo>
                  <a:cubicBezTo>
                    <a:pt x="72" y="248"/>
                    <a:pt x="71" y="248"/>
                    <a:pt x="71" y="249"/>
                  </a:cubicBezTo>
                  <a:cubicBezTo>
                    <a:pt x="71" y="249"/>
                    <a:pt x="71" y="249"/>
                    <a:pt x="71" y="249"/>
                  </a:cubicBezTo>
                  <a:cubicBezTo>
                    <a:pt x="70" y="250"/>
                    <a:pt x="70" y="250"/>
                    <a:pt x="69" y="250"/>
                  </a:cubicBezTo>
                  <a:cubicBezTo>
                    <a:pt x="69" y="251"/>
                    <a:pt x="69" y="251"/>
                    <a:pt x="69" y="251"/>
                  </a:cubicBezTo>
                  <a:cubicBezTo>
                    <a:pt x="69" y="251"/>
                    <a:pt x="68" y="252"/>
                    <a:pt x="68" y="252"/>
                  </a:cubicBezTo>
                  <a:cubicBezTo>
                    <a:pt x="68" y="252"/>
                    <a:pt x="68" y="253"/>
                    <a:pt x="68" y="253"/>
                  </a:cubicBezTo>
                  <a:cubicBezTo>
                    <a:pt x="67" y="253"/>
                    <a:pt x="67" y="253"/>
                    <a:pt x="67" y="253"/>
                  </a:cubicBezTo>
                  <a:cubicBezTo>
                    <a:pt x="67" y="254"/>
                    <a:pt x="67" y="254"/>
                    <a:pt x="67" y="254"/>
                  </a:cubicBezTo>
                  <a:cubicBezTo>
                    <a:pt x="66" y="254"/>
                    <a:pt x="66" y="255"/>
                    <a:pt x="66" y="255"/>
                  </a:cubicBezTo>
                  <a:cubicBezTo>
                    <a:pt x="66" y="255"/>
                    <a:pt x="66" y="255"/>
                    <a:pt x="66" y="256"/>
                  </a:cubicBezTo>
                  <a:cubicBezTo>
                    <a:pt x="65" y="256"/>
                    <a:pt x="65" y="256"/>
                    <a:pt x="65" y="256"/>
                  </a:cubicBezTo>
                  <a:cubicBezTo>
                    <a:pt x="65" y="256"/>
                    <a:pt x="65" y="257"/>
                    <a:pt x="65" y="257"/>
                  </a:cubicBezTo>
                  <a:cubicBezTo>
                    <a:pt x="64" y="257"/>
                    <a:pt x="64" y="257"/>
                    <a:pt x="64" y="258"/>
                  </a:cubicBezTo>
                  <a:cubicBezTo>
                    <a:pt x="64" y="258"/>
                    <a:pt x="64" y="258"/>
                    <a:pt x="64" y="258"/>
                  </a:cubicBezTo>
                  <a:cubicBezTo>
                    <a:pt x="63" y="258"/>
                    <a:pt x="63" y="259"/>
                    <a:pt x="63" y="259"/>
                  </a:cubicBezTo>
                  <a:cubicBezTo>
                    <a:pt x="63" y="259"/>
                    <a:pt x="63" y="259"/>
                    <a:pt x="63" y="260"/>
                  </a:cubicBezTo>
                  <a:cubicBezTo>
                    <a:pt x="62" y="260"/>
                    <a:pt x="62" y="260"/>
                    <a:pt x="62" y="260"/>
                  </a:cubicBezTo>
                  <a:cubicBezTo>
                    <a:pt x="62" y="260"/>
                    <a:pt x="62" y="260"/>
                    <a:pt x="62" y="260"/>
                  </a:cubicBezTo>
                  <a:cubicBezTo>
                    <a:pt x="62" y="261"/>
                    <a:pt x="62" y="261"/>
                    <a:pt x="62" y="261"/>
                  </a:cubicBezTo>
                  <a:cubicBezTo>
                    <a:pt x="61" y="261"/>
                    <a:pt x="61" y="262"/>
                    <a:pt x="61" y="262"/>
                  </a:cubicBezTo>
                  <a:cubicBezTo>
                    <a:pt x="61" y="262"/>
                    <a:pt x="61" y="262"/>
                    <a:pt x="61" y="263"/>
                  </a:cubicBezTo>
                  <a:cubicBezTo>
                    <a:pt x="60" y="263"/>
                    <a:pt x="60" y="263"/>
                    <a:pt x="60" y="264"/>
                  </a:cubicBezTo>
                  <a:cubicBezTo>
                    <a:pt x="60" y="264"/>
                    <a:pt x="60" y="264"/>
                    <a:pt x="59" y="264"/>
                  </a:cubicBezTo>
                  <a:cubicBezTo>
                    <a:pt x="59" y="265"/>
                    <a:pt x="59" y="265"/>
                    <a:pt x="59" y="265"/>
                  </a:cubicBezTo>
                  <a:cubicBezTo>
                    <a:pt x="59" y="265"/>
                    <a:pt x="59" y="265"/>
                    <a:pt x="58" y="266"/>
                  </a:cubicBezTo>
                  <a:cubicBezTo>
                    <a:pt x="58" y="266"/>
                    <a:pt x="58" y="266"/>
                    <a:pt x="58" y="266"/>
                  </a:cubicBezTo>
                  <a:cubicBezTo>
                    <a:pt x="58" y="267"/>
                    <a:pt x="57" y="268"/>
                    <a:pt x="56" y="268"/>
                  </a:cubicBezTo>
                  <a:cubicBezTo>
                    <a:pt x="55" y="269"/>
                    <a:pt x="54" y="270"/>
                    <a:pt x="53" y="272"/>
                  </a:cubicBezTo>
                  <a:cubicBezTo>
                    <a:pt x="53" y="272"/>
                    <a:pt x="53" y="272"/>
                    <a:pt x="52" y="272"/>
                  </a:cubicBezTo>
                  <a:cubicBezTo>
                    <a:pt x="52" y="272"/>
                    <a:pt x="52" y="273"/>
                    <a:pt x="51" y="273"/>
                  </a:cubicBezTo>
                  <a:cubicBezTo>
                    <a:pt x="51" y="273"/>
                    <a:pt x="51" y="273"/>
                    <a:pt x="50" y="273"/>
                  </a:cubicBezTo>
                  <a:cubicBezTo>
                    <a:pt x="50" y="274"/>
                    <a:pt x="50" y="274"/>
                    <a:pt x="50" y="274"/>
                  </a:cubicBezTo>
                  <a:cubicBezTo>
                    <a:pt x="50" y="274"/>
                    <a:pt x="50" y="274"/>
                    <a:pt x="50" y="274"/>
                  </a:cubicBezTo>
                  <a:cubicBezTo>
                    <a:pt x="50" y="274"/>
                    <a:pt x="49" y="275"/>
                    <a:pt x="49" y="275"/>
                  </a:cubicBezTo>
                  <a:cubicBezTo>
                    <a:pt x="49" y="275"/>
                    <a:pt x="49" y="275"/>
                    <a:pt x="49" y="275"/>
                  </a:cubicBezTo>
                  <a:cubicBezTo>
                    <a:pt x="48" y="275"/>
                    <a:pt x="48" y="275"/>
                    <a:pt x="48" y="276"/>
                  </a:cubicBezTo>
                  <a:cubicBezTo>
                    <a:pt x="48" y="276"/>
                    <a:pt x="47" y="276"/>
                    <a:pt x="47" y="276"/>
                  </a:cubicBezTo>
                  <a:cubicBezTo>
                    <a:pt x="47" y="276"/>
                    <a:pt x="47" y="277"/>
                    <a:pt x="47" y="277"/>
                  </a:cubicBezTo>
                  <a:cubicBezTo>
                    <a:pt x="46" y="277"/>
                    <a:pt x="46" y="277"/>
                    <a:pt x="46" y="277"/>
                  </a:cubicBezTo>
                  <a:cubicBezTo>
                    <a:pt x="46" y="277"/>
                    <a:pt x="45" y="278"/>
                    <a:pt x="45" y="278"/>
                  </a:cubicBezTo>
                  <a:cubicBezTo>
                    <a:pt x="45" y="278"/>
                    <a:pt x="45" y="278"/>
                    <a:pt x="44" y="278"/>
                  </a:cubicBezTo>
                  <a:cubicBezTo>
                    <a:pt x="44" y="278"/>
                    <a:pt x="44" y="278"/>
                    <a:pt x="44" y="279"/>
                  </a:cubicBezTo>
                  <a:cubicBezTo>
                    <a:pt x="44" y="279"/>
                    <a:pt x="43" y="279"/>
                    <a:pt x="43" y="279"/>
                  </a:cubicBezTo>
                  <a:cubicBezTo>
                    <a:pt x="43" y="279"/>
                    <a:pt x="43" y="279"/>
                    <a:pt x="43" y="279"/>
                  </a:cubicBezTo>
                  <a:cubicBezTo>
                    <a:pt x="43" y="279"/>
                    <a:pt x="43" y="279"/>
                    <a:pt x="42" y="279"/>
                  </a:cubicBezTo>
                  <a:cubicBezTo>
                    <a:pt x="42" y="280"/>
                    <a:pt x="42" y="280"/>
                    <a:pt x="42" y="280"/>
                  </a:cubicBezTo>
                  <a:cubicBezTo>
                    <a:pt x="42" y="280"/>
                    <a:pt x="42" y="280"/>
                    <a:pt x="41" y="280"/>
                  </a:cubicBezTo>
                  <a:cubicBezTo>
                    <a:pt x="41" y="280"/>
                    <a:pt x="41" y="281"/>
                    <a:pt x="41" y="281"/>
                  </a:cubicBezTo>
                  <a:cubicBezTo>
                    <a:pt x="41" y="281"/>
                    <a:pt x="40" y="281"/>
                    <a:pt x="40" y="281"/>
                  </a:cubicBezTo>
                  <a:cubicBezTo>
                    <a:pt x="40" y="281"/>
                    <a:pt x="40" y="281"/>
                    <a:pt x="40" y="281"/>
                  </a:cubicBezTo>
                  <a:cubicBezTo>
                    <a:pt x="40" y="281"/>
                    <a:pt x="39" y="281"/>
                    <a:pt x="39" y="281"/>
                  </a:cubicBezTo>
                  <a:cubicBezTo>
                    <a:pt x="39" y="282"/>
                    <a:pt x="39" y="282"/>
                    <a:pt x="39" y="282"/>
                  </a:cubicBezTo>
                  <a:cubicBezTo>
                    <a:pt x="39" y="282"/>
                    <a:pt x="38" y="282"/>
                    <a:pt x="38" y="282"/>
                  </a:cubicBezTo>
                  <a:cubicBezTo>
                    <a:pt x="38" y="282"/>
                    <a:pt x="38" y="283"/>
                    <a:pt x="38" y="283"/>
                  </a:cubicBezTo>
                  <a:cubicBezTo>
                    <a:pt x="38" y="283"/>
                    <a:pt x="37" y="283"/>
                    <a:pt x="37" y="283"/>
                  </a:cubicBezTo>
                  <a:cubicBezTo>
                    <a:pt x="37" y="283"/>
                    <a:pt x="37" y="283"/>
                    <a:pt x="37" y="284"/>
                  </a:cubicBezTo>
                  <a:cubicBezTo>
                    <a:pt x="36" y="284"/>
                    <a:pt x="36" y="284"/>
                    <a:pt x="36" y="284"/>
                  </a:cubicBezTo>
                  <a:cubicBezTo>
                    <a:pt x="36" y="284"/>
                    <a:pt x="36" y="284"/>
                    <a:pt x="36" y="284"/>
                  </a:cubicBezTo>
                  <a:cubicBezTo>
                    <a:pt x="35" y="284"/>
                    <a:pt x="35" y="284"/>
                    <a:pt x="35" y="284"/>
                  </a:cubicBezTo>
                  <a:cubicBezTo>
                    <a:pt x="35" y="284"/>
                    <a:pt x="35" y="284"/>
                    <a:pt x="35" y="285"/>
                  </a:cubicBezTo>
                  <a:cubicBezTo>
                    <a:pt x="35" y="285"/>
                    <a:pt x="35" y="285"/>
                    <a:pt x="34" y="285"/>
                  </a:cubicBezTo>
                  <a:cubicBezTo>
                    <a:pt x="34" y="285"/>
                    <a:pt x="34" y="285"/>
                    <a:pt x="34" y="285"/>
                  </a:cubicBezTo>
                  <a:cubicBezTo>
                    <a:pt x="33" y="285"/>
                    <a:pt x="33" y="286"/>
                    <a:pt x="33" y="286"/>
                  </a:cubicBezTo>
                  <a:cubicBezTo>
                    <a:pt x="32" y="286"/>
                    <a:pt x="32" y="286"/>
                    <a:pt x="32" y="286"/>
                  </a:cubicBezTo>
                  <a:cubicBezTo>
                    <a:pt x="32" y="286"/>
                    <a:pt x="31" y="287"/>
                    <a:pt x="31" y="287"/>
                  </a:cubicBezTo>
                  <a:cubicBezTo>
                    <a:pt x="31" y="287"/>
                    <a:pt x="31" y="287"/>
                    <a:pt x="31" y="287"/>
                  </a:cubicBezTo>
                  <a:cubicBezTo>
                    <a:pt x="31" y="287"/>
                    <a:pt x="31" y="287"/>
                    <a:pt x="30" y="287"/>
                  </a:cubicBezTo>
                  <a:cubicBezTo>
                    <a:pt x="30" y="287"/>
                    <a:pt x="30" y="287"/>
                    <a:pt x="30" y="287"/>
                  </a:cubicBezTo>
                  <a:cubicBezTo>
                    <a:pt x="30" y="287"/>
                    <a:pt x="30" y="287"/>
                    <a:pt x="30" y="287"/>
                  </a:cubicBezTo>
                  <a:cubicBezTo>
                    <a:pt x="30" y="288"/>
                    <a:pt x="30" y="288"/>
                    <a:pt x="30" y="288"/>
                  </a:cubicBezTo>
                  <a:cubicBezTo>
                    <a:pt x="29" y="288"/>
                    <a:pt x="29" y="288"/>
                    <a:pt x="29" y="288"/>
                  </a:cubicBezTo>
                  <a:cubicBezTo>
                    <a:pt x="29" y="288"/>
                    <a:pt x="29" y="288"/>
                    <a:pt x="29" y="288"/>
                  </a:cubicBezTo>
                  <a:cubicBezTo>
                    <a:pt x="28" y="289"/>
                    <a:pt x="28" y="289"/>
                    <a:pt x="27" y="289"/>
                  </a:cubicBezTo>
                  <a:cubicBezTo>
                    <a:pt x="27" y="289"/>
                    <a:pt x="27" y="289"/>
                    <a:pt x="27" y="289"/>
                  </a:cubicBezTo>
                  <a:cubicBezTo>
                    <a:pt x="26" y="290"/>
                    <a:pt x="26" y="290"/>
                    <a:pt x="25" y="290"/>
                  </a:cubicBezTo>
                  <a:cubicBezTo>
                    <a:pt x="25" y="290"/>
                    <a:pt x="25" y="291"/>
                    <a:pt x="24" y="291"/>
                  </a:cubicBezTo>
                  <a:cubicBezTo>
                    <a:pt x="24" y="291"/>
                    <a:pt x="24" y="291"/>
                    <a:pt x="24" y="291"/>
                  </a:cubicBezTo>
                  <a:cubicBezTo>
                    <a:pt x="24" y="291"/>
                    <a:pt x="24" y="291"/>
                    <a:pt x="24" y="291"/>
                  </a:cubicBezTo>
                  <a:cubicBezTo>
                    <a:pt x="24" y="291"/>
                    <a:pt x="23" y="291"/>
                    <a:pt x="23" y="291"/>
                  </a:cubicBezTo>
                  <a:cubicBezTo>
                    <a:pt x="23" y="291"/>
                    <a:pt x="23" y="291"/>
                    <a:pt x="23" y="292"/>
                  </a:cubicBezTo>
                  <a:cubicBezTo>
                    <a:pt x="23" y="292"/>
                    <a:pt x="23" y="292"/>
                    <a:pt x="22" y="292"/>
                  </a:cubicBezTo>
                  <a:cubicBezTo>
                    <a:pt x="22" y="292"/>
                    <a:pt x="22" y="292"/>
                    <a:pt x="22" y="292"/>
                  </a:cubicBezTo>
                  <a:cubicBezTo>
                    <a:pt x="22" y="292"/>
                    <a:pt x="22" y="292"/>
                    <a:pt x="21" y="292"/>
                  </a:cubicBezTo>
                  <a:cubicBezTo>
                    <a:pt x="21" y="292"/>
                    <a:pt x="21" y="293"/>
                    <a:pt x="21" y="293"/>
                  </a:cubicBezTo>
                  <a:cubicBezTo>
                    <a:pt x="21" y="293"/>
                    <a:pt x="21" y="293"/>
                    <a:pt x="21" y="293"/>
                  </a:cubicBezTo>
                  <a:cubicBezTo>
                    <a:pt x="21" y="293"/>
                    <a:pt x="21" y="293"/>
                    <a:pt x="21" y="293"/>
                  </a:cubicBezTo>
                  <a:cubicBezTo>
                    <a:pt x="20" y="293"/>
                    <a:pt x="20" y="293"/>
                    <a:pt x="20" y="293"/>
                  </a:cubicBezTo>
                  <a:cubicBezTo>
                    <a:pt x="20" y="293"/>
                    <a:pt x="20" y="293"/>
                    <a:pt x="20" y="293"/>
                  </a:cubicBezTo>
                  <a:cubicBezTo>
                    <a:pt x="20" y="293"/>
                    <a:pt x="19" y="293"/>
                    <a:pt x="19" y="293"/>
                  </a:cubicBezTo>
                  <a:cubicBezTo>
                    <a:pt x="19" y="294"/>
                    <a:pt x="19" y="294"/>
                    <a:pt x="19" y="294"/>
                  </a:cubicBezTo>
                  <a:cubicBezTo>
                    <a:pt x="19" y="294"/>
                    <a:pt x="18" y="294"/>
                    <a:pt x="18" y="294"/>
                  </a:cubicBezTo>
                  <a:cubicBezTo>
                    <a:pt x="18" y="294"/>
                    <a:pt x="18" y="294"/>
                    <a:pt x="18" y="294"/>
                  </a:cubicBezTo>
                  <a:cubicBezTo>
                    <a:pt x="18" y="294"/>
                    <a:pt x="18" y="294"/>
                    <a:pt x="17" y="294"/>
                  </a:cubicBezTo>
                  <a:cubicBezTo>
                    <a:pt x="17" y="294"/>
                    <a:pt x="17" y="295"/>
                    <a:pt x="17" y="295"/>
                  </a:cubicBezTo>
                  <a:cubicBezTo>
                    <a:pt x="17" y="295"/>
                    <a:pt x="17" y="295"/>
                    <a:pt x="17" y="295"/>
                  </a:cubicBezTo>
                  <a:cubicBezTo>
                    <a:pt x="17" y="295"/>
                    <a:pt x="17" y="295"/>
                    <a:pt x="17" y="295"/>
                  </a:cubicBezTo>
                  <a:cubicBezTo>
                    <a:pt x="17" y="295"/>
                    <a:pt x="16" y="295"/>
                    <a:pt x="16" y="295"/>
                  </a:cubicBezTo>
                  <a:cubicBezTo>
                    <a:pt x="16" y="295"/>
                    <a:pt x="16" y="295"/>
                    <a:pt x="16" y="295"/>
                  </a:cubicBezTo>
                  <a:cubicBezTo>
                    <a:pt x="16" y="295"/>
                    <a:pt x="16" y="295"/>
                    <a:pt x="15" y="295"/>
                  </a:cubicBezTo>
                  <a:cubicBezTo>
                    <a:pt x="15" y="296"/>
                    <a:pt x="15" y="296"/>
                    <a:pt x="15" y="296"/>
                  </a:cubicBezTo>
                  <a:cubicBezTo>
                    <a:pt x="15" y="296"/>
                    <a:pt x="15" y="296"/>
                    <a:pt x="15" y="296"/>
                  </a:cubicBezTo>
                  <a:cubicBezTo>
                    <a:pt x="15" y="296"/>
                    <a:pt x="15" y="296"/>
                    <a:pt x="15" y="296"/>
                  </a:cubicBezTo>
                  <a:cubicBezTo>
                    <a:pt x="14" y="296"/>
                    <a:pt x="14" y="296"/>
                    <a:pt x="14" y="296"/>
                  </a:cubicBezTo>
                  <a:cubicBezTo>
                    <a:pt x="14" y="296"/>
                    <a:pt x="14" y="297"/>
                    <a:pt x="14" y="297"/>
                  </a:cubicBezTo>
                  <a:cubicBezTo>
                    <a:pt x="13" y="297"/>
                    <a:pt x="13" y="297"/>
                    <a:pt x="12" y="297"/>
                  </a:cubicBezTo>
                  <a:cubicBezTo>
                    <a:pt x="12" y="297"/>
                    <a:pt x="12" y="297"/>
                    <a:pt x="12" y="298"/>
                  </a:cubicBezTo>
                  <a:cubicBezTo>
                    <a:pt x="12" y="298"/>
                    <a:pt x="12" y="298"/>
                    <a:pt x="12" y="298"/>
                  </a:cubicBezTo>
                  <a:cubicBezTo>
                    <a:pt x="12" y="298"/>
                    <a:pt x="12" y="298"/>
                    <a:pt x="12" y="298"/>
                  </a:cubicBezTo>
                  <a:cubicBezTo>
                    <a:pt x="11" y="298"/>
                    <a:pt x="11" y="298"/>
                    <a:pt x="11" y="298"/>
                  </a:cubicBezTo>
                  <a:cubicBezTo>
                    <a:pt x="11" y="298"/>
                    <a:pt x="11" y="298"/>
                    <a:pt x="11" y="298"/>
                  </a:cubicBezTo>
                  <a:cubicBezTo>
                    <a:pt x="11" y="298"/>
                    <a:pt x="10" y="298"/>
                    <a:pt x="10" y="298"/>
                  </a:cubicBezTo>
                  <a:cubicBezTo>
                    <a:pt x="10" y="298"/>
                    <a:pt x="10" y="298"/>
                    <a:pt x="10" y="299"/>
                  </a:cubicBezTo>
                  <a:cubicBezTo>
                    <a:pt x="10" y="299"/>
                    <a:pt x="9" y="299"/>
                    <a:pt x="9" y="299"/>
                  </a:cubicBezTo>
                  <a:cubicBezTo>
                    <a:pt x="9" y="299"/>
                    <a:pt x="9" y="298"/>
                    <a:pt x="9" y="298"/>
                  </a:cubicBezTo>
                  <a:cubicBezTo>
                    <a:pt x="9" y="298"/>
                    <a:pt x="9" y="298"/>
                    <a:pt x="9" y="298"/>
                  </a:cubicBezTo>
                  <a:cubicBezTo>
                    <a:pt x="9" y="297"/>
                    <a:pt x="8" y="296"/>
                    <a:pt x="8" y="295"/>
                  </a:cubicBezTo>
                  <a:cubicBezTo>
                    <a:pt x="8" y="295"/>
                    <a:pt x="8" y="295"/>
                    <a:pt x="8" y="295"/>
                  </a:cubicBezTo>
                  <a:cubicBezTo>
                    <a:pt x="8" y="294"/>
                    <a:pt x="8" y="294"/>
                    <a:pt x="8" y="294"/>
                  </a:cubicBezTo>
                  <a:cubicBezTo>
                    <a:pt x="6" y="290"/>
                    <a:pt x="5" y="286"/>
                    <a:pt x="4" y="283"/>
                  </a:cubicBezTo>
                  <a:cubicBezTo>
                    <a:pt x="4" y="282"/>
                    <a:pt x="4" y="282"/>
                    <a:pt x="4" y="281"/>
                  </a:cubicBezTo>
                  <a:cubicBezTo>
                    <a:pt x="3" y="277"/>
                    <a:pt x="2" y="272"/>
                    <a:pt x="1" y="268"/>
                  </a:cubicBezTo>
                  <a:cubicBezTo>
                    <a:pt x="1" y="267"/>
                    <a:pt x="0" y="265"/>
                    <a:pt x="0" y="264"/>
                  </a:cubicBezTo>
                  <a:cubicBezTo>
                    <a:pt x="0" y="264"/>
                    <a:pt x="0" y="264"/>
                    <a:pt x="0" y="264"/>
                  </a:cubicBezTo>
                  <a:cubicBezTo>
                    <a:pt x="0" y="263"/>
                    <a:pt x="0" y="262"/>
                    <a:pt x="0" y="260"/>
                  </a:cubicBezTo>
                  <a:cubicBezTo>
                    <a:pt x="0" y="260"/>
                    <a:pt x="0" y="260"/>
                    <a:pt x="0" y="260"/>
                  </a:cubicBezTo>
                  <a:cubicBezTo>
                    <a:pt x="0" y="259"/>
                    <a:pt x="0" y="257"/>
                    <a:pt x="0" y="255"/>
                  </a:cubicBezTo>
                  <a:cubicBezTo>
                    <a:pt x="0" y="255"/>
                    <a:pt x="0" y="255"/>
                    <a:pt x="0" y="255"/>
                  </a:cubicBezTo>
                  <a:cubicBezTo>
                    <a:pt x="0" y="255"/>
                    <a:pt x="0" y="255"/>
                    <a:pt x="0" y="254"/>
                  </a:cubicBezTo>
                  <a:cubicBezTo>
                    <a:pt x="0" y="254"/>
                    <a:pt x="1" y="254"/>
                    <a:pt x="1" y="254"/>
                  </a:cubicBezTo>
                  <a:cubicBezTo>
                    <a:pt x="1" y="254"/>
                    <a:pt x="1" y="254"/>
                    <a:pt x="1" y="253"/>
                  </a:cubicBezTo>
                  <a:cubicBezTo>
                    <a:pt x="1" y="253"/>
                    <a:pt x="1" y="253"/>
                    <a:pt x="1" y="253"/>
                  </a:cubicBezTo>
                  <a:cubicBezTo>
                    <a:pt x="1" y="252"/>
                    <a:pt x="2" y="251"/>
                    <a:pt x="2" y="250"/>
                  </a:cubicBezTo>
                  <a:cubicBezTo>
                    <a:pt x="2" y="250"/>
                    <a:pt x="3" y="250"/>
                    <a:pt x="3" y="250"/>
                  </a:cubicBezTo>
                  <a:cubicBezTo>
                    <a:pt x="3" y="249"/>
                    <a:pt x="3" y="249"/>
                    <a:pt x="3" y="248"/>
                  </a:cubicBezTo>
                  <a:cubicBezTo>
                    <a:pt x="4" y="248"/>
                    <a:pt x="4" y="248"/>
                    <a:pt x="4" y="248"/>
                  </a:cubicBezTo>
                  <a:cubicBezTo>
                    <a:pt x="4" y="248"/>
                    <a:pt x="4" y="247"/>
                    <a:pt x="4" y="247"/>
                  </a:cubicBezTo>
                  <a:cubicBezTo>
                    <a:pt x="4" y="247"/>
                    <a:pt x="5" y="247"/>
                    <a:pt x="5" y="246"/>
                  </a:cubicBezTo>
                  <a:cubicBezTo>
                    <a:pt x="5" y="246"/>
                    <a:pt x="5" y="246"/>
                    <a:pt x="5" y="246"/>
                  </a:cubicBezTo>
                  <a:cubicBezTo>
                    <a:pt x="5" y="246"/>
                    <a:pt x="5" y="246"/>
                    <a:pt x="6" y="245"/>
                  </a:cubicBezTo>
                  <a:cubicBezTo>
                    <a:pt x="6" y="245"/>
                    <a:pt x="6" y="245"/>
                    <a:pt x="6" y="245"/>
                  </a:cubicBezTo>
                  <a:cubicBezTo>
                    <a:pt x="6" y="244"/>
                    <a:pt x="6" y="244"/>
                    <a:pt x="7" y="244"/>
                  </a:cubicBezTo>
                  <a:cubicBezTo>
                    <a:pt x="7" y="244"/>
                    <a:pt x="7" y="244"/>
                    <a:pt x="7" y="243"/>
                  </a:cubicBezTo>
                  <a:cubicBezTo>
                    <a:pt x="7" y="243"/>
                    <a:pt x="7" y="243"/>
                    <a:pt x="8" y="243"/>
                  </a:cubicBezTo>
                  <a:cubicBezTo>
                    <a:pt x="8" y="242"/>
                    <a:pt x="8" y="242"/>
                    <a:pt x="8" y="242"/>
                  </a:cubicBezTo>
                  <a:cubicBezTo>
                    <a:pt x="8" y="242"/>
                    <a:pt x="8" y="241"/>
                    <a:pt x="9" y="241"/>
                  </a:cubicBezTo>
                  <a:cubicBezTo>
                    <a:pt x="9" y="241"/>
                    <a:pt x="9" y="241"/>
                    <a:pt x="9" y="241"/>
                  </a:cubicBezTo>
                  <a:cubicBezTo>
                    <a:pt x="9" y="240"/>
                    <a:pt x="10" y="240"/>
                    <a:pt x="10" y="239"/>
                  </a:cubicBezTo>
                  <a:cubicBezTo>
                    <a:pt x="10" y="239"/>
                    <a:pt x="10" y="239"/>
                    <a:pt x="10" y="239"/>
                  </a:cubicBezTo>
                  <a:cubicBezTo>
                    <a:pt x="11" y="238"/>
                    <a:pt x="11" y="238"/>
                    <a:pt x="12" y="237"/>
                  </a:cubicBezTo>
                  <a:cubicBezTo>
                    <a:pt x="12" y="237"/>
                    <a:pt x="12" y="237"/>
                    <a:pt x="12" y="237"/>
                  </a:cubicBezTo>
                  <a:cubicBezTo>
                    <a:pt x="12" y="236"/>
                    <a:pt x="13" y="236"/>
                    <a:pt x="14" y="235"/>
                  </a:cubicBezTo>
                  <a:cubicBezTo>
                    <a:pt x="14" y="235"/>
                    <a:pt x="14" y="235"/>
                    <a:pt x="14" y="235"/>
                  </a:cubicBezTo>
                  <a:cubicBezTo>
                    <a:pt x="15" y="234"/>
                    <a:pt x="16" y="233"/>
                    <a:pt x="17" y="232"/>
                  </a:cubicBezTo>
                  <a:cubicBezTo>
                    <a:pt x="17" y="232"/>
                    <a:pt x="17" y="231"/>
                    <a:pt x="17" y="231"/>
                  </a:cubicBezTo>
                  <a:cubicBezTo>
                    <a:pt x="19" y="229"/>
                    <a:pt x="22" y="226"/>
                    <a:pt x="24" y="224"/>
                  </a:cubicBezTo>
                  <a:cubicBezTo>
                    <a:pt x="25" y="223"/>
                    <a:pt x="25" y="223"/>
                    <a:pt x="25" y="222"/>
                  </a:cubicBezTo>
                  <a:cubicBezTo>
                    <a:pt x="25" y="222"/>
                    <a:pt x="25" y="222"/>
                    <a:pt x="25" y="222"/>
                  </a:cubicBezTo>
                  <a:cubicBezTo>
                    <a:pt x="25" y="222"/>
                    <a:pt x="25" y="222"/>
                    <a:pt x="25" y="222"/>
                  </a:cubicBezTo>
                  <a:cubicBezTo>
                    <a:pt x="25" y="222"/>
                    <a:pt x="25" y="222"/>
                    <a:pt x="26" y="222"/>
                  </a:cubicBezTo>
                  <a:cubicBezTo>
                    <a:pt x="26" y="221"/>
                    <a:pt x="26" y="221"/>
                    <a:pt x="26" y="221"/>
                  </a:cubicBezTo>
                  <a:cubicBezTo>
                    <a:pt x="26" y="221"/>
                    <a:pt x="26" y="221"/>
                    <a:pt x="26" y="221"/>
                  </a:cubicBezTo>
                  <a:cubicBezTo>
                    <a:pt x="26" y="221"/>
                    <a:pt x="26" y="220"/>
                    <a:pt x="26" y="220"/>
                  </a:cubicBezTo>
                  <a:cubicBezTo>
                    <a:pt x="26" y="220"/>
                    <a:pt x="26" y="220"/>
                    <a:pt x="26" y="220"/>
                  </a:cubicBezTo>
                  <a:cubicBezTo>
                    <a:pt x="26" y="220"/>
                    <a:pt x="26" y="220"/>
                    <a:pt x="26" y="220"/>
                  </a:cubicBezTo>
                  <a:cubicBezTo>
                    <a:pt x="26" y="220"/>
                    <a:pt x="26" y="220"/>
                    <a:pt x="27" y="220"/>
                  </a:cubicBezTo>
                  <a:cubicBezTo>
                    <a:pt x="27" y="219"/>
                    <a:pt x="27" y="219"/>
                    <a:pt x="27" y="219"/>
                  </a:cubicBezTo>
                  <a:cubicBezTo>
                    <a:pt x="27" y="219"/>
                    <a:pt x="27" y="219"/>
                    <a:pt x="27" y="219"/>
                  </a:cubicBezTo>
                  <a:cubicBezTo>
                    <a:pt x="27" y="219"/>
                    <a:pt x="27" y="218"/>
                    <a:pt x="27" y="218"/>
                  </a:cubicBezTo>
                  <a:cubicBezTo>
                    <a:pt x="27" y="218"/>
                    <a:pt x="27" y="218"/>
                    <a:pt x="27" y="218"/>
                  </a:cubicBezTo>
                  <a:cubicBezTo>
                    <a:pt x="27" y="218"/>
                    <a:pt x="28" y="217"/>
                    <a:pt x="28" y="217"/>
                  </a:cubicBezTo>
                  <a:cubicBezTo>
                    <a:pt x="28" y="217"/>
                    <a:pt x="28" y="217"/>
                    <a:pt x="28" y="217"/>
                  </a:cubicBezTo>
                  <a:cubicBezTo>
                    <a:pt x="28" y="216"/>
                    <a:pt x="28" y="216"/>
                    <a:pt x="28" y="215"/>
                  </a:cubicBezTo>
                  <a:cubicBezTo>
                    <a:pt x="28" y="215"/>
                    <a:pt x="29" y="215"/>
                    <a:pt x="29" y="215"/>
                  </a:cubicBezTo>
                  <a:cubicBezTo>
                    <a:pt x="29" y="215"/>
                    <a:pt x="29" y="215"/>
                    <a:pt x="29" y="215"/>
                  </a:cubicBezTo>
                  <a:cubicBezTo>
                    <a:pt x="29" y="215"/>
                    <a:pt x="29" y="215"/>
                    <a:pt x="29" y="215"/>
                  </a:cubicBezTo>
                  <a:cubicBezTo>
                    <a:pt x="29" y="214"/>
                    <a:pt x="29" y="214"/>
                    <a:pt x="29" y="214"/>
                  </a:cubicBezTo>
                  <a:cubicBezTo>
                    <a:pt x="29" y="214"/>
                    <a:pt x="29" y="214"/>
                    <a:pt x="29" y="214"/>
                  </a:cubicBezTo>
                  <a:cubicBezTo>
                    <a:pt x="29" y="214"/>
                    <a:pt x="29" y="213"/>
                    <a:pt x="29" y="213"/>
                  </a:cubicBezTo>
                  <a:cubicBezTo>
                    <a:pt x="29" y="213"/>
                    <a:pt x="30" y="213"/>
                    <a:pt x="30" y="213"/>
                  </a:cubicBezTo>
                  <a:cubicBezTo>
                    <a:pt x="30" y="213"/>
                    <a:pt x="30" y="213"/>
                    <a:pt x="30" y="213"/>
                  </a:cubicBezTo>
                  <a:cubicBezTo>
                    <a:pt x="30" y="213"/>
                    <a:pt x="30" y="213"/>
                    <a:pt x="30" y="213"/>
                  </a:cubicBezTo>
                  <a:cubicBezTo>
                    <a:pt x="30" y="212"/>
                    <a:pt x="30" y="212"/>
                    <a:pt x="30" y="212"/>
                  </a:cubicBezTo>
                  <a:cubicBezTo>
                    <a:pt x="30" y="212"/>
                    <a:pt x="30" y="212"/>
                    <a:pt x="30" y="212"/>
                  </a:cubicBezTo>
                  <a:cubicBezTo>
                    <a:pt x="31" y="211"/>
                    <a:pt x="31" y="211"/>
                    <a:pt x="31" y="210"/>
                  </a:cubicBezTo>
                  <a:cubicBezTo>
                    <a:pt x="31" y="210"/>
                    <a:pt x="31" y="210"/>
                    <a:pt x="31" y="210"/>
                  </a:cubicBezTo>
                  <a:cubicBezTo>
                    <a:pt x="31" y="210"/>
                    <a:pt x="31" y="210"/>
                    <a:pt x="31" y="210"/>
                  </a:cubicBezTo>
                  <a:cubicBezTo>
                    <a:pt x="31" y="210"/>
                    <a:pt x="31" y="210"/>
                    <a:pt x="31" y="210"/>
                  </a:cubicBezTo>
                  <a:cubicBezTo>
                    <a:pt x="31" y="210"/>
                    <a:pt x="31" y="209"/>
                    <a:pt x="31" y="209"/>
                  </a:cubicBezTo>
                  <a:cubicBezTo>
                    <a:pt x="32" y="209"/>
                    <a:pt x="32" y="209"/>
                    <a:pt x="32" y="209"/>
                  </a:cubicBezTo>
                  <a:cubicBezTo>
                    <a:pt x="32" y="207"/>
                    <a:pt x="32" y="204"/>
                    <a:pt x="32" y="202"/>
                  </a:cubicBezTo>
                  <a:cubicBezTo>
                    <a:pt x="32" y="198"/>
                    <a:pt x="32" y="195"/>
                    <a:pt x="32" y="192"/>
                  </a:cubicBezTo>
                  <a:cubicBezTo>
                    <a:pt x="32" y="192"/>
                    <a:pt x="32" y="192"/>
                    <a:pt x="31" y="192"/>
                  </a:cubicBezTo>
                  <a:cubicBezTo>
                    <a:pt x="31" y="192"/>
                    <a:pt x="31" y="191"/>
                    <a:pt x="31" y="191"/>
                  </a:cubicBezTo>
                  <a:cubicBezTo>
                    <a:pt x="31" y="191"/>
                    <a:pt x="31" y="191"/>
                    <a:pt x="31" y="191"/>
                  </a:cubicBezTo>
                  <a:cubicBezTo>
                    <a:pt x="31" y="191"/>
                    <a:pt x="31" y="191"/>
                    <a:pt x="31" y="190"/>
                  </a:cubicBezTo>
                  <a:cubicBezTo>
                    <a:pt x="31" y="190"/>
                    <a:pt x="31" y="190"/>
                    <a:pt x="31" y="190"/>
                  </a:cubicBezTo>
                  <a:cubicBezTo>
                    <a:pt x="31" y="190"/>
                    <a:pt x="31" y="189"/>
                    <a:pt x="30" y="189"/>
                  </a:cubicBezTo>
                  <a:cubicBezTo>
                    <a:pt x="30" y="189"/>
                    <a:pt x="30" y="189"/>
                    <a:pt x="30" y="189"/>
                  </a:cubicBezTo>
                  <a:cubicBezTo>
                    <a:pt x="30" y="188"/>
                    <a:pt x="30" y="188"/>
                    <a:pt x="30" y="188"/>
                  </a:cubicBezTo>
                  <a:cubicBezTo>
                    <a:pt x="30" y="188"/>
                    <a:pt x="30" y="188"/>
                    <a:pt x="30" y="188"/>
                  </a:cubicBezTo>
                  <a:cubicBezTo>
                    <a:pt x="30" y="187"/>
                    <a:pt x="29" y="187"/>
                    <a:pt x="29" y="186"/>
                  </a:cubicBezTo>
                  <a:cubicBezTo>
                    <a:pt x="29" y="186"/>
                    <a:pt x="29" y="186"/>
                    <a:pt x="29" y="186"/>
                  </a:cubicBezTo>
                  <a:cubicBezTo>
                    <a:pt x="29" y="186"/>
                    <a:pt x="29" y="186"/>
                    <a:pt x="29" y="186"/>
                  </a:cubicBezTo>
                  <a:cubicBezTo>
                    <a:pt x="29" y="186"/>
                    <a:pt x="29" y="186"/>
                    <a:pt x="29" y="186"/>
                  </a:cubicBezTo>
                  <a:cubicBezTo>
                    <a:pt x="29" y="185"/>
                    <a:pt x="29" y="185"/>
                    <a:pt x="29" y="185"/>
                  </a:cubicBezTo>
                  <a:cubicBezTo>
                    <a:pt x="29" y="185"/>
                    <a:pt x="28" y="185"/>
                    <a:pt x="28" y="185"/>
                  </a:cubicBezTo>
                  <a:cubicBezTo>
                    <a:pt x="28" y="184"/>
                    <a:pt x="28" y="184"/>
                    <a:pt x="28" y="183"/>
                  </a:cubicBezTo>
                  <a:cubicBezTo>
                    <a:pt x="28" y="183"/>
                    <a:pt x="28" y="183"/>
                    <a:pt x="28" y="183"/>
                  </a:cubicBezTo>
                  <a:cubicBezTo>
                    <a:pt x="28" y="183"/>
                    <a:pt x="28" y="182"/>
                    <a:pt x="28" y="182"/>
                  </a:cubicBezTo>
                  <a:cubicBezTo>
                    <a:pt x="28" y="182"/>
                    <a:pt x="27" y="182"/>
                    <a:pt x="27" y="182"/>
                  </a:cubicBezTo>
                  <a:cubicBezTo>
                    <a:pt x="27" y="181"/>
                    <a:pt x="27" y="181"/>
                    <a:pt x="27" y="180"/>
                  </a:cubicBezTo>
                  <a:cubicBezTo>
                    <a:pt x="26" y="180"/>
                    <a:pt x="26" y="180"/>
                    <a:pt x="26" y="180"/>
                  </a:cubicBezTo>
                  <a:cubicBezTo>
                    <a:pt x="26" y="178"/>
                    <a:pt x="26" y="177"/>
                    <a:pt x="26" y="175"/>
                  </a:cubicBezTo>
                  <a:cubicBezTo>
                    <a:pt x="26" y="175"/>
                    <a:pt x="26" y="175"/>
                    <a:pt x="27" y="175"/>
                  </a:cubicBezTo>
                  <a:cubicBezTo>
                    <a:pt x="27" y="171"/>
                    <a:pt x="27" y="167"/>
                    <a:pt x="27" y="164"/>
                  </a:cubicBezTo>
                  <a:cubicBezTo>
                    <a:pt x="27" y="162"/>
                    <a:pt x="28" y="160"/>
                    <a:pt x="28" y="158"/>
                  </a:cubicBezTo>
                  <a:cubicBezTo>
                    <a:pt x="28" y="158"/>
                    <a:pt x="28" y="158"/>
                    <a:pt x="28" y="158"/>
                  </a:cubicBezTo>
                  <a:cubicBezTo>
                    <a:pt x="28" y="156"/>
                    <a:pt x="28" y="155"/>
                    <a:pt x="28" y="153"/>
                  </a:cubicBezTo>
                  <a:cubicBezTo>
                    <a:pt x="28" y="153"/>
                    <a:pt x="28" y="153"/>
                    <a:pt x="28" y="153"/>
                  </a:cubicBezTo>
                  <a:cubicBezTo>
                    <a:pt x="28" y="152"/>
                    <a:pt x="28" y="151"/>
                    <a:pt x="28" y="149"/>
                  </a:cubicBezTo>
                  <a:cubicBezTo>
                    <a:pt x="28" y="149"/>
                    <a:pt x="29" y="149"/>
                    <a:pt x="29" y="149"/>
                  </a:cubicBezTo>
                  <a:cubicBezTo>
                    <a:pt x="29" y="148"/>
                    <a:pt x="29" y="146"/>
                    <a:pt x="29" y="145"/>
                  </a:cubicBezTo>
                  <a:cubicBezTo>
                    <a:pt x="29" y="145"/>
                    <a:pt x="29" y="145"/>
                    <a:pt x="29" y="145"/>
                  </a:cubicBezTo>
                  <a:cubicBezTo>
                    <a:pt x="30" y="143"/>
                    <a:pt x="29" y="140"/>
                    <a:pt x="29" y="138"/>
                  </a:cubicBezTo>
                  <a:cubicBezTo>
                    <a:pt x="29" y="136"/>
                    <a:pt x="29" y="134"/>
                    <a:pt x="29" y="132"/>
                  </a:cubicBezTo>
                  <a:cubicBezTo>
                    <a:pt x="29" y="131"/>
                    <a:pt x="29" y="130"/>
                    <a:pt x="29" y="129"/>
                  </a:cubicBezTo>
                  <a:cubicBezTo>
                    <a:pt x="29" y="129"/>
                    <a:pt x="30" y="129"/>
                    <a:pt x="30" y="129"/>
                  </a:cubicBezTo>
                  <a:cubicBezTo>
                    <a:pt x="30" y="128"/>
                    <a:pt x="30" y="127"/>
                    <a:pt x="30" y="126"/>
                  </a:cubicBezTo>
                  <a:cubicBezTo>
                    <a:pt x="30" y="123"/>
                    <a:pt x="30" y="120"/>
                    <a:pt x="30" y="118"/>
                  </a:cubicBezTo>
                  <a:cubicBezTo>
                    <a:pt x="33" y="118"/>
                    <a:pt x="34" y="117"/>
                    <a:pt x="37" y="117"/>
                  </a:cubicBezTo>
                  <a:cubicBezTo>
                    <a:pt x="38" y="117"/>
                    <a:pt x="41" y="118"/>
                    <a:pt x="42" y="117"/>
                  </a:cubicBezTo>
                  <a:cubicBezTo>
                    <a:pt x="43" y="117"/>
                    <a:pt x="43" y="116"/>
                    <a:pt x="45" y="116"/>
                  </a:cubicBezTo>
                  <a:cubicBezTo>
                    <a:pt x="45" y="116"/>
                    <a:pt x="45" y="117"/>
                    <a:pt x="45" y="117"/>
                  </a:cubicBezTo>
                  <a:cubicBezTo>
                    <a:pt x="45" y="117"/>
                    <a:pt x="46" y="117"/>
                    <a:pt x="46" y="117"/>
                  </a:cubicBezTo>
                  <a:cubicBezTo>
                    <a:pt x="46" y="117"/>
                    <a:pt x="46" y="117"/>
                    <a:pt x="46" y="117"/>
                  </a:cubicBezTo>
                  <a:cubicBezTo>
                    <a:pt x="46" y="117"/>
                    <a:pt x="46" y="117"/>
                    <a:pt x="47" y="117"/>
                  </a:cubicBezTo>
                  <a:cubicBezTo>
                    <a:pt x="47" y="117"/>
                    <a:pt x="47" y="117"/>
                    <a:pt x="47" y="117"/>
                  </a:cubicBezTo>
                  <a:cubicBezTo>
                    <a:pt x="47" y="117"/>
                    <a:pt x="47" y="117"/>
                    <a:pt x="47" y="117"/>
                  </a:cubicBezTo>
                  <a:cubicBezTo>
                    <a:pt x="47" y="118"/>
                    <a:pt x="47" y="118"/>
                    <a:pt x="48" y="118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48" y="118"/>
                    <a:pt x="48" y="119"/>
                    <a:pt x="49" y="119"/>
                  </a:cubicBezTo>
                  <a:cubicBezTo>
                    <a:pt x="49" y="119"/>
                    <a:pt x="49" y="119"/>
                    <a:pt x="49" y="119"/>
                  </a:cubicBezTo>
                  <a:cubicBezTo>
                    <a:pt x="49" y="119"/>
                    <a:pt x="50" y="119"/>
                    <a:pt x="50" y="120"/>
                  </a:cubicBezTo>
                  <a:cubicBezTo>
                    <a:pt x="50" y="120"/>
                    <a:pt x="51" y="120"/>
                    <a:pt x="51" y="120"/>
                  </a:cubicBezTo>
                  <a:cubicBezTo>
                    <a:pt x="51" y="120"/>
                    <a:pt x="51" y="120"/>
                    <a:pt x="51" y="120"/>
                  </a:cubicBezTo>
                  <a:cubicBezTo>
                    <a:pt x="52" y="120"/>
                    <a:pt x="52" y="120"/>
                    <a:pt x="52" y="121"/>
                  </a:cubicBezTo>
                  <a:cubicBezTo>
                    <a:pt x="52" y="121"/>
                    <a:pt x="52" y="121"/>
                    <a:pt x="52" y="121"/>
                  </a:cubicBezTo>
                  <a:cubicBezTo>
                    <a:pt x="53" y="121"/>
                    <a:pt x="53" y="121"/>
                    <a:pt x="54" y="121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55" y="121"/>
                    <a:pt x="55" y="121"/>
                  </a:cubicBezTo>
                  <a:cubicBezTo>
                    <a:pt x="55" y="121"/>
                    <a:pt x="55" y="121"/>
                    <a:pt x="55" y="121"/>
                  </a:cubicBezTo>
                  <a:cubicBezTo>
                    <a:pt x="57" y="121"/>
                    <a:pt x="59" y="121"/>
                    <a:pt x="61" y="121"/>
                  </a:cubicBezTo>
                  <a:cubicBezTo>
                    <a:pt x="65" y="119"/>
                    <a:pt x="70" y="119"/>
                    <a:pt x="73" y="117"/>
                  </a:cubicBezTo>
                  <a:cubicBezTo>
                    <a:pt x="75" y="117"/>
                    <a:pt x="76" y="117"/>
                    <a:pt x="77" y="117"/>
                  </a:cubicBezTo>
                  <a:cubicBezTo>
                    <a:pt x="77" y="117"/>
                    <a:pt x="77" y="117"/>
                    <a:pt x="77" y="117"/>
                  </a:cubicBezTo>
                  <a:cubicBezTo>
                    <a:pt x="78" y="117"/>
                    <a:pt x="78" y="117"/>
                    <a:pt x="79" y="117"/>
                  </a:cubicBezTo>
                  <a:cubicBezTo>
                    <a:pt x="79" y="117"/>
                    <a:pt x="79" y="116"/>
                    <a:pt x="79" y="116"/>
                  </a:cubicBezTo>
                  <a:cubicBezTo>
                    <a:pt x="82" y="116"/>
                    <a:pt x="86" y="116"/>
                    <a:pt x="89" y="116"/>
                  </a:cubicBezTo>
                  <a:cubicBezTo>
                    <a:pt x="91" y="116"/>
                    <a:pt x="93" y="117"/>
                    <a:pt x="94" y="118"/>
                  </a:cubicBezTo>
                  <a:cubicBezTo>
                    <a:pt x="94" y="118"/>
                    <a:pt x="94" y="119"/>
                    <a:pt x="94" y="119"/>
                  </a:cubicBezTo>
                  <a:cubicBezTo>
                    <a:pt x="95" y="119"/>
                    <a:pt x="95" y="119"/>
                    <a:pt x="95" y="119"/>
                  </a:cubicBezTo>
                  <a:cubicBezTo>
                    <a:pt x="95" y="119"/>
                    <a:pt x="96" y="120"/>
                    <a:pt x="96" y="120"/>
                  </a:cubicBezTo>
                  <a:cubicBezTo>
                    <a:pt x="97" y="120"/>
                    <a:pt x="97" y="120"/>
                    <a:pt x="97" y="121"/>
                  </a:cubicBezTo>
                  <a:cubicBezTo>
                    <a:pt x="97" y="121"/>
                    <a:pt x="98" y="121"/>
                    <a:pt x="98" y="122"/>
                  </a:cubicBezTo>
                  <a:cubicBezTo>
                    <a:pt x="98" y="122"/>
                    <a:pt x="98" y="122"/>
                    <a:pt x="99" y="122"/>
                  </a:cubicBezTo>
                  <a:cubicBezTo>
                    <a:pt x="99" y="122"/>
                    <a:pt x="99" y="122"/>
                    <a:pt x="99" y="122"/>
                  </a:cubicBezTo>
                  <a:cubicBezTo>
                    <a:pt x="99" y="122"/>
                    <a:pt x="99" y="122"/>
                    <a:pt x="100" y="122"/>
                  </a:cubicBezTo>
                  <a:cubicBezTo>
                    <a:pt x="100" y="122"/>
                    <a:pt x="100" y="123"/>
                    <a:pt x="100" y="123"/>
                  </a:cubicBezTo>
                  <a:cubicBezTo>
                    <a:pt x="100" y="123"/>
                    <a:pt x="103" y="124"/>
                    <a:pt x="105" y="123"/>
                  </a:cubicBezTo>
                  <a:cubicBezTo>
                    <a:pt x="105" y="123"/>
                    <a:pt x="105" y="123"/>
                    <a:pt x="105" y="123"/>
                  </a:cubicBezTo>
                  <a:cubicBezTo>
                    <a:pt x="105" y="123"/>
                    <a:pt x="105" y="123"/>
                    <a:pt x="105" y="123"/>
                  </a:cubicBezTo>
                  <a:cubicBezTo>
                    <a:pt x="105" y="123"/>
                    <a:pt x="105" y="123"/>
                    <a:pt x="105" y="123"/>
                  </a:cubicBezTo>
                  <a:cubicBezTo>
                    <a:pt x="106" y="123"/>
                    <a:pt x="106" y="123"/>
                    <a:pt x="106" y="123"/>
                  </a:cubicBezTo>
                  <a:cubicBezTo>
                    <a:pt x="106" y="123"/>
                    <a:pt x="106" y="122"/>
                    <a:pt x="106" y="122"/>
                  </a:cubicBezTo>
                  <a:cubicBezTo>
                    <a:pt x="107" y="122"/>
                    <a:pt x="107" y="122"/>
                    <a:pt x="107" y="122"/>
                  </a:cubicBezTo>
                  <a:cubicBezTo>
                    <a:pt x="107" y="122"/>
                    <a:pt x="107" y="122"/>
                    <a:pt x="107" y="122"/>
                  </a:cubicBezTo>
                  <a:cubicBezTo>
                    <a:pt x="108" y="122"/>
                    <a:pt x="108" y="122"/>
                    <a:pt x="108" y="122"/>
                  </a:cubicBezTo>
                  <a:cubicBezTo>
                    <a:pt x="108" y="122"/>
                    <a:pt x="108" y="122"/>
                    <a:pt x="108" y="122"/>
                  </a:cubicBezTo>
                  <a:cubicBezTo>
                    <a:pt x="109" y="122"/>
                    <a:pt x="110" y="122"/>
                    <a:pt x="110" y="122"/>
                  </a:cubicBezTo>
                  <a:cubicBezTo>
                    <a:pt x="110" y="121"/>
                    <a:pt x="110" y="121"/>
                    <a:pt x="110" y="121"/>
                  </a:cubicBezTo>
                  <a:cubicBezTo>
                    <a:pt x="111" y="121"/>
                    <a:pt x="112" y="121"/>
                    <a:pt x="113" y="121"/>
                  </a:cubicBezTo>
                  <a:cubicBezTo>
                    <a:pt x="113" y="121"/>
                    <a:pt x="113" y="121"/>
                    <a:pt x="113" y="121"/>
                  </a:cubicBezTo>
                  <a:cubicBezTo>
                    <a:pt x="114" y="121"/>
                    <a:pt x="116" y="121"/>
                    <a:pt x="117" y="121"/>
                  </a:cubicBezTo>
                  <a:cubicBezTo>
                    <a:pt x="117" y="121"/>
                    <a:pt x="117" y="121"/>
                    <a:pt x="117" y="121"/>
                  </a:cubicBezTo>
                  <a:cubicBezTo>
                    <a:pt x="118" y="121"/>
                    <a:pt x="118" y="121"/>
                    <a:pt x="119" y="121"/>
                  </a:cubicBezTo>
                  <a:cubicBezTo>
                    <a:pt x="119" y="120"/>
                    <a:pt x="119" y="120"/>
                    <a:pt x="119" y="120"/>
                  </a:cubicBezTo>
                  <a:cubicBezTo>
                    <a:pt x="119" y="120"/>
                    <a:pt x="120" y="120"/>
                    <a:pt x="121" y="120"/>
                  </a:cubicBezTo>
                  <a:cubicBezTo>
                    <a:pt x="121" y="120"/>
                    <a:pt x="121" y="120"/>
                    <a:pt x="121" y="120"/>
                  </a:cubicBezTo>
                  <a:cubicBezTo>
                    <a:pt x="121" y="120"/>
                    <a:pt x="121" y="120"/>
                    <a:pt x="122" y="120"/>
                  </a:cubicBezTo>
                  <a:cubicBezTo>
                    <a:pt x="122" y="120"/>
                    <a:pt x="122" y="120"/>
                    <a:pt x="122" y="120"/>
                  </a:cubicBezTo>
                  <a:cubicBezTo>
                    <a:pt x="122" y="120"/>
                    <a:pt x="122" y="120"/>
                    <a:pt x="123" y="120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123" y="119"/>
                    <a:pt x="124" y="119"/>
                    <a:pt x="124" y="119"/>
                  </a:cubicBezTo>
                  <a:cubicBezTo>
                    <a:pt x="124" y="119"/>
                    <a:pt x="124" y="119"/>
                    <a:pt x="124" y="118"/>
                  </a:cubicBezTo>
                  <a:cubicBezTo>
                    <a:pt x="125" y="118"/>
                    <a:pt x="125" y="118"/>
                    <a:pt x="126" y="118"/>
                  </a:cubicBezTo>
                  <a:cubicBezTo>
                    <a:pt x="126" y="118"/>
                    <a:pt x="126" y="118"/>
                    <a:pt x="126" y="117"/>
                  </a:cubicBezTo>
                  <a:cubicBezTo>
                    <a:pt x="126" y="117"/>
                    <a:pt x="126" y="117"/>
                    <a:pt x="127" y="117"/>
                  </a:cubicBezTo>
                  <a:cubicBezTo>
                    <a:pt x="127" y="117"/>
                    <a:pt x="127" y="117"/>
                    <a:pt x="127" y="117"/>
                  </a:cubicBezTo>
                  <a:cubicBezTo>
                    <a:pt x="127" y="117"/>
                    <a:pt x="128" y="116"/>
                    <a:pt x="128" y="116"/>
                  </a:cubicBezTo>
                  <a:cubicBezTo>
                    <a:pt x="128" y="116"/>
                    <a:pt x="129" y="116"/>
                    <a:pt x="129" y="116"/>
                  </a:cubicBezTo>
                  <a:cubicBezTo>
                    <a:pt x="129" y="116"/>
                    <a:pt x="129" y="116"/>
                    <a:pt x="129" y="116"/>
                  </a:cubicBezTo>
                  <a:cubicBezTo>
                    <a:pt x="130" y="115"/>
                    <a:pt x="130" y="115"/>
                    <a:pt x="130" y="115"/>
                  </a:cubicBezTo>
                  <a:cubicBezTo>
                    <a:pt x="130" y="115"/>
                    <a:pt x="130" y="115"/>
                    <a:pt x="130" y="115"/>
                  </a:cubicBezTo>
                  <a:cubicBezTo>
                    <a:pt x="131" y="115"/>
                    <a:pt x="131" y="115"/>
                    <a:pt x="131" y="114"/>
                  </a:cubicBezTo>
                  <a:cubicBezTo>
                    <a:pt x="131" y="114"/>
                    <a:pt x="131" y="114"/>
                    <a:pt x="132" y="114"/>
                  </a:cubicBezTo>
                  <a:cubicBezTo>
                    <a:pt x="132" y="114"/>
                    <a:pt x="132" y="114"/>
                    <a:pt x="132" y="114"/>
                  </a:cubicBezTo>
                  <a:cubicBezTo>
                    <a:pt x="132" y="114"/>
                    <a:pt x="132" y="114"/>
                    <a:pt x="133" y="114"/>
                  </a:cubicBezTo>
                  <a:cubicBezTo>
                    <a:pt x="133" y="113"/>
                    <a:pt x="133" y="113"/>
                    <a:pt x="133" y="113"/>
                  </a:cubicBezTo>
                  <a:cubicBezTo>
                    <a:pt x="133" y="113"/>
                    <a:pt x="133" y="113"/>
                    <a:pt x="134" y="113"/>
                  </a:cubicBezTo>
                  <a:cubicBezTo>
                    <a:pt x="134" y="113"/>
                    <a:pt x="134" y="112"/>
                    <a:pt x="134" y="112"/>
                  </a:cubicBezTo>
                  <a:cubicBezTo>
                    <a:pt x="135" y="112"/>
                    <a:pt x="135" y="112"/>
                    <a:pt x="135" y="112"/>
                  </a:cubicBezTo>
                  <a:cubicBezTo>
                    <a:pt x="135" y="112"/>
                    <a:pt x="135" y="111"/>
                    <a:pt x="135" y="111"/>
                  </a:cubicBezTo>
                  <a:cubicBezTo>
                    <a:pt x="136" y="111"/>
                    <a:pt x="136" y="111"/>
                    <a:pt x="136" y="111"/>
                  </a:cubicBezTo>
                  <a:cubicBezTo>
                    <a:pt x="136" y="111"/>
                    <a:pt x="137" y="110"/>
                    <a:pt x="137" y="110"/>
                  </a:cubicBezTo>
                  <a:cubicBezTo>
                    <a:pt x="137" y="110"/>
                    <a:pt x="137" y="110"/>
                    <a:pt x="137" y="110"/>
                  </a:cubicBezTo>
                  <a:cubicBezTo>
                    <a:pt x="138" y="110"/>
                    <a:pt x="138" y="110"/>
                    <a:pt x="138" y="109"/>
                  </a:cubicBezTo>
                  <a:cubicBezTo>
                    <a:pt x="138" y="109"/>
                    <a:pt x="138" y="109"/>
                    <a:pt x="138" y="109"/>
                  </a:cubicBezTo>
                  <a:cubicBezTo>
                    <a:pt x="139" y="109"/>
                    <a:pt x="139" y="109"/>
                    <a:pt x="139" y="109"/>
                  </a:cubicBezTo>
                  <a:cubicBezTo>
                    <a:pt x="139" y="109"/>
                    <a:pt x="140" y="108"/>
                    <a:pt x="140" y="108"/>
                  </a:cubicBezTo>
                  <a:cubicBezTo>
                    <a:pt x="140" y="108"/>
                    <a:pt x="140" y="108"/>
                    <a:pt x="141" y="107"/>
                  </a:cubicBezTo>
                  <a:cubicBezTo>
                    <a:pt x="141" y="107"/>
                    <a:pt x="141" y="107"/>
                    <a:pt x="141" y="107"/>
                  </a:cubicBezTo>
                  <a:cubicBezTo>
                    <a:pt x="142" y="107"/>
                    <a:pt x="142" y="107"/>
                    <a:pt x="142" y="106"/>
                  </a:cubicBezTo>
                  <a:cubicBezTo>
                    <a:pt x="142" y="106"/>
                    <a:pt x="142" y="106"/>
                    <a:pt x="143" y="106"/>
                  </a:cubicBezTo>
                  <a:cubicBezTo>
                    <a:pt x="143" y="106"/>
                    <a:pt x="143" y="106"/>
                    <a:pt x="143" y="105"/>
                  </a:cubicBezTo>
                  <a:cubicBezTo>
                    <a:pt x="144" y="105"/>
                    <a:pt x="144" y="105"/>
                    <a:pt x="144" y="105"/>
                  </a:cubicBezTo>
                  <a:cubicBezTo>
                    <a:pt x="144" y="105"/>
                    <a:pt x="145" y="104"/>
                    <a:pt x="145" y="104"/>
                  </a:cubicBezTo>
                  <a:cubicBezTo>
                    <a:pt x="145" y="104"/>
                    <a:pt x="145" y="104"/>
                    <a:pt x="145" y="104"/>
                  </a:cubicBezTo>
                  <a:cubicBezTo>
                    <a:pt x="146" y="104"/>
                    <a:pt x="146" y="103"/>
                    <a:pt x="147" y="103"/>
                  </a:cubicBezTo>
                  <a:cubicBezTo>
                    <a:pt x="147" y="103"/>
                    <a:pt x="147" y="103"/>
                    <a:pt x="147" y="103"/>
                  </a:cubicBezTo>
                  <a:cubicBezTo>
                    <a:pt x="147" y="102"/>
                    <a:pt x="147" y="102"/>
                    <a:pt x="148" y="102"/>
                  </a:cubicBezTo>
                  <a:cubicBezTo>
                    <a:pt x="148" y="102"/>
                    <a:pt x="148" y="102"/>
                    <a:pt x="149" y="102"/>
                  </a:cubicBezTo>
                  <a:cubicBezTo>
                    <a:pt x="149" y="101"/>
                    <a:pt x="149" y="101"/>
                    <a:pt x="150" y="100"/>
                  </a:cubicBezTo>
                  <a:cubicBezTo>
                    <a:pt x="150" y="100"/>
                    <a:pt x="150" y="100"/>
                    <a:pt x="150" y="100"/>
                  </a:cubicBezTo>
                  <a:cubicBezTo>
                    <a:pt x="151" y="100"/>
                    <a:pt x="151" y="100"/>
                    <a:pt x="151" y="99"/>
                  </a:cubicBezTo>
                  <a:cubicBezTo>
                    <a:pt x="151" y="99"/>
                    <a:pt x="152" y="99"/>
                    <a:pt x="152" y="99"/>
                  </a:cubicBezTo>
                  <a:cubicBezTo>
                    <a:pt x="152" y="99"/>
                    <a:pt x="152" y="98"/>
                    <a:pt x="153" y="98"/>
                  </a:cubicBezTo>
                  <a:cubicBezTo>
                    <a:pt x="153" y="98"/>
                    <a:pt x="153" y="98"/>
                    <a:pt x="154" y="98"/>
                  </a:cubicBezTo>
                  <a:cubicBezTo>
                    <a:pt x="154" y="97"/>
                    <a:pt x="154" y="97"/>
                    <a:pt x="155" y="96"/>
                  </a:cubicBezTo>
                  <a:cubicBezTo>
                    <a:pt x="155" y="96"/>
                    <a:pt x="155" y="96"/>
                    <a:pt x="155" y="96"/>
                  </a:cubicBezTo>
                  <a:cubicBezTo>
                    <a:pt x="156" y="96"/>
                    <a:pt x="156" y="95"/>
                    <a:pt x="156" y="95"/>
                  </a:cubicBezTo>
                  <a:cubicBezTo>
                    <a:pt x="157" y="95"/>
                    <a:pt x="157" y="95"/>
                    <a:pt x="157" y="95"/>
                  </a:cubicBezTo>
                  <a:cubicBezTo>
                    <a:pt x="157" y="95"/>
                    <a:pt x="157" y="94"/>
                    <a:pt x="158" y="94"/>
                  </a:cubicBezTo>
                  <a:cubicBezTo>
                    <a:pt x="158" y="94"/>
                    <a:pt x="158" y="94"/>
                    <a:pt x="158" y="94"/>
                  </a:cubicBezTo>
                  <a:cubicBezTo>
                    <a:pt x="159" y="94"/>
                    <a:pt x="159" y="93"/>
                    <a:pt x="159" y="93"/>
                  </a:cubicBezTo>
                  <a:cubicBezTo>
                    <a:pt x="160" y="93"/>
                    <a:pt x="160" y="93"/>
                    <a:pt x="160" y="93"/>
                  </a:cubicBezTo>
                  <a:cubicBezTo>
                    <a:pt x="160" y="92"/>
                    <a:pt x="160" y="92"/>
                    <a:pt x="161" y="92"/>
                  </a:cubicBezTo>
                  <a:cubicBezTo>
                    <a:pt x="161" y="92"/>
                    <a:pt x="161" y="92"/>
                    <a:pt x="162" y="92"/>
                  </a:cubicBezTo>
                  <a:cubicBezTo>
                    <a:pt x="162" y="91"/>
                    <a:pt x="162" y="91"/>
                    <a:pt x="163" y="90"/>
                  </a:cubicBezTo>
                  <a:cubicBezTo>
                    <a:pt x="163" y="90"/>
                    <a:pt x="163" y="90"/>
                    <a:pt x="163" y="90"/>
                  </a:cubicBezTo>
                  <a:cubicBezTo>
                    <a:pt x="164" y="90"/>
                    <a:pt x="164" y="89"/>
                    <a:pt x="164" y="89"/>
                  </a:cubicBezTo>
                  <a:cubicBezTo>
                    <a:pt x="164" y="89"/>
                    <a:pt x="164" y="89"/>
                    <a:pt x="165" y="89"/>
                  </a:cubicBezTo>
                  <a:cubicBezTo>
                    <a:pt x="165" y="89"/>
                    <a:pt x="165" y="88"/>
                    <a:pt x="165" y="88"/>
                  </a:cubicBezTo>
                  <a:cubicBezTo>
                    <a:pt x="166" y="88"/>
                    <a:pt x="166" y="88"/>
                    <a:pt x="166" y="88"/>
                  </a:cubicBezTo>
                  <a:cubicBezTo>
                    <a:pt x="166" y="88"/>
                    <a:pt x="167" y="87"/>
                    <a:pt x="167" y="87"/>
                  </a:cubicBezTo>
                  <a:cubicBezTo>
                    <a:pt x="167" y="87"/>
                    <a:pt x="167" y="87"/>
                    <a:pt x="168" y="87"/>
                  </a:cubicBezTo>
                  <a:cubicBezTo>
                    <a:pt x="168" y="87"/>
                    <a:pt x="168" y="86"/>
                    <a:pt x="168" y="86"/>
                  </a:cubicBezTo>
                  <a:cubicBezTo>
                    <a:pt x="168" y="86"/>
                    <a:pt x="169" y="86"/>
                    <a:pt x="169" y="86"/>
                  </a:cubicBezTo>
                  <a:cubicBezTo>
                    <a:pt x="169" y="86"/>
                    <a:pt x="169" y="85"/>
                    <a:pt x="170" y="85"/>
                  </a:cubicBezTo>
                  <a:cubicBezTo>
                    <a:pt x="170" y="85"/>
                    <a:pt x="170" y="85"/>
                    <a:pt x="171" y="85"/>
                  </a:cubicBezTo>
                  <a:cubicBezTo>
                    <a:pt x="171" y="84"/>
                    <a:pt x="171" y="84"/>
                    <a:pt x="171" y="84"/>
                  </a:cubicBezTo>
                  <a:cubicBezTo>
                    <a:pt x="171" y="84"/>
                    <a:pt x="171" y="84"/>
                    <a:pt x="172" y="84"/>
                  </a:cubicBezTo>
                  <a:cubicBezTo>
                    <a:pt x="172" y="84"/>
                    <a:pt x="172" y="84"/>
                    <a:pt x="172" y="83"/>
                  </a:cubicBezTo>
                  <a:cubicBezTo>
                    <a:pt x="172" y="83"/>
                    <a:pt x="172" y="83"/>
                    <a:pt x="173" y="83"/>
                  </a:cubicBezTo>
                  <a:cubicBezTo>
                    <a:pt x="173" y="83"/>
                    <a:pt x="173" y="83"/>
                    <a:pt x="173" y="82"/>
                  </a:cubicBezTo>
                  <a:cubicBezTo>
                    <a:pt x="173" y="82"/>
                    <a:pt x="174" y="82"/>
                    <a:pt x="174" y="82"/>
                  </a:cubicBezTo>
                  <a:cubicBezTo>
                    <a:pt x="174" y="82"/>
                    <a:pt x="174" y="82"/>
                    <a:pt x="175" y="81"/>
                  </a:cubicBezTo>
                  <a:cubicBezTo>
                    <a:pt x="175" y="81"/>
                    <a:pt x="175" y="81"/>
                    <a:pt x="175" y="81"/>
                  </a:cubicBezTo>
                  <a:cubicBezTo>
                    <a:pt x="175" y="81"/>
                    <a:pt x="175" y="81"/>
                    <a:pt x="176" y="81"/>
                  </a:cubicBezTo>
                  <a:cubicBezTo>
                    <a:pt x="176" y="81"/>
                    <a:pt x="176" y="81"/>
                    <a:pt x="176" y="81"/>
                  </a:cubicBezTo>
                  <a:cubicBezTo>
                    <a:pt x="176" y="80"/>
                    <a:pt x="176" y="80"/>
                    <a:pt x="177" y="80"/>
                  </a:cubicBezTo>
                  <a:cubicBezTo>
                    <a:pt x="177" y="80"/>
                    <a:pt x="177" y="80"/>
                    <a:pt x="177" y="80"/>
                  </a:cubicBezTo>
                  <a:cubicBezTo>
                    <a:pt x="177" y="80"/>
                    <a:pt x="178" y="80"/>
                    <a:pt x="178" y="79"/>
                  </a:cubicBezTo>
                  <a:cubicBezTo>
                    <a:pt x="178" y="79"/>
                    <a:pt x="178" y="79"/>
                    <a:pt x="178" y="79"/>
                  </a:cubicBezTo>
                  <a:cubicBezTo>
                    <a:pt x="178" y="79"/>
                    <a:pt x="179" y="79"/>
                    <a:pt x="179" y="79"/>
                  </a:cubicBezTo>
                  <a:cubicBezTo>
                    <a:pt x="179" y="78"/>
                    <a:pt x="180" y="78"/>
                    <a:pt x="180" y="78"/>
                  </a:cubicBezTo>
                  <a:cubicBezTo>
                    <a:pt x="180" y="78"/>
                    <a:pt x="180" y="78"/>
                    <a:pt x="180" y="78"/>
                  </a:cubicBezTo>
                  <a:cubicBezTo>
                    <a:pt x="180" y="78"/>
                    <a:pt x="181" y="78"/>
                    <a:pt x="181" y="78"/>
                  </a:cubicBezTo>
                  <a:cubicBezTo>
                    <a:pt x="181" y="77"/>
                    <a:pt x="181" y="77"/>
                    <a:pt x="182" y="77"/>
                  </a:cubicBezTo>
                  <a:cubicBezTo>
                    <a:pt x="182" y="77"/>
                    <a:pt x="182" y="77"/>
                    <a:pt x="183" y="76"/>
                  </a:cubicBezTo>
                  <a:cubicBezTo>
                    <a:pt x="183" y="76"/>
                    <a:pt x="183" y="76"/>
                    <a:pt x="183" y="76"/>
                  </a:cubicBezTo>
                  <a:cubicBezTo>
                    <a:pt x="184" y="76"/>
                    <a:pt x="184" y="76"/>
                    <a:pt x="185" y="75"/>
                  </a:cubicBezTo>
                  <a:cubicBezTo>
                    <a:pt x="185" y="75"/>
                    <a:pt x="185" y="75"/>
                    <a:pt x="185" y="75"/>
                  </a:cubicBezTo>
                  <a:cubicBezTo>
                    <a:pt x="185" y="75"/>
                    <a:pt x="185" y="75"/>
                    <a:pt x="186" y="75"/>
                  </a:cubicBezTo>
                  <a:cubicBezTo>
                    <a:pt x="186" y="75"/>
                    <a:pt x="186" y="75"/>
                    <a:pt x="186" y="74"/>
                  </a:cubicBezTo>
                  <a:cubicBezTo>
                    <a:pt x="186" y="74"/>
                    <a:pt x="187" y="74"/>
                    <a:pt x="188" y="74"/>
                  </a:cubicBezTo>
                  <a:cubicBezTo>
                    <a:pt x="188" y="74"/>
                    <a:pt x="188" y="74"/>
                    <a:pt x="188" y="74"/>
                  </a:cubicBezTo>
                  <a:cubicBezTo>
                    <a:pt x="188" y="74"/>
                    <a:pt x="188" y="74"/>
                    <a:pt x="189" y="74"/>
                  </a:cubicBezTo>
                  <a:cubicBezTo>
                    <a:pt x="189" y="74"/>
                    <a:pt x="189" y="73"/>
                    <a:pt x="189" y="73"/>
                  </a:cubicBezTo>
                  <a:cubicBezTo>
                    <a:pt x="189" y="73"/>
                    <a:pt x="190" y="73"/>
                    <a:pt x="191" y="73"/>
                  </a:cubicBezTo>
                  <a:cubicBezTo>
                    <a:pt x="191" y="73"/>
                    <a:pt x="191" y="73"/>
                    <a:pt x="191" y="73"/>
                  </a:cubicBezTo>
                  <a:cubicBezTo>
                    <a:pt x="191" y="73"/>
                    <a:pt x="192" y="73"/>
                    <a:pt x="192" y="73"/>
                  </a:cubicBezTo>
                  <a:cubicBezTo>
                    <a:pt x="192" y="73"/>
                    <a:pt x="192" y="72"/>
                    <a:pt x="192" y="72"/>
                  </a:cubicBezTo>
                  <a:cubicBezTo>
                    <a:pt x="192" y="72"/>
                    <a:pt x="193" y="72"/>
                    <a:pt x="193" y="72"/>
                  </a:cubicBezTo>
                  <a:cubicBezTo>
                    <a:pt x="193" y="72"/>
                    <a:pt x="193" y="72"/>
                    <a:pt x="193" y="72"/>
                  </a:cubicBezTo>
                  <a:cubicBezTo>
                    <a:pt x="194" y="72"/>
                    <a:pt x="194" y="72"/>
                    <a:pt x="195" y="72"/>
                  </a:cubicBezTo>
                  <a:cubicBezTo>
                    <a:pt x="195" y="72"/>
                    <a:pt x="195" y="72"/>
                    <a:pt x="195" y="72"/>
                  </a:cubicBezTo>
                  <a:cubicBezTo>
                    <a:pt x="195" y="72"/>
                    <a:pt x="196" y="72"/>
                    <a:pt x="196" y="72"/>
                  </a:cubicBezTo>
                  <a:cubicBezTo>
                    <a:pt x="196" y="71"/>
                    <a:pt x="196" y="71"/>
                    <a:pt x="196" y="71"/>
                  </a:cubicBezTo>
                  <a:cubicBezTo>
                    <a:pt x="197" y="71"/>
                    <a:pt x="197" y="71"/>
                    <a:pt x="198" y="71"/>
                  </a:cubicBezTo>
                  <a:cubicBezTo>
                    <a:pt x="198" y="71"/>
                    <a:pt x="198" y="71"/>
                    <a:pt x="198" y="71"/>
                  </a:cubicBezTo>
                  <a:cubicBezTo>
                    <a:pt x="199" y="71"/>
                    <a:pt x="200" y="71"/>
                    <a:pt x="201" y="71"/>
                  </a:cubicBezTo>
                  <a:cubicBezTo>
                    <a:pt x="201" y="70"/>
                    <a:pt x="201" y="70"/>
                    <a:pt x="201" y="70"/>
                  </a:cubicBezTo>
                  <a:cubicBezTo>
                    <a:pt x="203" y="70"/>
                    <a:pt x="204" y="70"/>
                    <a:pt x="206" y="70"/>
                  </a:cubicBezTo>
                  <a:cubicBezTo>
                    <a:pt x="206" y="70"/>
                    <a:pt x="206" y="70"/>
                    <a:pt x="206" y="70"/>
                  </a:cubicBezTo>
                  <a:cubicBezTo>
                    <a:pt x="206" y="70"/>
                    <a:pt x="207" y="70"/>
                    <a:pt x="208" y="70"/>
                  </a:cubicBezTo>
                  <a:cubicBezTo>
                    <a:pt x="210" y="69"/>
                    <a:pt x="213" y="69"/>
                    <a:pt x="215" y="68"/>
                  </a:cubicBezTo>
                  <a:cubicBezTo>
                    <a:pt x="219" y="68"/>
                    <a:pt x="222" y="67"/>
                    <a:pt x="226" y="67"/>
                  </a:cubicBezTo>
                  <a:cubicBezTo>
                    <a:pt x="226" y="67"/>
                    <a:pt x="226" y="66"/>
                    <a:pt x="226" y="66"/>
                  </a:cubicBezTo>
                  <a:cubicBezTo>
                    <a:pt x="227" y="66"/>
                    <a:pt x="228" y="66"/>
                    <a:pt x="229" y="66"/>
                  </a:cubicBezTo>
                  <a:cubicBezTo>
                    <a:pt x="229" y="66"/>
                    <a:pt x="229" y="66"/>
                    <a:pt x="229" y="66"/>
                  </a:cubicBezTo>
                  <a:cubicBezTo>
                    <a:pt x="229" y="66"/>
                    <a:pt x="229" y="66"/>
                    <a:pt x="230" y="66"/>
                  </a:cubicBezTo>
                  <a:cubicBezTo>
                    <a:pt x="230" y="66"/>
                    <a:pt x="230" y="65"/>
                    <a:pt x="230" y="65"/>
                  </a:cubicBezTo>
                  <a:cubicBezTo>
                    <a:pt x="230" y="65"/>
                    <a:pt x="231" y="65"/>
                    <a:pt x="231" y="65"/>
                  </a:cubicBezTo>
                  <a:cubicBezTo>
                    <a:pt x="231" y="65"/>
                    <a:pt x="231" y="65"/>
                    <a:pt x="231" y="65"/>
                  </a:cubicBezTo>
                  <a:cubicBezTo>
                    <a:pt x="232" y="65"/>
                    <a:pt x="232" y="65"/>
                    <a:pt x="233" y="65"/>
                  </a:cubicBezTo>
                  <a:cubicBezTo>
                    <a:pt x="233" y="65"/>
                    <a:pt x="233" y="65"/>
                    <a:pt x="233" y="65"/>
                  </a:cubicBezTo>
                  <a:cubicBezTo>
                    <a:pt x="233" y="64"/>
                    <a:pt x="234" y="64"/>
                    <a:pt x="235" y="64"/>
                  </a:cubicBezTo>
                  <a:cubicBezTo>
                    <a:pt x="235" y="64"/>
                    <a:pt x="235" y="64"/>
                    <a:pt x="235" y="64"/>
                  </a:cubicBezTo>
                  <a:cubicBezTo>
                    <a:pt x="235" y="64"/>
                    <a:pt x="235" y="64"/>
                    <a:pt x="235" y="64"/>
                  </a:cubicBezTo>
                  <a:cubicBezTo>
                    <a:pt x="235" y="64"/>
                    <a:pt x="235" y="64"/>
                    <a:pt x="235" y="64"/>
                  </a:cubicBezTo>
                  <a:cubicBezTo>
                    <a:pt x="236" y="63"/>
                    <a:pt x="237" y="63"/>
                    <a:pt x="237" y="63"/>
                  </a:cubicBezTo>
                  <a:cubicBezTo>
                    <a:pt x="237" y="63"/>
                    <a:pt x="237" y="63"/>
                    <a:pt x="237" y="63"/>
                  </a:cubicBezTo>
                  <a:cubicBezTo>
                    <a:pt x="238" y="63"/>
                    <a:pt x="238" y="63"/>
                    <a:pt x="238" y="63"/>
                  </a:cubicBezTo>
                  <a:cubicBezTo>
                    <a:pt x="238" y="63"/>
                    <a:pt x="238" y="63"/>
                    <a:pt x="238" y="63"/>
                  </a:cubicBezTo>
                  <a:cubicBezTo>
                    <a:pt x="239" y="63"/>
                    <a:pt x="239" y="63"/>
                    <a:pt x="239" y="63"/>
                  </a:cubicBezTo>
                  <a:cubicBezTo>
                    <a:pt x="239" y="62"/>
                    <a:pt x="239" y="62"/>
                    <a:pt x="239" y="62"/>
                  </a:cubicBezTo>
                  <a:cubicBezTo>
                    <a:pt x="240" y="62"/>
                    <a:pt x="241" y="62"/>
                    <a:pt x="241" y="61"/>
                  </a:cubicBezTo>
                  <a:cubicBezTo>
                    <a:pt x="241" y="61"/>
                    <a:pt x="241" y="61"/>
                    <a:pt x="241" y="61"/>
                  </a:cubicBezTo>
                  <a:cubicBezTo>
                    <a:pt x="242" y="61"/>
                    <a:pt x="242" y="61"/>
                    <a:pt x="242" y="61"/>
                  </a:cubicBezTo>
                  <a:cubicBezTo>
                    <a:pt x="242" y="61"/>
                    <a:pt x="242" y="61"/>
                    <a:pt x="242" y="61"/>
                  </a:cubicBezTo>
                  <a:cubicBezTo>
                    <a:pt x="243" y="61"/>
                    <a:pt x="243" y="60"/>
                    <a:pt x="244" y="60"/>
                  </a:cubicBezTo>
                  <a:cubicBezTo>
                    <a:pt x="244" y="60"/>
                    <a:pt x="244" y="60"/>
                    <a:pt x="244" y="59"/>
                  </a:cubicBezTo>
                  <a:cubicBezTo>
                    <a:pt x="245" y="59"/>
                    <a:pt x="246" y="59"/>
                    <a:pt x="247" y="59"/>
                  </a:cubicBezTo>
                  <a:cubicBezTo>
                    <a:pt x="247" y="59"/>
                    <a:pt x="247" y="58"/>
                    <a:pt x="247" y="58"/>
                  </a:cubicBezTo>
                  <a:cubicBezTo>
                    <a:pt x="247" y="58"/>
                    <a:pt x="247" y="58"/>
                    <a:pt x="248" y="58"/>
                  </a:cubicBezTo>
                  <a:cubicBezTo>
                    <a:pt x="248" y="58"/>
                    <a:pt x="248" y="57"/>
                    <a:pt x="248" y="57"/>
                  </a:cubicBezTo>
                  <a:cubicBezTo>
                    <a:pt x="248" y="57"/>
                    <a:pt x="249" y="57"/>
                    <a:pt x="249" y="57"/>
                  </a:cubicBezTo>
                  <a:cubicBezTo>
                    <a:pt x="249" y="57"/>
                    <a:pt x="250" y="56"/>
                    <a:pt x="250" y="56"/>
                  </a:cubicBezTo>
                  <a:cubicBezTo>
                    <a:pt x="250" y="56"/>
                    <a:pt x="250" y="56"/>
                    <a:pt x="250" y="56"/>
                  </a:cubicBezTo>
                  <a:cubicBezTo>
                    <a:pt x="250" y="56"/>
                    <a:pt x="250" y="56"/>
                    <a:pt x="250" y="56"/>
                  </a:cubicBezTo>
                  <a:cubicBezTo>
                    <a:pt x="251" y="56"/>
                    <a:pt x="251" y="56"/>
                    <a:pt x="251" y="56"/>
                  </a:cubicBezTo>
                  <a:cubicBezTo>
                    <a:pt x="252" y="55"/>
                    <a:pt x="252" y="55"/>
                    <a:pt x="252" y="55"/>
                  </a:cubicBezTo>
                  <a:cubicBezTo>
                    <a:pt x="252" y="55"/>
                    <a:pt x="252" y="55"/>
                    <a:pt x="253" y="55"/>
                  </a:cubicBezTo>
                  <a:cubicBezTo>
                    <a:pt x="253" y="55"/>
                    <a:pt x="253" y="55"/>
                    <a:pt x="253" y="54"/>
                  </a:cubicBezTo>
                  <a:cubicBezTo>
                    <a:pt x="253" y="54"/>
                    <a:pt x="253" y="54"/>
                    <a:pt x="254" y="54"/>
                  </a:cubicBezTo>
                  <a:cubicBezTo>
                    <a:pt x="254" y="54"/>
                    <a:pt x="254" y="54"/>
                    <a:pt x="254" y="53"/>
                  </a:cubicBezTo>
                  <a:cubicBezTo>
                    <a:pt x="254" y="53"/>
                    <a:pt x="254" y="53"/>
                    <a:pt x="255" y="53"/>
                  </a:cubicBezTo>
                  <a:cubicBezTo>
                    <a:pt x="255" y="53"/>
                    <a:pt x="255" y="53"/>
                    <a:pt x="255" y="52"/>
                  </a:cubicBezTo>
                  <a:cubicBezTo>
                    <a:pt x="256" y="52"/>
                    <a:pt x="256" y="52"/>
                    <a:pt x="256" y="52"/>
                  </a:cubicBezTo>
                  <a:cubicBezTo>
                    <a:pt x="256" y="52"/>
                    <a:pt x="256" y="52"/>
                    <a:pt x="256" y="52"/>
                  </a:cubicBezTo>
                  <a:cubicBezTo>
                    <a:pt x="257" y="52"/>
                    <a:pt x="257" y="52"/>
                    <a:pt x="257" y="52"/>
                  </a:cubicBezTo>
                  <a:cubicBezTo>
                    <a:pt x="257" y="51"/>
                    <a:pt x="258" y="51"/>
                    <a:pt x="258" y="51"/>
                  </a:cubicBezTo>
                  <a:cubicBezTo>
                    <a:pt x="258" y="51"/>
                    <a:pt x="258" y="51"/>
                    <a:pt x="258" y="51"/>
                  </a:cubicBezTo>
                  <a:cubicBezTo>
                    <a:pt x="259" y="50"/>
                    <a:pt x="259" y="50"/>
                    <a:pt x="259" y="50"/>
                  </a:cubicBezTo>
                  <a:cubicBezTo>
                    <a:pt x="259" y="50"/>
                    <a:pt x="259" y="50"/>
                    <a:pt x="260" y="50"/>
                  </a:cubicBezTo>
                  <a:cubicBezTo>
                    <a:pt x="260" y="50"/>
                    <a:pt x="260" y="49"/>
                    <a:pt x="260" y="49"/>
                  </a:cubicBezTo>
                  <a:cubicBezTo>
                    <a:pt x="260" y="49"/>
                    <a:pt x="261" y="49"/>
                    <a:pt x="261" y="49"/>
                  </a:cubicBezTo>
                  <a:cubicBezTo>
                    <a:pt x="261" y="49"/>
                    <a:pt x="261" y="48"/>
                    <a:pt x="262" y="48"/>
                  </a:cubicBezTo>
                  <a:cubicBezTo>
                    <a:pt x="262" y="48"/>
                    <a:pt x="262" y="48"/>
                    <a:pt x="262" y="48"/>
                  </a:cubicBezTo>
                  <a:cubicBezTo>
                    <a:pt x="263" y="47"/>
                    <a:pt x="263" y="47"/>
                    <a:pt x="263" y="47"/>
                  </a:cubicBezTo>
                  <a:cubicBezTo>
                    <a:pt x="263" y="47"/>
                    <a:pt x="263" y="47"/>
                    <a:pt x="264" y="47"/>
                  </a:cubicBezTo>
                  <a:cubicBezTo>
                    <a:pt x="264" y="46"/>
                    <a:pt x="264" y="46"/>
                    <a:pt x="264" y="46"/>
                  </a:cubicBezTo>
                  <a:cubicBezTo>
                    <a:pt x="265" y="46"/>
                    <a:pt x="265" y="46"/>
                    <a:pt x="265" y="46"/>
                  </a:cubicBezTo>
                  <a:cubicBezTo>
                    <a:pt x="265" y="45"/>
                    <a:pt x="265" y="45"/>
                    <a:pt x="265" y="45"/>
                  </a:cubicBezTo>
                  <a:cubicBezTo>
                    <a:pt x="266" y="45"/>
                    <a:pt x="267" y="44"/>
                    <a:pt x="267" y="44"/>
                  </a:cubicBezTo>
                  <a:cubicBezTo>
                    <a:pt x="267" y="43"/>
                    <a:pt x="267" y="43"/>
                    <a:pt x="267" y="43"/>
                  </a:cubicBezTo>
                  <a:cubicBezTo>
                    <a:pt x="267" y="43"/>
                    <a:pt x="268" y="43"/>
                    <a:pt x="268" y="43"/>
                  </a:cubicBezTo>
                  <a:cubicBezTo>
                    <a:pt x="268" y="42"/>
                    <a:pt x="268" y="42"/>
                    <a:pt x="268" y="42"/>
                  </a:cubicBezTo>
                  <a:cubicBezTo>
                    <a:pt x="269" y="40"/>
                    <a:pt x="270" y="39"/>
                    <a:pt x="271" y="37"/>
                  </a:cubicBezTo>
                  <a:cubicBezTo>
                    <a:pt x="272" y="37"/>
                    <a:pt x="272" y="37"/>
                    <a:pt x="272" y="37"/>
                  </a:cubicBezTo>
                  <a:cubicBezTo>
                    <a:pt x="272" y="37"/>
                    <a:pt x="272" y="37"/>
                    <a:pt x="272" y="37"/>
                  </a:cubicBezTo>
                  <a:cubicBezTo>
                    <a:pt x="273" y="37"/>
                    <a:pt x="273" y="37"/>
                    <a:pt x="273" y="37"/>
                  </a:cubicBezTo>
                  <a:cubicBezTo>
                    <a:pt x="273" y="37"/>
                    <a:pt x="273" y="36"/>
                    <a:pt x="273" y="36"/>
                  </a:cubicBezTo>
                  <a:cubicBezTo>
                    <a:pt x="273" y="36"/>
                    <a:pt x="274" y="36"/>
                    <a:pt x="274" y="36"/>
                  </a:cubicBezTo>
                  <a:cubicBezTo>
                    <a:pt x="274" y="36"/>
                    <a:pt x="274" y="36"/>
                    <a:pt x="274" y="36"/>
                  </a:cubicBezTo>
                  <a:cubicBezTo>
                    <a:pt x="274" y="36"/>
                    <a:pt x="274" y="36"/>
                    <a:pt x="275" y="36"/>
                  </a:cubicBezTo>
                  <a:cubicBezTo>
                    <a:pt x="275" y="36"/>
                    <a:pt x="275" y="36"/>
                    <a:pt x="275" y="36"/>
                  </a:cubicBezTo>
                  <a:cubicBezTo>
                    <a:pt x="275" y="36"/>
                    <a:pt x="275" y="36"/>
                    <a:pt x="275" y="36"/>
                  </a:cubicBezTo>
                  <a:cubicBezTo>
                    <a:pt x="275" y="35"/>
                    <a:pt x="275" y="35"/>
                    <a:pt x="275" y="35"/>
                  </a:cubicBezTo>
                  <a:cubicBezTo>
                    <a:pt x="276" y="35"/>
                    <a:pt x="276" y="35"/>
                    <a:pt x="277" y="35"/>
                  </a:cubicBezTo>
                  <a:cubicBezTo>
                    <a:pt x="277" y="35"/>
                    <a:pt x="277" y="34"/>
                    <a:pt x="277" y="34"/>
                  </a:cubicBezTo>
                  <a:cubicBezTo>
                    <a:pt x="277" y="34"/>
                    <a:pt x="278" y="34"/>
                    <a:pt x="278" y="34"/>
                  </a:cubicBezTo>
                  <a:cubicBezTo>
                    <a:pt x="278" y="34"/>
                    <a:pt x="278" y="34"/>
                    <a:pt x="278" y="33"/>
                  </a:cubicBezTo>
                  <a:cubicBezTo>
                    <a:pt x="279" y="33"/>
                    <a:pt x="279" y="33"/>
                    <a:pt x="279" y="33"/>
                  </a:cubicBezTo>
                  <a:cubicBezTo>
                    <a:pt x="280" y="33"/>
                    <a:pt x="280" y="33"/>
                    <a:pt x="280" y="32"/>
                  </a:cubicBezTo>
                  <a:cubicBezTo>
                    <a:pt x="280" y="32"/>
                    <a:pt x="280" y="32"/>
                    <a:pt x="280" y="32"/>
                  </a:cubicBezTo>
                  <a:cubicBezTo>
                    <a:pt x="281" y="32"/>
                    <a:pt x="281" y="32"/>
                    <a:pt x="281" y="32"/>
                  </a:cubicBezTo>
                  <a:cubicBezTo>
                    <a:pt x="281" y="32"/>
                    <a:pt x="281" y="32"/>
                    <a:pt x="282" y="32"/>
                  </a:cubicBezTo>
                  <a:cubicBezTo>
                    <a:pt x="282" y="31"/>
                    <a:pt x="282" y="31"/>
                    <a:pt x="282" y="31"/>
                  </a:cubicBezTo>
                  <a:cubicBezTo>
                    <a:pt x="282" y="31"/>
                    <a:pt x="283" y="31"/>
                    <a:pt x="283" y="31"/>
                  </a:cubicBezTo>
                  <a:cubicBezTo>
                    <a:pt x="283" y="30"/>
                    <a:pt x="283" y="30"/>
                    <a:pt x="284" y="30"/>
                  </a:cubicBezTo>
                  <a:cubicBezTo>
                    <a:pt x="284" y="30"/>
                    <a:pt x="284" y="30"/>
                    <a:pt x="284" y="30"/>
                  </a:cubicBezTo>
                  <a:cubicBezTo>
                    <a:pt x="285" y="29"/>
                    <a:pt x="285" y="28"/>
                    <a:pt x="286" y="28"/>
                  </a:cubicBezTo>
                  <a:cubicBezTo>
                    <a:pt x="286" y="28"/>
                    <a:pt x="286" y="28"/>
                    <a:pt x="286" y="28"/>
                  </a:cubicBezTo>
                  <a:cubicBezTo>
                    <a:pt x="287" y="27"/>
                    <a:pt x="288" y="26"/>
                    <a:pt x="289" y="25"/>
                  </a:cubicBezTo>
                  <a:cubicBezTo>
                    <a:pt x="289" y="25"/>
                    <a:pt x="289" y="25"/>
                    <a:pt x="289" y="25"/>
                  </a:cubicBezTo>
                  <a:cubicBezTo>
                    <a:pt x="290" y="24"/>
                    <a:pt x="292" y="23"/>
                    <a:pt x="293" y="22"/>
                  </a:cubicBezTo>
                  <a:cubicBezTo>
                    <a:pt x="293" y="22"/>
                    <a:pt x="293" y="22"/>
                    <a:pt x="293" y="22"/>
                  </a:cubicBezTo>
                  <a:cubicBezTo>
                    <a:pt x="295" y="20"/>
                    <a:pt x="296" y="19"/>
                    <a:pt x="297" y="17"/>
                  </a:cubicBezTo>
                  <a:cubicBezTo>
                    <a:pt x="298" y="17"/>
                    <a:pt x="298" y="17"/>
                    <a:pt x="298" y="17"/>
                  </a:cubicBezTo>
                  <a:cubicBezTo>
                    <a:pt x="299" y="17"/>
                    <a:pt x="299" y="16"/>
                    <a:pt x="300" y="15"/>
                  </a:cubicBezTo>
                  <a:cubicBezTo>
                    <a:pt x="300" y="15"/>
                    <a:pt x="301" y="15"/>
                    <a:pt x="301" y="15"/>
                  </a:cubicBezTo>
                  <a:cubicBezTo>
                    <a:pt x="301" y="14"/>
                    <a:pt x="301" y="14"/>
                    <a:pt x="302" y="14"/>
                  </a:cubicBezTo>
                  <a:cubicBezTo>
                    <a:pt x="302" y="14"/>
                    <a:pt x="302" y="14"/>
                    <a:pt x="303" y="14"/>
                  </a:cubicBezTo>
                  <a:cubicBezTo>
                    <a:pt x="303" y="13"/>
                    <a:pt x="303" y="13"/>
                    <a:pt x="303" y="13"/>
                  </a:cubicBezTo>
                  <a:cubicBezTo>
                    <a:pt x="303" y="13"/>
                    <a:pt x="303" y="13"/>
                    <a:pt x="303" y="13"/>
                  </a:cubicBezTo>
                  <a:cubicBezTo>
                    <a:pt x="303" y="13"/>
                    <a:pt x="303" y="12"/>
                    <a:pt x="304" y="12"/>
                  </a:cubicBezTo>
                  <a:cubicBezTo>
                    <a:pt x="304" y="12"/>
                    <a:pt x="304" y="12"/>
                    <a:pt x="304" y="12"/>
                  </a:cubicBezTo>
                  <a:cubicBezTo>
                    <a:pt x="305" y="12"/>
                    <a:pt x="305" y="11"/>
                    <a:pt x="305" y="11"/>
                  </a:cubicBezTo>
                  <a:cubicBezTo>
                    <a:pt x="305" y="11"/>
                    <a:pt x="305" y="11"/>
                    <a:pt x="306" y="11"/>
                  </a:cubicBezTo>
                  <a:cubicBezTo>
                    <a:pt x="306" y="11"/>
                    <a:pt x="306" y="11"/>
                    <a:pt x="306" y="10"/>
                  </a:cubicBezTo>
                  <a:cubicBezTo>
                    <a:pt x="306" y="10"/>
                    <a:pt x="307" y="10"/>
                    <a:pt x="307" y="10"/>
                  </a:cubicBezTo>
                  <a:cubicBezTo>
                    <a:pt x="307" y="10"/>
                    <a:pt x="307" y="10"/>
                    <a:pt x="307" y="10"/>
                  </a:cubicBezTo>
                  <a:cubicBezTo>
                    <a:pt x="308" y="10"/>
                    <a:pt x="308" y="9"/>
                    <a:pt x="308" y="9"/>
                  </a:cubicBezTo>
                  <a:cubicBezTo>
                    <a:pt x="309" y="9"/>
                    <a:pt x="309" y="9"/>
                    <a:pt x="309" y="9"/>
                  </a:cubicBezTo>
                  <a:cubicBezTo>
                    <a:pt x="310" y="8"/>
                    <a:pt x="310" y="8"/>
                    <a:pt x="311" y="8"/>
                  </a:cubicBezTo>
                  <a:cubicBezTo>
                    <a:pt x="311" y="8"/>
                    <a:pt x="311" y="7"/>
                    <a:pt x="311" y="7"/>
                  </a:cubicBezTo>
                  <a:cubicBezTo>
                    <a:pt x="311" y="7"/>
                    <a:pt x="312" y="7"/>
                    <a:pt x="312" y="7"/>
                  </a:cubicBezTo>
                  <a:cubicBezTo>
                    <a:pt x="312" y="7"/>
                    <a:pt x="312" y="7"/>
                    <a:pt x="312" y="7"/>
                  </a:cubicBezTo>
                  <a:cubicBezTo>
                    <a:pt x="312" y="7"/>
                    <a:pt x="312" y="7"/>
                    <a:pt x="313" y="7"/>
                  </a:cubicBezTo>
                  <a:cubicBezTo>
                    <a:pt x="313" y="7"/>
                    <a:pt x="313" y="7"/>
                    <a:pt x="313" y="7"/>
                  </a:cubicBezTo>
                  <a:cubicBezTo>
                    <a:pt x="313" y="7"/>
                    <a:pt x="313" y="7"/>
                    <a:pt x="314" y="7"/>
                  </a:cubicBezTo>
                  <a:cubicBezTo>
                    <a:pt x="314" y="6"/>
                    <a:pt x="314" y="6"/>
                    <a:pt x="314" y="6"/>
                  </a:cubicBezTo>
                  <a:cubicBezTo>
                    <a:pt x="314" y="6"/>
                    <a:pt x="315" y="6"/>
                    <a:pt x="315" y="6"/>
                  </a:cubicBezTo>
                  <a:cubicBezTo>
                    <a:pt x="315" y="6"/>
                    <a:pt x="315" y="6"/>
                    <a:pt x="315" y="5"/>
                  </a:cubicBezTo>
                  <a:cubicBezTo>
                    <a:pt x="316" y="5"/>
                    <a:pt x="316" y="5"/>
                    <a:pt x="317" y="5"/>
                  </a:cubicBezTo>
                  <a:cubicBezTo>
                    <a:pt x="317" y="5"/>
                    <a:pt x="317" y="5"/>
                    <a:pt x="317" y="5"/>
                  </a:cubicBezTo>
                  <a:cubicBezTo>
                    <a:pt x="318" y="5"/>
                    <a:pt x="319" y="5"/>
                    <a:pt x="320" y="5"/>
                  </a:cubicBezTo>
                  <a:cubicBezTo>
                    <a:pt x="320" y="5"/>
                    <a:pt x="320" y="5"/>
                    <a:pt x="320" y="5"/>
                  </a:cubicBezTo>
                  <a:cubicBezTo>
                    <a:pt x="321" y="5"/>
                    <a:pt x="322" y="5"/>
                    <a:pt x="323" y="5"/>
                  </a:cubicBezTo>
                  <a:cubicBezTo>
                    <a:pt x="323" y="5"/>
                    <a:pt x="323" y="5"/>
                    <a:pt x="323" y="5"/>
                  </a:cubicBezTo>
                  <a:cubicBezTo>
                    <a:pt x="325" y="5"/>
                    <a:pt x="327" y="5"/>
                    <a:pt x="329" y="5"/>
                  </a:cubicBezTo>
                  <a:cubicBezTo>
                    <a:pt x="329" y="5"/>
                    <a:pt x="329" y="5"/>
                    <a:pt x="329" y="5"/>
                  </a:cubicBezTo>
                  <a:cubicBezTo>
                    <a:pt x="331" y="5"/>
                    <a:pt x="333" y="5"/>
                    <a:pt x="335" y="5"/>
                  </a:cubicBezTo>
                  <a:cubicBezTo>
                    <a:pt x="335" y="6"/>
                    <a:pt x="335" y="6"/>
                    <a:pt x="335" y="6"/>
                  </a:cubicBezTo>
                  <a:cubicBezTo>
                    <a:pt x="336" y="6"/>
                    <a:pt x="338" y="6"/>
                    <a:pt x="340" y="6"/>
                  </a:cubicBezTo>
                  <a:cubicBezTo>
                    <a:pt x="340" y="6"/>
                    <a:pt x="340" y="6"/>
                    <a:pt x="340" y="5"/>
                  </a:cubicBezTo>
                  <a:cubicBezTo>
                    <a:pt x="341" y="5"/>
                    <a:pt x="343" y="5"/>
                    <a:pt x="344" y="5"/>
                  </a:cubicBezTo>
                  <a:cubicBezTo>
                    <a:pt x="344" y="5"/>
                    <a:pt x="344" y="5"/>
                    <a:pt x="344" y="5"/>
                  </a:cubicBezTo>
                  <a:cubicBezTo>
                    <a:pt x="346" y="5"/>
                    <a:pt x="348" y="5"/>
                    <a:pt x="349" y="5"/>
                  </a:cubicBezTo>
                  <a:cubicBezTo>
                    <a:pt x="349" y="5"/>
                    <a:pt x="349" y="5"/>
                    <a:pt x="349" y="5"/>
                  </a:cubicBezTo>
                  <a:cubicBezTo>
                    <a:pt x="350" y="5"/>
                    <a:pt x="351" y="5"/>
                    <a:pt x="351" y="4"/>
                  </a:cubicBezTo>
                  <a:cubicBezTo>
                    <a:pt x="351" y="4"/>
                    <a:pt x="351" y="4"/>
                    <a:pt x="351" y="4"/>
                  </a:cubicBezTo>
                  <a:cubicBezTo>
                    <a:pt x="352" y="4"/>
                    <a:pt x="353" y="4"/>
                    <a:pt x="354" y="3"/>
                  </a:cubicBezTo>
                  <a:cubicBezTo>
                    <a:pt x="354" y="3"/>
                    <a:pt x="354" y="3"/>
                    <a:pt x="354" y="3"/>
                  </a:cubicBezTo>
                  <a:cubicBezTo>
                    <a:pt x="354" y="3"/>
                    <a:pt x="354" y="3"/>
                    <a:pt x="354" y="3"/>
                  </a:cubicBezTo>
                  <a:cubicBezTo>
                    <a:pt x="354" y="3"/>
                    <a:pt x="354" y="3"/>
                    <a:pt x="354" y="3"/>
                  </a:cubicBezTo>
                  <a:cubicBezTo>
                    <a:pt x="355" y="3"/>
                    <a:pt x="355" y="3"/>
                    <a:pt x="355" y="3"/>
                  </a:cubicBezTo>
                  <a:cubicBezTo>
                    <a:pt x="355" y="3"/>
                    <a:pt x="355" y="2"/>
                    <a:pt x="355" y="2"/>
                  </a:cubicBezTo>
                  <a:cubicBezTo>
                    <a:pt x="355" y="2"/>
                    <a:pt x="356" y="2"/>
                    <a:pt x="356" y="2"/>
                  </a:cubicBezTo>
                  <a:cubicBezTo>
                    <a:pt x="356" y="2"/>
                    <a:pt x="356" y="2"/>
                    <a:pt x="356" y="2"/>
                  </a:cubicBezTo>
                  <a:cubicBezTo>
                    <a:pt x="357" y="2"/>
                    <a:pt x="357" y="2"/>
                    <a:pt x="357" y="2"/>
                  </a:cubicBezTo>
                  <a:cubicBezTo>
                    <a:pt x="357" y="2"/>
                    <a:pt x="357" y="1"/>
                    <a:pt x="357" y="1"/>
                  </a:cubicBezTo>
                  <a:cubicBezTo>
                    <a:pt x="358" y="1"/>
                    <a:pt x="358" y="1"/>
                    <a:pt x="358" y="1"/>
                  </a:cubicBezTo>
                  <a:cubicBezTo>
                    <a:pt x="358" y="1"/>
                    <a:pt x="358" y="1"/>
                    <a:pt x="358" y="1"/>
                  </a:cubicBezTo>
                  <a:cubicBezTo>
                    <a:pt x="358" y="1"/>
                    <a:pt x="359" y="1"/>
                    <a:pt x="359" y="1"/>
                  </a:cubicBezTo>
                  <a:cubicBezTo>
                    <a:pt x="359" y="1"/>
                    <a:pt x="359" y="1"/>
                    <a:pt x="359" y="1"/>
                  </a:cubicBezTo>
                  <a:cubicBezTo>
                    <a:pt x="360" y="1"/>
                    <a:pt x="360" y="1"/>
                    <a:pt x="361" y="1"/>
                  </a:cubicBezTo>
                  <a:cubicBezTo>
                    <a:pt x="361" y="0"/>
                    <a:pt x="361" y="0"/>
                    <a:pt x="361" y="0"/>
                  </a:cubicBezTo>
                  <a:cubicBezTo>
                    <a:pt x="363" y="0"/>
                    <a:pt x="365" y="0"/>
                    <a:pt x="367" y="1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67" y="1"/>
                    <a:pt x="368" y="1"/>
                    <a:pt x="368" y="1"/>
                  </a:cubicBezTo>
                  <a:cubicBezTo>
                    <a:pt x="368" y="1"/>
                    <a:pt x="368" y="1"/>
                    <a:pt x="368" y="1"/>
                  </a:cubicBezTo>
                  <a:cubicBezTo>
                    <a:pt x="369" y="1"/>
                    <a:pt x="369" y="1"/>
                    <a:pt x="369" y="1"/>
                  </a:cubicBezTo>
                  <a:cubicBezTo>
                    <a:pt x="369" y="1"/>
                    <a:pt x="369" y="2"/>
                    <a:pt x="369" y="2"/>
                  </a:cubicBezTo>
                  <a:cubicBezTo>
                    <a:pt x="369" y="2"/>
                    <a:pt x="370" y="2"/>
                    <a:pt x="370" y="2"/>
                  </a:cubicBezTo>
                  <a:cubicBezTo>
                    <a:pt x="370" y="2"/>
                    <a:pt x="370" y="2"/>
                    <a:pt x="370" y="2"/>
                  </a:cubicBezTo>
                  <a:cubicBezTo>
                    <a:pt x="371" y="2"/>
                    <a:pt x="371" y="2"/>
                    <a:pt x="371" y="2"/>
                  </a:cubicBezTo>
                  <a:cubicBezTo>
                    <a:pt x="371" y="2"/>
                    <a:pt x="371" y="2"/>
                    <a:pt x="371" y="2"/>
                  </a:cubicBezTo>
                  <a:cubicBezTo>
                    <a:pt x="371" y="2"/>
                    <a:pt x="372" y="2"/>
                    <a:pt x="372" y="2"/>
                  </a:cubicBezTo>
                  <a:cubicBezTo>
                    <a:pt x="372" y="2"/>
                    <a:pt x="372" y="3"/>
                    <a:pt x="372" y="3"/>
                  </a:cubicBezTo>
                  <a:cubicBezTo>
                    <a:pt x="372" y="3"/>
                    <a:pt x="373" y="3"/>
                    <a:pt x="373" y="3"/>
                  </a:cubicBezTo>
                  <a:cubicBezTo>
                    <a:pt x="373" y="3"/>
                    <a:pt x="373" y="3"/>
                    <a:pt x="373" y="3"/>
                  </a:cubicBezTo>
                  <a:cubicBezTo>
                    <a:pt x="373" y="3"/>
                    <a:pt x="374" y="3"/>
                    <a:pt x="374" y="3"/>
                  </a:cubicBezTo>
                  <a:cubicBezTo>
                    <a:pt x="374" y="3"/>
                    <a:pt x="374" y="3"/>
                    <a:pt x="374" y="3"/>
                  </a:cubicBezTo>
                  <a:cubicBezTo>
                    <a:pt x="374" y="3"/>
                    <a:pt x="374" y="3"/>
                    <a:pt x="375" y="3"/>
                  </a:cubicBezTo>
                  <a:cubicBezTo>
                    <a:pt x="375" y="4"/>
                    <a:pt x="375" y="4"/>
                    <a:pt x="375" y="4"/>
                  </a:cubicBezTo>
                  <a:cubicBezTo>
                    <a:pt x="375" y="4"/>
                    <a:pt x="375" y="4"/>
                    <a:pt x="376" y="4"/>
                  </a:cubicBezTo>
                  <a:cubicBezTo>
                    <a:pt x="376" y="4"/>
                    <a:pt x="376" y="4"/>
                    <a:pt x="376" y="4"/>
                  </a:cubicBezTo>
                  <a:cubicBezTo>
                    <a:pt x="376" y="4"/>
                    <a:pt x="376" y="4"/>
                    <a:pt x="376" y="4"/>
                  </a:cubicBezTo>
                  <a:cubicBezTo>
                    <a:pt x="376" y="4"/>
                    <a:pt x="376" y="4"/>
                    <a:pt x="376" y="4"/>
                  </a:cubicBezTo>
                  <a:cubicBezTo>
                    <a:pt x="377" y="4"/>
                    <a:pt x="377" y="4"/>
                    <a:pt x="377" y="4"/>
                  </a:cubicBezTo>
                  <a:cubicBezTo>
                    <a:pt x="377" y="5"/>
                    <a:pt x="377" y="5"/>
                    <a:pt x="377" y="5"/>
                  </a:cubicBezTo>
                  <a:cubicBezTo>
                    <a:pt x="378" y="5"/>
                    <a:pt x="379" y="5"/>
                    <a:pt x="379" y="5"/>
                  </a:cubicBezTo>
                  <a:cubicBezTo>
                    <a:pt x="379" y="6"/>
                    <a:pt x="379" y="6"/>
                    <a:pt x="379" y="6"/>
                  </a:cubicBezTo>
                  <a:cubicBezTo>
                    <a:pt x="380" y="6"/>
                    <a:pt x="380" y="6"/>
                    <a:pt x="381" y="6"/>
                  </a:cubicBezTo>
                  <a:cubicBezTo>
                    <a:pt x="381" y="6"/>
                    <a:pt x="381" y="6"/>
                    <a:pt x="381" y="7"/>
                  </a:cubicBezTo>
                  <a:cubicBezTo>
                    <a:pt x="381" y="7"/>
                    <a:pt x="382" y="7"/>
                    <a:pt x="382" y="7"/>
                  </a:cubicBezTo>
                  <a:cubicBezTo>
                    <a:pt x="382" y="7"/>
                    <a:pt x="382" y="7"/>
                    <a:pt x="382" y="8"/>
                  </a:cubicBezTo>
                  <a:cubicBezTo>
                    <a:pt x="382" y="8"/>
                    <a:pt x="383" y="8"/>
                    <a:pt x="383" y="8"/>
                  </a:cubicBezTo>
                  <a:cubicBezTo>
                    <a:pt x="383" y="8"/>
                    <a:pt x="383" y="8"/>
                    <a:pt x="383" y="8"/>
                  </a:cubicBezTo>
                  <a:cubicBezTo>
                    <a:pt x="384" y="8"/>
                    <a:pt x="384" y="8"/>
                    <a:pt x="384" y="8"/>
                  </a:cubicBezTo>
                  <a:cubicBezTo>
                    <a:pt x="384" y="9"/>
                    <a:pt x="384" y="9"/>
                    <a:pt x="385" y="9"/>
                  </a:cubicBezTo>
                  <a:cubicBezTo>
                    <a:pt x="385" y="9"/>
                    <a:pt x="385" y="9"/>
                    <a:pt x="385" y="9"/>
                  </a:cubicBezTo>
                  <a:cubicBezTo>
                    <a:pt x="386" y="10"/>
                    <a:pt x="386" y="10"/>
                    <a:pt x="386" y="10"/>
                  </a:cubicBezTo>
                  <a:cubicBezTo>
                    <a:pt x="386" y="10"/>
                    <a:pt x="387" y="10"/>
                    <a:pt x="387" y="10"/>
                  </a:cubicBezTo>
                  <a:cubicBezTo>
                    <a:pt x="387" y="11"/>
                    <a:pt x="388" y="12"/>
                    <a:pt x="388" y="12"/>
                  </a:cubicBezTo>
                  <a:cubicBezTo>
                    <a:pt x="388" y="12"/>
                    <a:pt x="389" y="12"/>
                    <a:pt x="389" y="12"/>
                  </a:cubicBezTo>
                  <a:cubicBezTo>
                    <a:pt x="389" y="13"/>
                    <a:pt x="390" y="14"/>
                    <a:pt x="391" y="14"/>
                  </a:cubicBezTo>
                  <a:cubicBezTo>
                    <a:pt x="391" y="14"/>
                    <a:pt x="391" y="14"/>
                    <a:pt x="391" y="14"/>
                  </a:cubicBezTo>
                  <a:cubicBezTo>
                    <a:pt x="392" y="15"/>
                    <a:pt x="393" y="16"/>
                    <a:pt x="394" y="17"/>
                  </a:cubicBezTo>
                  <a:cubicBezTo>
                    <a:pt x="394" y="17"/>
                    <a:pt x="394" y="17"/>
                    <a:pt x="395" y="17"/>
                  </a:cubicBezTo>
                  <a:cubicBezTo>
                    <a:pt x="395" y="18"/>
                    <a:pt x="396" y="19"/>
                    <a:pt x="397" y="20"/>
                  </a:cubicBezTo>
                  <a:cubicBezTo>
                    <a:pt x="397" y="20"/>
                    <a:pt x="397" y="20"/>
                    <a:pt x="398" y="20"/>
                  </a:cubicBezTo>
                  <a:cubicBezTo>
                    <a:pt x="398" y="20"/>
                    <a:pt x="399" y="21"/>
                    <a:pt x="399" y="22"/>
                  </a:cubicBezTo>
                  <a:cubicBezTo>
                    <a:pt x="399" y="22"/>
                    <a:pt x="399" y="22"/>
                    <a:pt x="399" y="22"/>
                  </a:cubicBezTo>
                  <a:cubicBezTo>
                    <a:pt x="400" y="22"/>
                    <a:pt x="400" y="22"/>
                    <a:pt x="400" y="22"/>
                  </a:cubicBezTo>
                  <a:cubicBezTo>
                    <a:pt x="400" y="22"/>
                    <a:pt x="400" y="22"/>
                    <a:pt x="400" y="22"/>
                  </a:cubicBezTo>
                  <a:cubicBezTo>
                    <a:pt x="401" y="23"/>
                    <a:pt x="401" y="23"/>
                    <a:pt x="402" y="24"/>
                  </a:cubicBezTo>
                  <a:cubicBezTo>
                    <a:pt x="402" y="24"/>
                    <a:pt x="403" y="24"/>
                    <a:pt x="403" y="24"/>
                  </a:cubicBezTo>
                  <a:cubicBezTo>
                    <a:pt x="403" y="25"/>
                    <a:pt x="403" y="25"/>
                    <a:pt x="403" y="25"/>
                  </a:cubicBezTo>
                  <a:cubicBezTo>
                    <a:pt x="403" y="25"/>
                    <a:pt x="404" y="25"/>
                    <a:pt x="404" y="25"/>
                  </a:cubicBezTo>
                  <a:cubicBezTo>
                    <a:pt x="404" y="25"/>
                    <a:pt x="404" y="26"/>
                    <a:pt x="405" y="26"/>
                  </a:cubicBezTo>
                  <a:cubicBezTo>
                    <a:pt x="405" y="26"/>
                    <a:pt x="405" y="26"/>
                    <a:pt x="405" y="26"/>
                  </a:cubicBezTo>
                  <a:cubicBezTo>
                    <a:pt x="406" y="26"/>
                    <a:pt x="406" y="27"/>
                    <a:pt x="406" y="27"/>
                  </a:cubicBezTo>
                  <a:cubicBezTo>
                    <a:pt x="407" y="27"/>
                    <a:pt x="407" y="27"/>
                    <a:pt x="407" y="28"/>
                  </a:cubicBezTo>
                  <a:cubicBezTo>
                    <a:pt x="408" y="28"/>
                    <a:pt x="408" y="28"/>
                    <a:pt x="408" y="28"/>
                  </a:cubicBezTo>
                  <a:cubicBezTo>
                    <a:pt x="408" y="28"/>
                    <a:pt x="409" y="28"/>
                    <a:pt x="409" y="29"/>
                  </a:cubicBezTo>
                  <a:cubicBezTo>
                    <a:pt x="409" y="29"/>
                    <a:pt x="409" y="29"/>
                    <a:pt x="410" y="29"/>
                  </a:cubicBezTo>
                  <a:cubicBezTo>
                    <a:pt x="411" y="30"/>
                    <a:pt x="414" y="31"/>
                    <a:pt x="417" y="31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</a:ln>
            <a:effectLst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64800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4000" b="1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0000"/>
                </a:solidFill>
                <a:latin typeface="UKIJ Qolyazma" pitchFamily="18" charset="0"/>
                <a:cs typeface="UKIJ Qolyazma" pitchFamily="18" charset="0"/>
              </a:endParaRPr>
            </a:p>
          </p:txBody>
        </p:sp>
        <p:sp>
          <p:nvSpPr>
            <p:cNvPr id="89" name="Freeform 7">
              <a:extLst>
                <a:ext uri="{FF2B5EF4-FFF2-40B4-BE49-F238E27FC236}">
                  <a16:creationId xmlns:a16="http://schemas.microsoft.com/office/drawing/2014/main" id="{A097CC0F-40B8-DE01-6FDA-EB99B5DFDBB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6999" y="1587975"/>
              <a:ext cx="496141" cy="431292"/>
            </a:xfrm>
            <a:custGeom>
              <a:avLst/>
              <a:gdLst>
                <a:gd name="T0" fmla="*/ 201 w 228"/>
                <a:gd name="T1" fmla="*/ 36 h 198"/>
                <a:gd name="T2" fmla="*/ 208 w 228"/>
                <a:gd name="T3" fmla="*/ 42 h 198"/>
                <a:gd name="T4" fmla="*/ 213 w 228"/>
                <a:gd name="T5" fmla="*/ 46 h 198"/>
                <a:gd name="T6" fmla="*/ 218 w 228"/>
                <a:gd name="T7" fmla="*/ 49 h 198"/>
                <a:gd name="T8" fmla="*/ 225 w 228"/>
                <a:gd name="T9" fmla="*/ 54 h 198"/>
                <a:gd name="T10" fmla="*/ 211 w 228"/>
                <a:gd name="T11" fmla="*/ 101 h 198"/>
                <a:gd name="T12" fmla="*/ 210 w 228"/>
                <a:gd name="T13" fmla="*/ 112 h 198"/>
                <a:gd name="T14" fmla="*/ 202 w 228"/>
                <a:gd name="T15" fmla="*/ 118 h 198"/>
                <a:gd name="T16" fmla="*/ 196 w 228"/>
                <a:gd name="T17" fmla="*/ 122 h 198"/>
                <a:gd name="T18" fmla="*/ 189 w 228"/>
                <a:gd name="T19" fmla="*/ 127 h 198"/>
                <a:gd name="T20" fmla="*/ 182 w 228"/>
                <a:gd name="T21" fmla="*/ 131 h 198"/>
                <a:gd name="T22" fmla="*/ 176 w 228"/>
                <a:gd name="T23" fmla="*/ 135 h 198"/>
                <a:gd name="T24" fmla="*/ 169 w 228"/>
                <a:gd name="T25" fmla="*/ 144 h 198"/>
                <a:gd name="T26" fmla="*/ 164 w 228"/>
                <a:gd name="T27" fmla="*/ 150 h 198"/>
                <a:gd name="T28" fmla="*/ 161 w 228"/>
                <a:gd name="T29" fmla="*/ 154 h 198"/>
                <a:gd name="T30" fmla="*/ 159 w 228"/>
                <a:gd name="T31" fmla="*/ 166 h 198"/>
                <a:gd name="T32" fmla="*/ 160 w 228"/>
                <a:gd name="T33" fmla="*/ 173 h 198"/>
                <a:gd name="T34" fmla="*/ 159 w 228"/>
                <a:gd name="T35" fmla="*/ 179 h 198"/>
                <a:gd name="T36" fmla="*/ 153 w 228"/>
                <a:gd name="T37" fmla="*/ 182 h 198"/>
                <a:gd name="T38" fmla="*/ 148 w 228"/>
                <a:gd name="T39" fmla="*/ 185 h 198"/>
                <a:gd name="T40" fmla="*/ 144 w 228"/>
                <a:gd name="T41" fmla="*/ 188 h 198"/>
                <a:gd name="T42" fmla="*/ 138 w 228"/>
                <a:gd name="T43" fmla="*/ 192 h 198"/>
                <a:gd name="T44" fmla="*/ 133 w 228"/>
                <a:gd name="T45" fmla="*/ 195 h 198"/>
                <a:gd name="T46" fmla="*/ 130 w 228"/>
                <a:gd name="T47" fmla="*/ 198 h 198"/>
                <a:gd name="T48" fmla="*/ 95 w 228"/>
                <a:gd name="T49" fmla="*/ 192 h 198"/>
                <a:gd name="T50" fmla="*/ 90 w 228"/>
                <a:gd name="T51" fmla="*/ 191 h 198"/>
                <a:gd name="T52" fmla="*/ 84 w 228"/>
                <a:gd name="T53" fmla="*/ 188 h 198"/>
                <a:gd name="T54" fmla="*/ 79 w 228"/>
                <a:gd name="T55" fmla="*/ 186 h 198"/>
                <a:gd name="T56" fmla="*/ 75 w 228"/>
                <a:gd name="T57" fmla="*/ 184 h 198"/>
                <a:gd name="T58" fmla="*/ 69 w 228"/>
                <a:gd name="T59" fmla="*/ 181 h 198"/>
                <a:gd name="T60" fmla="*/ 38 w 228"/>
                <a:gd name="T61" fmla="*/ 150 h 198"/>
                <a:gd name="T62" fmla="*/ 31 w 228"/>
                <a:gd name="T63" fmla="*/ 144 h 198"/>
                <a:gd name="T64" fmla="*/ 25 w 228"/>
                <a:gd name="T65" fmla="*/ 140 h 198"/>
                <a:gd name="T66" fmla="*/ 19 w 228"/>
                <a:gd name="T67" fmla="*/ 135 h 198"/>
                <a:gd name="T68" fmla="*/ 13 w 228"/>
                <a:gd name="T69" fmla="*/ 132 h 198"/>
                <a:gd name="T70" fmla="*/ 8 w 228"/>
                <a:gd name="T71" fmla="*/ 127 h 198"/>
                <a:gd name="T72" fmla="*/ 2 w 228"/>
                <a:gd name="T73" fmla="*/ 123 h 198"/>
                <a:gd name="T74" fmla="*/ 6 w 228"/>
                <a:gd name="T75" fmla="*/ 117 h 198"/>
                <a:gd name="T76" fmla="*/ 18 w 228"/>
                <a:gd name="T77" fmla="*/ 107 h 198"/>
                <a:gd name="T78" fmla="*/ 42 w 228"/>
                <a:gd name="T79" fmla="*/ 84 h 198"/>
                <a:gd name="T80" fmla="*/ 46 w 228"/>
                <a:gd name="T81" fmla="*/ 77 h 198"/>
                <a:gd name="T82" fmla="*/ 49 w 228"/>
                <a:gd name="T83" fmla="*/ 71 h 198"/>
                <a:gd name="T84" fmla="*/ 52 w 228"/>
                <a:gd name="T85" fmla="*/ 64 h 198"/>
                <a:gd name="T86" fmla="*/ 54 w 228"/>
                <a:gd name="T87" fmla="*/ 59 h 198"/>
                <a:gd name="T88" fmla="*/ 56 w 228"/>
                <a:gd name="T89" fmla="*/ 54 h 198"/>
                <a:gd name="T90" fmla="*/ 58 w 228"/>
                <a:gd name="T91" fmla="*/ 50 h 198"/>
                <a:gd name="T92" fmla="*/ 60 w 228"/>
                <a:gd name="T93" fmla="*/ 46 h 198"/>
                <a:gd name="T94" fmla="*/ 65 w 228"/>
                <a:gd name="T95" fmla="*/ 42 h 198"/>
                <a:gd name="T96" fmla="*/ 71 w 228"/>
                <a:gd name="T97" fmla="*/ 39 h 198"/>
                <a:gd name="T98" fmla="*/ 76 w 228"/>
                <a:gd name="T99" fmla="*/ 37 h 198"/>
                <a:gd name="T100" fmla="*/ 99 w 228"/>
                <a:gd name="T101" fmla="*/ 36 h 198"/>
                <a:gd name="T102" fmla="*/ 107 w 228"/>
                <a:gd name="T103" fmla="*/ 40 h 198"/>
                <a:gd name="T104" fmla="*/ 112 w 228"/>
                <a:gd name="T105" fmla="*/ 44 h 198"/>
                <a:gd name="T106" fmla="*/ 136 w 228"/>
                <a:gd name="T107" fmla="*/ 40 h 198"/>
                <a:gd name="T108" fmla="*/ 143 w 228"/>
                <a:gd name="T109" fmla="*/ 31 h 198"/>
                <a:gd name="T110" fmla="*/ 150 w 228"/>
                <a:gd name="T111" fmla="*/ 23 h 198"/>
                <a:gd name="T112" fmla="*/ 154 w 228"/>
                <a:gd name="T113" fmla="*/ 17 h 198"/>
                <a:gd name="T114" fmla="*/ 159 w 228"/>
                <a:gd name="T115" fmla="*/ 11 h 198"/>
                <a:gd name="T116" fmla="*/ 162 w 228"/>
                <a:gd name="T117" fmla="*/ 6 h 198"/>
                <a:gd name="T118" fmla="*/ 180 w 228"/>
                <a:gd name="T119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8" h="198">
                  <a:moveTo>
                    <a:pt x="203" y="6"/>
                  </a:moveTo>
                  <a:cubicBezTo>
                    <a:pt x="202" y="10"/>
                    <a:pt x="201" y="14"/>
                    <a:pt x="200" y="18"/>
                  </a:cubicBezTo>
                  <a:cubicBezTo>
                    <a:pt x="200" y="19"/>
                    <a:pt x="200" y="20"/>
                    <a:pt x="200" y="21"/>
                  </a:cubicBezTo>
                  <a:cubicBezTo>
                    <a:pt x="199" y="24"/>
                    <a:pt x="200" y="30"/>
                    <a:pt x="201" y="33"/>
                  </a:cubicBezTo>
                  <a:cubicBezTo>
                    <a:pt x="201" y="33"/>
                    <a:pt x="201" y="34"/>
                    <a:pt x="201" y="34"/>
                  </a:cubicBezTo>
                  <a:cubicBezTo>
                    <a:pt x="201" y="34"/>
                    <a:pt x="201" y="34"/>
                    <a:pt x="201" y="34"/>
                  </a:cubicBezTo>
                  <a:cubicBezTo>
                    <a:pt x="201" y="34"/>
                    <a:pt x="201" y="35"/>
                    <a:pt x="201" y="35"/>
                  </a:cubicBezTo>
                  <a:cubicBezTo>
                    <a:pt x="201" y="35"/>
                    <a:pt x="201" y="35"/>
                    <a:pt x="201" y="35"/>
                  </a:cubicBezTo>
                  <a:cubicBezTo>
                    <a:pt x="201" y="35"/>
                    <a:pt x="201" y="36"/>
                    <a:pt x="201" y="36"/>
                  </a:cubicBezTo>
                  <a:cubicBezTo>
                    <a:pt x="201" y="36"/>
                    <a:pt x="202" y="36"/>
                    <a:pt x="202" y="36"/>
                  </a:cubicBezTo>
                  <a:cubicBezTo>
                    <a:pt x="202" y="36"/>
                    <a:pt x="202" y="37"/>
                    <a:pt x="202" y="37"/>
                  </a:cubicBezTo>
                  <a:cubicBezTo>
                    <a:pt x="202" y="37"/>
                    <a:pt x="202" y="37"/>
                    <a:pt x="203" y="37"/>
                  </a:cubicBezTo>
                  <a:cubicBezTo>
                    <a:pt x="203" y="38"/>
                    <a:pt x="203" y="38"/>
                    <a:pt x="203" y="38"/>
                  </a:cubicBezTo>
                  <a:cubicBezTo>
                    <a:pt x="203" y="38"/>
                    <a:pt x="203" y="38"/>
                    <a:pt x="203" y="38"/>
                  </a:cubicBezTo>
                  <a:cubicBezTo>
                    <a:pt x="204" y="39"/>
                    <a:pt x="205" y="40"/>
                    <a:pt x="205" y="41"/>
                  </a:cubicBezTo>
                  <a:cubicBezTo>
                    <a:pt x="206" y="41"/>
                    <a:pt x="206" y="41"/>
                    <a:pt x="206" y="41"/>
                  </a:cubicBezTo>
                  <a:cubicBezTo>
                    <a:pt x="206" y="41"/>
                    <a:pt x="207" y="42"/>
                    <a:pt x="207" y="42"/>
                  </a:cubicBezTo>
                  <a:cubicBezTo>
                    <a:pt x="207" y="42"/>
                    <a:pt x="207" y="42"/>
                    <a:pt x="208" y="42"/>
                  </a:cubicBezTo>
                  <a:cubicBezTo>
                    <a:pt x="208" y="42"/>
                    <a:pt x="208" y="43"/>
                    <a:pt x="208" y="43"/>
                  </a:cubicBezTo>
                  <a:cubicBezTo>
                    <a:pt x="209" y="43"/>
                    <a:pt x="209" y="43"/>
                    <a:pt x="209" y="43"/>
                  </a:cubicBezTo>
                  <a:cubicBezTo>
                    <a:pt x="209" y="43"/>
                    <a:pt x="209" y="43"/>
                    <a:pt x="209" y="44"/>
                  </a:cubicBezTo>
                  <a:cubicBezTo>
                    <a:pt x="210" y="44"/>
                    <a:pt x="210" y="44"/>
                    <a:pt x="210" y="44"/>
                  </a:cubicBezTo>
                  <a:cubicBezTo>
                    <a:pt x="210" y="44"/>
                    <a:pt x="210" y="44"/>
                    <a:pt x="210" y="44"/>
                  </a:cubicBezTo>
                  <a:cubicBezTo>
                    <a:pt x="211" y="44"/>
                    <a:pt x="211" y="44"/>
                    <a:pt x="211" y="44"/>
                  </a:cubicBezTo>
                  <a:cubicBezTo>
                    <a:pt x="211" y="45"/>
                    <a:pt x="211" y="45"/>
                    <a:pt x="211" y="45"/>
                  </a:cubicBezTo>
                  <a:cubicBezTo>
                    <a:pt x="212" y="45"/>
                    <a:pt x="212" y="45"/>
                    <a:pt x="213" y="45"/>
                  </a:cubicBezTo>
                  <a:cubicBezTo>
                    <a:pt x="213" y="46"/>
                    <a:pt x="213" y="46"/>
                    <a:pt x="213" y="46"/>
                  </a:cubicBezTo>
                  <a:cubicBezTo>
                    <a:pt x="213" y="46"/>
                    <a:pt x="214" y="46"/>
                    <a:pt x="214" y="46"/>
                  </a:cubicBezTo>
                  <a:cubicBezTo>
                    <a:pt x="214" y="46"/>
                    <a:pt x="214" y="47"/>
                    <a:pt x="214" y="47"/>
                  </a:cubicBezTo>
                  <a:cubicBezTo>
                    <a:pt x="214" y="47"/>
                    <a:pt x="215" y="47"/>
                    <a:pt x="215" y="47"/>
                  </a:cubicBezTo>
                  <a:cubicBezTo>
                    <a:pt x="215" y="47"/>
                    <a:pt x="215" y="47"/>
                    <a:pt x="215" y="47"/>
                  </a:cubicBezTo>
                  <a:cubicBezTo>
                    <a:pt x="215" y="47"/>
                    <a:pt x="215" y="47"/>
                    <a:pt x="216" y="47"/>
                  </a:cubicBezTo>
                  <a:cubicBezTo>
                    <a:pt x="216" y="47"/>
                    <a:pt x="216" y="48"/>
                    <a:pt x="216" y="48"/>
                  </a:cubicBezTo>
                  <a:cubicBezTo>
                    <a:pt x="216" y="48"/>
                    <a:pt x="217" y="48"/>
                    <a:pt x="217" y="48"/>
                  </a:cubicBezTo>
                  <a:cubicBezTo>
                    <a:pt x="218" y="48"/>
                    <a:pt x="218" y="49"/>
                    <a:pt x="218" y="49"/>
                  </a:cubicBezTo>
                  <a:cubicBezTo>
                    <a:pt x="218" y="49"/>
                    <a:pt x="218" y="49"/>
                    <a:pt x="218" y="49"/>
                  </a:cubicBezTo>
                  <a:cubicBezTo>
                    <a:pt x="219" y="49"/>
                    <a:pt x="219" y="49"/>
                    <a:pt x="219" y="50"/>
                  </a:cubicBezTo>
                  <a:cubicBezTo>
                    <a:pt x="219" y="50"/>
                    <a:pt x="220" y="50"/>
                    <a:pt x="220" y="50"/>
                  </a:cubicBezTo>
                  <a:cubicBezTo>
                    <a:pt x="220" y="50"/>
                    <a:pt x="220" y="50"/>
                    <a:pt x="220" y="50"/>
                  </a:cubicBezTo>
                  <a:cubicBezTo>
                    <a:pt x="221" y="50"/>
                    <a:pt x="221" y="51"/>
                    <a:pt x="221" y="51"/>
                  </a:cubicBezTo>
                  <a:cubicBezTo>
                    <a:pt x="221" y="51"/>
                    <a:pt x="221" y="51"/>
                    <a:pt x="222" y="51"/>
                  </a:cubicBezTo>
                  <a:cubicBezTo>
                    <a:pt x="222" y="51"/>
                    <a:pt x="222" y="51"/>
                    <a:pt x="222" y="51"/>
                  </a:cubicBezTo>
                  <a:cubicBezTo>
                    <a:pt x="223" y="52"/>
                    <a:pt x="223" y="52"/>
                    <a:pt x="223" y="52"/>
                  </a:cubicBezTo>
                  <a:cubicBezTo>
                    <a:pt x="223" y="52"/>
                    <a:pt x="223" y="52"/>
                    <a:pt x="224" y="52"/>
                  </a:cubicBezTo>
                  <a:cubicBezTo>
                    <a:pt x="224" y="53"/>
                    <a:pt x="225" y="54"/>
                    <a:pt x="225" y="54"/>
                  </a:cubicBezTo>
                  <a:cubicBezTo>
                    <a:pt x="227" y="56"/>
                    <a:pt x="228" y="56"/>
                    <a:pt x="228" y="60"/>
                  </a:cubicBezTo>
                  <a:cubicBezTo>
                    <a:pt x="228" y="60"/>
                    <a:pt x="228" y="60"/>
                    <a:pt x="228" y="60"/>
                  </a:cubicBezTo>
                  <a:cubicBezTo>
                    <a:pt x="228" y="61"/>
                    <a:pt x="228" y="62"/>
                    <a:pt x="228" y="62"/>
                  </a:cubicBezTo>
                  <a:cubicBezTo>
                    <a:pt x="227" y="62"/>
                    <a:pt x="227" y="62"/>
                    <a:pt x="227" y="62"/>
                  </a:cubicBezTo>
                  <a:cubicBezTo>
                    <a:pt x="227" y="62"/>
                    <a:pt x="227" y="63"/>
                    <a:pt x="227" y="63"/>
                  </a:cubicBezTo>
                  <a:cubicBezTo>
                    <a:pt x="225" y="65"/>
                    <a:pt x="224" y="67"/>
                    <a:pt x="222" y="68"/>
                  </a:cubicBezTo>
                  <a:cubicBezTo>
                    <a:pt x="218" y="71"/>
                    <a:pt x="214" y="74"/>
                    <a:pt x="212" y="78"/>
                  </a:cubicBezTo>
                  <a:cubicBezTo>
                    <a:pt x="212" y="79"/>
                    <a:pt x="212" y="80"/>
                    <a:pt x="212" y="81"/>
                  </a:cubicBezTo>
                  <a:cubicBezTo>
                    <a:pt x="211" y="86"/>
                    <a:pt x="213" y="95"/>
                    <a:pt x="211" y="101"/>
                  </a:cubicBezTo>
                  <a:cubicBezTo>
                    <a:pt x="211" y="103"/>
                    <a:pt x="211" y="105"/>
                    <a:pt x="211" y="107"/>
                  </a:cubicBezTo>
                  <a:cubicBezTo>
                    <a:pt x="211" y="107"/>
                    <a:pt x="211" y="107"/>
                    <a:pt x="211" y="107"/>
                  </a:cubicBezTo>
                  <a:cubicBezTo>
                    <a:pt x="211" y="107"/>
                    <a:pt x="211" y="108"/>
                    <a:pt x="211" y="109"/>
                  </a:cubicBezTo>
                  <a:cubicBezTo>
                    <a:pt x="211" y="109"/>
                    <a:pt x="211" y="109"/>
                    <a:pt x="211" y="109"/>
                  </a:cubicBezTo>
                  <a:cubicBezTo>
                    <a:pt x="211" y="109"/>
                    <a:pt x="211" y="110"/>
                    <a:pt x="211" y="110"/>
                  </a:cubicBezTo>
                  <a:cubicBezTo>
                    <a:pt x="211" y="110"/>
                    <a:pt x="211" y="110"/>
                    <a:pt x="210" y="110"/>
                  </a:cubicBezTo>
                  <a:cubicBezTo>
                    <a:pt x="210" y="110"/>
                    <a:pt x="210" y="111"/>
                    <a:pt x="210" y="111"/>
                  </a:cubicBezTo>
                  <a:cubicBezTo>
                    <a:pt x="210" y="111"/>
                    <a:pt x="210" y="111"/>
                    <a:pt x="210" y="111"/>
                  </a:cubicBezTo>
                  <a:cubicBezTo>
                    <a:pt x="210" y="112"/>
                    <a:pt x="210" y="112"/>
                    <a:pt x="210" y="112"/>
                  </a:cubicBezTo>
                  <a:cubicBezTo>
                    <a:pt x="209" y="112"/>
                    <a:pt x="209" y="113"/>
                    <a:pt x="209" y="113"/>
                  </a:cubicBezTo>
                  <a:cubicBezTo>
                    <a:pt x="208" y="114"/>
                    <a:pt x="207" y="115"/>
                    <a:pt x="207" y="115"/>
                  </a:cubicBezTo>
                  <a:cubicBezTo>
                    <a:pt x="206" y="115"/>
                    <a:pt x="206" y="115"/>
                    <a:pt x="206" y="115"/>
                  </a:cubicBezTo>
                  <a:cubicBezTo>
                    <a:pt x="206" y="116"/>
                    <a:pt x="205" y="116"/>
                    <a:pt x="205" y="116"/>
                  </a:cubicBezTo>
                  <a:cubicBezTo>
                    <a:pt x="205" y="116"/>
                    <a:pt x="205" y="116"/>
                    <a:pt x="204" y="116"/>
                  </a:cubicBezTo>
                  <a:cubicBezTo>
                    <a:pt x="204" y="117"/>
                    <a:pt x="204" y="117"/>
                    <a:pt x="204" y="117"/>
                  </a:cubicBezTo>
                  <a:cubicBezTo>
                    <a:pt x="204" y="117"/>
                    <a:pt x="203" y="117"/>
                    <a:pt x="203" y="117"/>
                  </a:cubicBezTo>
                  <a:cubicBezTo>
                    <a:pt x="203" y="118"/>
                    <a:pt x="203" y="118"/>
                    <a:pt x="203" y="118"/>
                  </a:cubicBezTo>
                  <a:cubicBezTo>
                    <a:pt x="202" y="118"/>
                    <a:pt x="202" y="118"/>
                    <a:pt x="202" y="118"/>
                  </a:cubicBezTo>
                  <a:cubicBezTo>
                    <a:pt x="202" y="118"/>
                    <a:pt x="202" y="119"/>
                    <a:pt x="201" y="119"/>
                  </a:cubicBezTo>
                  <a:cubicBezTo>
                    <a:pt x="201" y="119"/>
                    <a:pt x="201" y="119"/>
                    <a:pt x="201" y="119"/>
                  </a:cubicBezTo>
                  <a:cubicBezTo>
                    <a:pt x="200" y="119"/>
                    <a:pt x="200" y="120"/>
                    <a:pt x="200" y="120"/>
                  </a:cubicBezTo>
                  <a:cubicBezTo>
                    <a:pt x="200" y="120"/>
                    <a:pt x="199" y="120"/>
                    <a:pt x="199" y="120"/>
                  </a:cubicBezTo>
                  <a:cubicBezTo>
                    <a:pt x="199" y="120"/>
                    <a:pt x="199" y="121"/>
                    <a:pt x="199" y="121"/>
                  </a:cubicBezTo>
                  <a:cubicBezTo>
                    <a:pt x="198" y="121"/>
                    <a:pt x="198" y="121"/>
                    <a:pt x="198" y="121"/>
                  </a:cubicBezTo>
                  <a:cubicBezTo>
                    <a:pt x="198" y="121"/>
                    <a:pt x="198" y="121"/>
                    <a:pt x="197" y="122"/>
                  </a:cubicBezTo>
                  <a:cubicBezTo>
                    <a:pt x="197" y="122"/>
                    <a:pt x="197" y="122"/>
                    <a:pt x="197" y="122"/>
                  </a:cubicBezTo>
                  <a:cubicBezTo>
                    <a:pt x="197" y="122"/>
                    <a:pt x="197" y="122"/>
                    <a:pt x="196" y="122"/>
                  </a:cubicBezTo>
                  <a:cubicBezTo>
                    <a:pt x="196" y="122"/>
                    <a:pt x="195" y="123"/>
                    <a:pt x="195" y="123"/>
                  </a:cubicBezTo>
                  <a:cubicBezTo>
                    <a:pt x="195" y="123"/>
                    <a:pt x="195" y="123"/>
                    <a:pt x="195" y="123"/>
                  </a:cubicBezTo>
                  <a:cubicBezTo>
                    <a:pt x="194" y="124"/>
                    <a:pt x="194" y="124"/>
                    <a:pt x="193" y="124"/>
                  </a:cubicBezTo>
                  <a:cubicBezTo>
                    <a:pt x="193" y="124"/>
                    <a:pt x="193" y="124"/>
                    <a:pt x="193" y="124"/>
                  </a:cubicBezTo>
                  <a:cubicBezTo>
                    <a:pt x="192" y="125"/>
                    <a:pt x="192" y="125"/>
                    <a:pt x="192" y="125"/>
                  </a:cubicBezTo>
                  <a:cubicBezTo>
                    <a:pt x="192" y="125"/>
                    <a:pt x="192" y="125"/>
                    <a:pt x="192" y="125"/>
                  </a:cubicBezTo>
                  <a:cubicBezTo>
                    <a:pt x="191" y="125"/>
                    <a:pt x="191" y="125"/>
                    <a:pt x="190" y="125"/>
                  </a:cubicBezTo>
                  <a:cubicBezTo>
                    <a:pt x="190" y="126"/>
                    <a:pt x="190" y="126"/>
                    <a:pt x="190" y="126"/>
                  </a:cubicBezTo>
                  <a:cubicBezTo>
                    <a:pt x="190" y="126"/>
                    <a:pt x="189" y="126"/>
                    <a:pt x="189" y="127"/>
                  </a:cubicBezTo>
                  <a:cubicBezTo>
                    <a:pt x="189" y="127"/>
                    <a:pt x="188" y="127"/>
                    <a:pt x="188" y="127"/>
                  </a:cubicBezTo>
                  <a:cubicBezTo>
                    <a:pt x="188" y="127"/>
                    <a:pt x="187" y="127"/>
                    <a:pt x="187" y="128"/>
                  </a:cubicBezTo>
                  <a:cubicBezTo>
                    <a:pt x="187" y="128"/>
                    <a:pt x="187" y="128"/>
                    <a:pt x="187" y="128"/>
                  </a:cubicBezTo>
                  <a:cubicBezTo>
                    <a:pt x="186" y="128"/>
                    <a:pt x="186" y="129"/>
                    <a:pt x="185" y="129"/>
                  </a:cubicBezTo>
                  <a:cubicBezTo>
                    <a:pt x="185" y="129"/>
                    <a:pt x="185" y="129"/>
                    <a:pt x="185" y="129"/>
                  </a:cubicBezTo>
                  <a:cubicBezTo>
                    <a:pt x="184" y="129"/>
                    <a:pt x="184" y="130"/>
                    <a:pt x="183" y="130"/>
                  </a:cubicBezTo>
                  <a:cubicBezTo>
                    <a:pt x="183" y="130"/>
                    <a:pt x="183" y="130"/>
                    <a:pt x="183" y="130"/>
                  </a:cubicBezTo>
                  <a:cubicBezTo>
                    <a:pt x="183" y="130"/>
                    <a:pt x="183" y="130"/>
                    <a:pt x="182" y="130"/>
                  </a:cubicBezTo>
                  <a:cubicBezTo>
                    <a:pt x="182" y="131"/>
                    <a:pt x="182" y="131"/>
                    <a:pt x="182" y="131"/>
                  </a:cubicBezTo>
                  <a:cubicBezTo>
                    <a:pt x="182" y="131"/>
                    <a:pt x="182" y="131"/>
                    <a:pt x="181" y="131"/>
                  </a:cubicBezTo>
                  <a:cubicBezTo>
                    <a:pt x="181" y="131"/>
                    <a:pt x="181" y="132"/>
                    <a:pt x="181" y="132"/>
                  </a:cubicBezTo>
                  <a:cubicBezTo>
                    <a:pt x="181" y="132"/>
                    <a:pt x="180" y="132"/>
                    <a:pt x="180" y="132"/>
                  </a:cubicBezTo>
                  <a:cubicBezTo>
                    <a:pt x="180" y="132"/>
                    <a:pt x="179" y="133"/>
                    <a:pt x="179" y="133"/>
                  </a:cubicBezTo>
                  <a:cubicBezTo>
                    <a:pt x="179" y="133"/>
                    <a:pt x="179" y="133"/>
                    <a:pt x="179" y="133"/>
                  </a:cubicBezTo>
                  <a:cubicBezTo>
                    <a:pt x="178" y="133"/>
                    <a:pt x="178" y="134"/>
                    <a:pt x="178" y="134"/>
                  </a:cubicBezTo>
                  <a:cubicBezTo>
                    <a:pt x="178" y="134"/>
                    <a:pt x="177" y="134"/>
                    <a:pt x="177" y="134"/>
                  </a:cubicBezTo>
                  <a:cubicBezTo>
                    <a:pt x="177" y="134"/>
                    <a:pt x="177" y="134"/>
                    <a:pt x="177" y="135"/>
                  </a:cubicBezTo>
                  <a:cubicBezTo>
                    <a:pt x="177" y="135"/>
                    <a:pt x="176" y="135"/>
                    <a:pt x="176" y="135"/>
                  </a:cubicBezTo>
                  <a:cubicBezTo>
                    <a:pt x="176" y="135"/>
                    <a:pt x="176" y="135"/>
                    <a:pt x="175" y="136"/>
                  </a:cubicBezTo>
                  <a:cubicBezTo>
                    <a:pt x="174" y="136"/>
                    <a:pt x="174" y="137"/>
                    <a:pt x="173" y="138"/>
                  </a:cubicBezTo>
                  <a:cubicBezTo>
                    <a:pt x="173" y="138"/>
                    <a:pt x="173" y="139"/>
                    <a:pt x="173" y="139"/>
                  </a:cubicBezTo>
                  <a:cubicBezTo>
                    <a:pt x="172" y="139"/>
                    <a:pt x="172" y="139"/>
                    <a:pt x="171" y="140"/>
                  </a:cubicBezTo>
                  <a:cubicBezTo>
                    <a:pt x="171" y="140"/>
                    <a:pt x="171" y="140"/>
                    <a:pt x="171" y="141"/>
                  </a:cubicBezTo>
                  <a:cubicBezTo>
                    <a:pt x="171" y="141"/>
                    <a:pt x="170" y="141"/>
                    <a:pt x="170" y="142"/>
                  </a:cubicBezTo>
                  <a:cubicBezTo>
                    <a:pt x="170" y="142"/>
                    <a:pt x="170" y="142"/>
                    <a:pt x="170" y="142"/>
                  </a:cubicBezTo>
                  <a:cubicBezTo>
                    <a:pt x="169" y="143"/>
                    <a:pt x="169" y="143"/>
                    <a:pt x="169" y="143"/>
                  </a:cubicBezTo>
                  <a:cubicBezTo>
                    <a:pt x="169" y="143"/>
                    <a:pt x="169" y="143"/>
                    <a:pt x="169" y="144"/>
                  </a:cubicBezTo>
                  <a:cubicBezTo>
                    <a:pt x="168" y="144"/>
                    <a:pt x="168" y="144"/>
                    <a:pt x="167" y="145"/>
                  </a:cubicBezTo>
                  <a:cubicBezTo>
                    <a:pt x="167" y="145"/>
                    <a:pt x="167" y="145"/>
                    <a:pt x="167" y="145"/>
                  </a:cubicBezTo>
                  <a:cubicBezTo>
                    <a:pt x="167" y="146"/>
                    <a:pt x="167" y="146"/>
                    <a:pt x="166" y="146"/>
                  </a:cubicBezTo>
                  <a:cubicBezTo>
                    <a:pt x="166" y="146"/>
                    <a:pt x="166" y="147"/>
                    <a:pt x="166" y="147"/>
                  </a:cubicBezTo>
                  <a:cubicBezTo>
                    <a:pt x="166" y="147"/>
                    <a:pt x="166" y="147"/>
                    <a:pt x="165" y="148"/>
                  </a:cubicBezTo>
                  <a:cubicBezTo>
                    <a:pt x="165" y="148"/>
                    <a:pt x="165" y="148"/>
                    <a:pt x="165" y="148"/>
                  </a:cubicBezTo>
                  <a:cubicBezTo>
                    <a:pt x="165" y="148"/>
                    <a:pt x="165" y="148"/>
                    <a:pt x="165" y="149"/>
                  </a:cubicBezTo>
                  <a:cubicBezTo>
                    <a:pt x="164" y="149"/>
                    <a:pt x="164" y="149"/>
                    <a:pt x="164" y="150"/>
                  </a:cubicBezTo>
                  <a:cubicBezTo>
                    <a:pt x="164" y="150"/>
                    <a:pt x="164" y="150"/>
                    <a:pt x="164" y="150"/>
                  </a:cubicBezTo>
                  <a:cubicBezTo>
                    <a:pt x="164" y="150"/>
                    <a:pt x="164" y="150"/>
                    <a:pt x="164" y="150"/>
                  </a:cubicBezTo>
                  <a:cubicBezTo>
                    <a:pt x="164" y="150"/>
                    <a:pt x="163" y="151"/>
                    <a:pt x="163" y="151"/>
                  </a:cubicBezTo>
                  <a:cubicBezTo>
                    <a:pt x="163" y="151"/>
                    <a:pt x="163" y="151"/>
                    <a:pt x="163" y="151"/>
                  </a:cubicBezTo>
                  <a:cubicBezTo>
                    <a:pt x="163" y="151"/>
                    <a:pt x="163" y="152"/>
                    <a:pt x="162" y="152"/>
                  </a:cubicBezTo>
                  <a:cubicBezTo>
                    <a:pt x="162" y="152"/>
                    <a:pt x="162" y="152"/>
                    <a:pt x="162" y="153"/>
                  </a:cubicBezTo>
                  <a:cubicBezTo>
                    <a:pt x="162" y="153"/>
                    <a:pt x="162" y="153"/>
                    <a:pt x="162" y="153"/>
                  </a:cubicBezTo>
                  <a:cubicBezTo>
                    <a:pt x="162" y="153"/>
                    <a:pt x="162" y="153"/>
                    <a:pt x="162" y="153"/>
                  </a:cubicBezTo>
                  <a:cubicBezTo>
                    <a:pt x="162" y="153"/>
                    <a:pt x="162" y="153"/>
                    <a:pt x="161" y="153"/>
                  </a:cubicBezTo>
                  <a:cubicBezTo>
                    <a:pt x="161" y="154"/>
                    <a:pt x="161" y="154"/>
                    <a:pt x="161" y="154"/>
                  </a:cubicBezTo>
                  <a:cubicBezTo>
                    <a:pt x="161" y="154"/>
                    <a:pt x="161" y="154"/>
                    <a:pt x="161" y="154"/>
                  </a:cubicBezTo>
                  <a:cubicBezTo>
                    <a:pt x="161" y="154"/>
                    <a:pt x="161" y="155"/>
                    <a:pt x="161" y="155"/>
                  </a:cubicBezTo>
                  <a:cubicBezTo>
                    <a:pt x="161" y="155"/>
                    <a:pt x="161" y="155"/>
                    <a:pt x="161" y="155"/>
                  </a:cubicBezTo>
                  <a:cubicBezTo>
                    <a:pt x="161" y="155"/>
                    <a:pt x="161" y="155"/>
                    <a:pt x="161" y="156"/>
                  </a:cubicBezTo>
                  <a:cubicBezTo>
                    <a:pt x="161" y="156"/>
                    <a:pt x="161" y="156"/>
                    <a:pt x="160" y="156"/>
                  </a:cubicBezTo>
                  <a:cubicBezTo>
                    <a:pt x="160" y="156"/>
                    <a:pt x="160" y="157"/>
                    <a:pt x="160" y="158"/>
                  </a:cubicBezTo>
                  <a:cubicBezTo>
                    <a:pt x="160" y="158"/>
                    <a:pt x="159" y="158"/>
                    <a:pt x="159" y="158"/>
                  </a:cubicBezTo>
                  <a:cubicBezTo>
                    <a:pt x="159" y="159"/>
                    <a:pt x="158" y="164"/>
                    <a:pt x="158" y="166"/>
                  </a:cubicBezTo>
                  <a:cubicBezTo>
                    <a:pt x="158" y="166"/>
                    <a:pt x="159" y="166"/>
                    <a:pt x="159" y="166"/>
                  </a:cubicBezTo>
                  <a:cubicBezTo>
                    <a:pt x="159" y="167"/>
                    <a:pt x="159" y="168"/>
                    <a:pt x="159" y="169"/>
                  </a:cubicBezTo>
                  <a:cubicBezTo>
                    <a:pt x="159" y="169"/>
                    <a:pt x="159" y="169"/>
                    <a:pt x="159" y="169"/>
                  </a:cubicBezTo>
                  <a:cubicBezTo>
                    <a:pt x="159" y="169"/>
                    <a:pt x="159" y="170"/>
                    <a:pt x="159" y="170"/>
                  </a:cubicBezTo>
                  <a:cubicBezTo>
                    <a:pt x="159" y="170"/>
                    <a:pt x="159" y="170"/>
                    <a:pt x="159" y="170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59" y="171"/>
                    <a:pt x="160" y="171"/>
                    <a:pt x="160" y="171"/>
                  </a:cubicBezTo>
                  <a:cubicBezTo>
                    <a:pt x="160" y="172"/>
                    <a:pt x="160" y="172"/>
                    <a:pt x="160" y="172"/>
                  </a:cubicBezTo>
                  <a:cubicBezTo>
                    <a:pt x="160" y="172"/>
                    <a:pt x="160" y="172"/>
                    <a:pt x="160" y="172"/>
                  </a:cubicBezTo>
                  <a:cubicBezTo>
                    <a:pt x="160" y="173"/>
                    <a:pt x="160" y="173"/>
                    <a:pt x="160" y="173"/>
                  </a:cubicBezTo>
                  <a:cubicBezTo>
                    <a:pt x="160" y="173"/>
                    <a:pt x="160" y="173"/>
                    <a:pt x="160" y="173"/>
                  </a:cubicBezTo>
                  <a:cubicBezTo>
                    <a:pt x="160" y="174"/>
                    <a:pt x="160" y="174"/>
                    <a:pt x="160" y="174"/>
                  </a:cubicBezTo>
                  <a:cubicBezTo>
                    <a:pt x="161" y="174"/>
                    <a:pt x="161" y="174"/>
                    <a:pt x="161" y="174"/>
                  </a:cubicBezTo>
                  <a:cubicBezTo>
                    <a:pt x="161" y="175"/>
                    <a:pt x="161" y="176"/>
                    <a:pt x="161" y="177"/>
                  </a:cubicBezTo>
                  <a:cubicBezTo>
                    <a:pt x="161" y="177"/>
                    <a:pt x="161" y="177"/>
                    <a:pt x="161" y="177"/>
                  </a:cubicBezTo>
                  <a:cubicBezTo>
                    <a:pt x="161" y="177"/>
                    <a:pt x="160" y="177"/>
                    <a:pt x="160" y="177"/>
                  </a:cubicBezTo>
                  <a:cubicBezTo>
                    <a:pt x="160" y="177"/>
                    <a:pt x="160" y="178"/>
                    <a:pt x="160" y="178"/>
                  </a:cubicBezTo>
                  <a:cubicBezTo>
                    <a:pt x="159" y="178"/>
                    <a:pt x="159" y="178"/>
                    <a:pt x="159" y="178"/>
                  </a:cubicBezTo>
                  <a:cubicBezTo>
                    <a:pt x="159" y="178"/>
                    <a:pt x="159" y="178"/>
                    <a:pt x="159" y="179"/>
                  </a:cubicBezTo>
                  <a:cubicBezTo>
                    <a:pt x="158" y="179"/>
                    <a:pt x="158" y="179"/>
                    <a:pt x="158" y="179"/>
                  </a:cubicBezTo>
                  <a:cubicBezTo>
                    <a:pt x="158" y="179"/>
                    <a:pt x="158" y="179"/>
                    <a:pt x="158" y="179"/>
                  </a:cubicBezTo>
                  <a:cubicBezTo>
                    <a:pt x="157" y="179"/>
                    <a:pt x="157" y="179"/>
                    <a:pt x="157" y="179"/>
                  </a:cubicBezTo>
                  <a:cubicBezTo>
                    <a:pt x="157" y="180"/>
                    <a:pt x="157" y="180"/>
                    <a:pt x="157" y="180"/>
                  </a:cubicBezTo>
                  <a:cubicBezTo>
                    <a:pt x="156" y="180"/>
                    <a:pt x="156" y="180"/>
                    <a:pt x="156" y="180"/>
                  </a:cubicBezTo>
                  <a:cubicBezTo>
                    <a:pt x="156" y="180"/>
                    <a:pt x="156" y="181"/>
                    <a:pt x="155" y="181"/>
                  </a:cubicBezTo>
                  <a:cubicBezTo>
                    <a:pt x="155" y="181"/>
                    <a:pt x="155" y="181"/>
                    <a:pt x="154" y="181"/>
                  </a:cubicBezTo>
                  <a:cubicBezTo>
                    <a:pt x="154" y="181"/>
                    <a:pt x="154" y="182"/>
                    <a:pt x="154" y="182"/>
                  </a:cubicBezTo>
                  <a:cubicBezTo>
                    <a:pt x="154" y="182"/>
                    <a:pt x="153" y="182"/>
                    <a:pt x="153" y="182"/>
                  </a:cubicBezTo>
                  <a:cubicBezTo>
                    <a:pt x="153" y="182"/>
                    <a:pt x="153" y="182"/>
                    <a:pt x="153" y="182"/>
                  </a:cubicBezTo>
                  <a:cubicBezTo>
                    <a:pt x="152" y="182"/>
                    <a:pt x="152" y="182"/>
                    <a:pt x="152" y="182"/>
                  </a:cubicBezTo>
                  <a:cubicBezTo>
                    <a:pt x="152" y="183"/>
                    <a:pt x="152" y="183"/>
                    <a:pt x="152" y="183"/>
                  </a:cubicBezTo>
                  <a:cubicBezTo>
                    <a:pt x="151" y="183"/>
                    <a:pt x="151" y="183"/>
                    <a:pt x="151" y="183"/>
                  </a:cubicBezTo>
                  <a:cubicBezTo>
                    <a:pt x="151" y="183"/>
                    <a:pt x="151" y="184"/>
                    <a:pt x="151" y="184"/>
                  </a:cubicBezTo>
                  <a:cubicBezTo>
                    <a:pt x="150" y="184"/>
                    <a:pt x="150" y="184"/>
                    <a:pt x="150" y="184"/>
                  </a:cubicBezTo>
                  <a:cubicBezTo>
                    <a:pt x="150" y="184"/>
                    <a:pt x="150" y="184"/>
                    <a:pt x="150" y="185"/>
                  </a:cubicBezTo>
                  <a:cubicBezTo>
                    <a:pt x="149" y="185"/>
                    <a:pt x="149" y="185"/>
                    <a:pt x="149" y="185"/>
                  </a:cubicBezTo>
                  <a:cubicBezTo>
                    <a:pt x="149" y="185"/>
                    <a:pt x="149" y="185"/>
                    <a:pt x="148" y="185"/>
                  </a:cubicBezTo>
                  <a:cubicBezTo>
                    <a:pt x="148" y="185"/>
                    <a:pt x="148" y="185"/>
                    <a:pt x="148" y="185"/>
                  </a:cubicBezTo>
                  <a:cubicBezTo>
                    <a:pt x="148" y="186"/>
                    <a:pt x="148" y="186"/>
                    <a:pt x="147" y="186"/>
                  </a:cubicBezTo>
                  <a:cubicBezTo>
                    <a:pt x="147" y="186"/>
                    <a:pt x="147" y="186"/>
                    <a:pt x="147" y="186"/>
                  </a:cubicBezTo>
                  <a:cubicBezTo>
                    <a:pt x="147" y="186"/>
                    <a:pt x="147" y="186"/>
                    <a:pt x="146" y="187"/>
                  </a:cubicBezTo>
                  <a:cubicBezTo>
                    <a:pt x="146" y="187"/>
                    <a:pt x="146" y="187"/>
                    <a:pt x="146" y="187"/>
                  </a:cubicBezTo>
                  <a:cubicBezTo>
                    <a:pt x="146" y="187"/>
                    <a:pt x="145" y="187"/>
                    <a:pt x="145" y="187"/>
                  </a:cubicBezTo>
                  <a:cubicBezTo>
                    <a:pt x="145" y="187"/>
                    <a:pt x="145" y="187"/>
                    <a:pt x="145" y="187"/>
                  </a:cubicBezTo>
                  <a:cubicBezTo>
                    <a:pt x="145" y="188"/>
                    <a:pt x="144" y="188"/>
                    <a:pt x="144" y="188"/>
                  </a:cubicBezTo>
                  <a:cubicBezTo>
                    <a:pt x="144" y="188"/>
                    <a:pt x="144" y="188"/>
                    <a:pt x="144" y="188"/>
                  </a:cubicBezTo>
                  <a:cubicBezTo>
                    <a:pt x="143" y="188"/>
                    <a:pt x="143" y="189"/>
                    <a:pt x="143" y="189"/>
                  </a:cubicBezTo>
                  <a:cubicBezTo>
                    <a:pt x="143" y="189"/>
                    <a:pt x="143" y="189"/>
                    <a:pt x="143" y="189"/>
                  </a:cubicBezTo>
                  <a:cubicBezTo>
                    <a:pt x="142" y="189"/>
                    <a:pt x="142" y="189"/>
                    <a:pt x="142" y="189"/>
                  </a:cubicBezTo>
                  <a:cubicBezTo>
                    <a:pt x="142" y="189"/>
                    <a:pt x="142" y="189"/>
                    <a:pt x="142" y="189"/>
                  </a:cubicBezTo>
                  <a:cubicBezTo>
                    <a:pt x="141" y="190"/>
                    <a:pt x="141" y="190"/>
                    <a:pt x="141" y="190"/>
                  </a:cubicBezTo>
                  <a:cubicBezTo>
                    <a:pt x="141" y="190"/>
                    <a:pt x="140" y="190"/>
                    <a:pt x="140" y="191"/>
                  </a:cubicBezTo>
                  <a:cubicBezTo>
                    <a:pt x="140" y="191"/>
                    <a:pt x="140" y="191"/>
                    <a:pt x="139" y="191"/>
                  </a:cubicBezTo>
                  <a:cubicBezTo>
                    <a:pt x="139" y="191"/>
                    <a:pt x="139" y="191"/>
                    <a:pt x="139" y="191"/>
                  </a:cubicBezTo>
                  <a:cubicBezTo>
                    <a:pt x="139" y="191"/>
                    <a:pt x="138" y="192"/>
                    <a:pt x="138" y="192"/>
                  </a:cubicBezTo>
                  <a:cubicBezTo>
                    <a:pt x="138" y="192"/>
                    <a:pt x="138" y="192"/>
                    <a:pt x="138" y="192"/>
                  </a:cubicBezTo>
                  <a:cubicBezTo>
                    <a:pt x="138" y="192"/>
                    <a:pt x="137" y="192"/>
                    <a:pt x="137" y="193"/>
                  </a:cubicBezTo>
                  <a:cubicBezTo>
                    <a:pt x="137" y="193"/>
                    <a:pt x="137" y="193"/>
                    <a:pt x="137" y="193"/>
                  </a:cubicBezTo>
                  <a:cubicBezTo>
                    <a:pt x="136" y="193"/>
                    <a:pt x="136" y="193"/>
                    <a:pt x="136" y="193"/>
                  </a:cubicBezTo>
                  <a:cubicBezTo>
                    <a:pt x="136" y="193"/>
                    <a:pt x="136" y="193"/>
                    <a:pt x="136" y="193"/>
                  </a:cubicBezTo>
                  <a:cubicBezTo>
                    <a:pt x="135" y="194"/>
                    <a:pt x="135" y="194"/>
                    <a:pt x="135" y="194"/>
                  </a:cubicBezTo>
                  <a:cubicBezTo>
                    <a:pt x="135" y="194"/>
                    <a:pt x="135" y="194"/>
                    <a:pt x="135" y="194"/>
                  </a:cubicBezTo>
                  <a:cubicBezTo>
                    <a:pt x="134" y="194"/>
                    <a:pt x="134" y="195"/>
                    <a:pt x="134" y="195"/>
                  </a:cubicBezTo>
                  <a:cubicBezTo>
                    <a:pt x="134" y="195"/>
                    <a:pt x="134" y="195"/>
                    <a:pt x="133" y="195"/>
                  </a:cubicBezTo>
                  <a:cubicBezTo>
                    <a:pt x="133" y="195"/>
                    <a:pt x="133" y="195"/>
                    <a:pt x="133" y="195"/>
                  </a:cubicBezTo>
                  <a:cubicBezTo>
                    <a:pt x="133" y="195"/>
                    <a:pt x="133" y="195"/>
                    <a:pt x="132" y="195"/>
                  </a:cubicBezTo>
                  <a:cubicBezTo>
                    <a:pt x="132" y="196"/>
                    <a:pt x="132" y="196"/>
                    <a:pt x="132" y="196"/>
                  </a:cubicBezTo>
                  <a:cubicBezTo>
                    <a:pt x="132" y="196"/>
                    <a:pt x="132" y="196"/>
                    <a:pt x="131" y="196"/>
                  </a:cubicBezTo>
                  <a:cubicBezTo>
                    <a:pt x="131" y="196"/>
                    <a:pt x="131" y="197"/>
                    <a:pt x="131" y="197"/>
                  </a:cubicBezTo>
                  <a:cubicBezTo>
                    <a:pt x="131" y="197"/>
                    <a:pt x="131" y="197"/>
                    <a:pt x="130" y="197"/>
                  </a:cubicBezTo>
                  <a:cubicBezTo>
                    <a:pt x="130" y="197"/>
                    <a:pt x="130" y="197"/>
                    <a:pt x="130" y="197"/>
                  </a:cubicBezTo>
                  <a:cubicBezTo>
                    <a:pt x="130" y="197"/>
                    <a:pt x="130" y="197"/>
                    <a:pt x="130" y="197"/>
                  </a:cubicBezTo>
                  <a:cubicBezTo>
                    <a:pt x="130" y="197"/>
                    <a:pt x="130" y="197"/>
                    <a:pt x="130" y="198"/>
                  </a:cubicBezTo>
                  <a:cubicBezTo>
                    <a:pt x="129" y="198"/>
                    <a:pt x="129" y="198"/>
                    <a:pt x="129" y="198"/>
                  </a:cubicBezTo>
                  <a:cubicBezTo>
                    <a:pt x="129" y="198"/>
                    <a:pt x="129" y="198"/>
                    <a:pt x="129" y="198"/>
                  </a:cubicBezTo>
                  <a:cubicBezTo>
                    <a:pt x="128" y="198"/>
                    <a:pt x="127" y="198"/>
                    <a:pt x="126" y="198"/>
                  </a:cubicBezTo>
                  <a:cubicBezTo>
                    <a:pt x="126" y="198"/>
                    <a:pt x="126" y="198"/>
                    <a:pt x="126" y="198"/>
                  </a:cubicBezTo>
                  <a:cubicBezTo>
                    <a:pt x="123" y="198"/>
                    <a:pt x="120" y="198"/>
                    <a:pt x="116" y="198"/>
                  </a:cubicBezTo>
                  <a:cubicBezTo>
                    <a:pt x="116" y="198"/>
                    <a:pt x="116" y="198"/>
                    <a:pt x="116" y="198"/>
                  </a:cubicBezTo>
                  <a:cubicBezTo>
                    <a:pt x="113" y="197"/>
                    <a:pt x="110" y="197"/>
                    <a:pt x="108" y="197"/>
                  </a:cubicBezTo>
                  <a:cubicBezTo>
                    <a:pt x="103" y="195"/>
                    <a:pt x="99" y="194"/>
                    <a:pt x="95" y="193"/>
                  </a:cubicBezTo>
                  <a:cubicBezTo>
                    <a:pt x="95" y="193"/>
                    <a:pt x="95" y="192"/>
                    <a:pt x="95" y="192"/>
                  </a:cubicBezTo>
                  <a:cubicBezTo>
                    <a:pt x="94" y="192"/>
                    <a:pt x="94" y="192"/>
                    <a:pt x="94" y="192"/>
                  </a:cubicBezTo>
                  <a:cubicBezTo>
                    <a:pt x="94" y="192"/>
                    <a:pt x="94" y="192"/>
                    <a:pt x="94" y="192"/>
                  </a:cubicBezTo>
                  <a:cubicBezTo>
                    <a:pt x="94" y="192"/>
                    <a:pt x="93" y="192"/>
                    <a:pt x="93" y="192"/>
                  </a:cubicBezTo>
                  <a:cubicBezTo>
                    <a:pt x="93" y="192"/>
                    <a:pt x="93" y="192"/>
                    <a:pt x="93" y="192"/>
                  </a:cubicBezTo>
                  <a:cubicBezTo>
                    <a:pt x="93" y="192"/>
                    <a:pt x="92" y="192"/>
                    <a:pt x="92" y="192"/>
                  </a:cubicBezTo>
                  <a:cubicBezTo>
                    <a:pt x="92" y="191"/>
                    <a:pt x="92" y="191"/>
                    <a:pt x="92" y="191"/>
                  </a:cubicBezTo>
                  <a:cubicBezTo>
                    <a:pt x="92" y="191"/>
                    <a:pt x="91" y="191"/>
                    <a:pt x="91" y="191"/>
                  </a:cubicBezTo>
                  <a:cubicBezTo>
                    <a:pt x="91" y="191"/>
                    <a:pt x="91" y="191"/>
                    <a:pt x="91" y="191"/>
                  </a:cubicBezTo>
                  <a:cubicBezTo>
                    <a:pt x="91" y="191"/>
                    <a:pt x="90" y="191"/>
                    <a:pt x="90" y="191"/>
                  </a:cubicBezTo>
                  <a:cubicBezTo>
                    <a:pt x="90" y="190"/>
                    <a:pt x="90" y="190"/>
                    <a:pt x="90" y="190"/>
                  </a:cubicBezTo>
                  <a:cubicBezTo>
                    <a:pt x="89" y="190"/>
                    <a:pt x="89" y="190"/>
                    <a:pt x="88" y="190"/>
                  </a:cubicBezTo>
                  <a:cubicBezTo>
                    <a:pt x="88" y="190"/>
                    <a:pt x="88" y="190"/>
                    <a:pt x="88" y="189"/>
                  </a:cubicBezTo>
                  <a:cubicBezTo>
                    <a:pt x="88" y="189"/>
                    <a:pt x="87" y="189"/>
                    <a:pt x="87" y="189"/>
                  </a:cubicBezTo>
                  <a:cubicBezTo>
                    <a:pt x="87" y="189"/>
                    <a:pt x="87" y="189"/>
                    <a:pt x="87" y="189"/>
                  </a:cubicBezTo>
                  <a:cubicBezTo>
                    <a:pt x="86" y="189"/>
                    <a:pt x="86" y="189"/>
                    <a:pt x="86" y="189"/>
                  </a:cubicBezTo>
                  <a:cubicBezTo>
                    <a:pt x="86" y="189"/>
                    <a:pt x="86" y="189"/>
                    <a:pt x="86" y="188"/>
                  </a:cubicBezTo>
                  <a:cubicBezTo>
                    <a:pt x="85" y="188"/>
                    <a:pt x="85" y="188"/>
                    <a:pt x="84" y="188"/>
                  </a:cubicBezTo>
                  <a:cubicBezTo>
                    <a:pt x="84" y="188"/>
                    <a:pt x="84" y="188"/>
                    <a:pt x="84" y="188"/>
                  </a:cubicBezTo>
                  <a:cubicBezTo>
                    <a:pt x="84" y="188"/>
                    <a:pt x="84" y="188"/>
                    <a:pt x="83" y="188"/>
                  </a:cubicBezTo>
                  <a:cubicBezTo>
                    <a:pt x="83" y="188"/>
                    <a:pt x="83" y="188"/>
                    <a:pt x="83" y="187"/>
                  </a:cubicBezTo>
                  <a:cubicBezTo>
                    <a:pt x="83" y="187"/>
                    <a:pt x="82" y="187"/>
                    <a:pt x="82" y="187"/>
                  </a:cubicBezTo>
                  <a:cubicBezTo>
                    <a:pt x="82" y="187"/>
                    <a:pt x="82" y="187"/>
                    <a:pt x="82" y="187"/>
                  </a:cubicBezTo>
                  <a:cubicBezTo>
                    <a:pt x="82" y="187"/>
                    <a:pt x="82" y="187"/>
                    <a:pt x="81" y="187"/>
                  </a:cubicBezTo>
                  <a:cubicBezTo>
                    <a:pt x="81" y="187"/>
                    <a:pt x="81" y="187"/>
                    <a:pt x="81" y="187"/>
                  </a:cubicBezTo>
                  <a:cubicBezTo>
                    <a:pt x="81" y="187"/>
                    <a:pt x="80" y="186"/>
                    <a:pt x="80" y="186"/>
                  </a:cubicBezTo>
                  <a:cubicBezTo>
                    <a:pt x="80" y="186"/>
                    <a:pt x="80" y="186"/>
                    <a:pt x="80" y="186"/>
                  </a:cubicBezTo>
                  <a:cubicBezTo>
                    <a:pt x="80" y="186"/>
                    <a:pt x="79" y="186"/>
                    <a:pt x="79" y="186"/>
                  </a:cubicBezTo>
                  <a:cubicBezTo>
                    <a:pt x="79" y="186"/>
                    <a:pt x="79" y="186"/>
                    <a:pt x="79" y="186"/>
                  </a:cubicBezTo>
                  <a:cubicBezTo>
                    <a:pt x="79" y="186"/>
                    <a:pt x="78" y="186"/>
                    <a:pt x="78" y="186"/>
                  </a:cubicBezTo>
                  <a:cubicBezTo>
                    <a:pt x="78" y="186"/>
                    <a:pt x="78" y="185"/>
                    <a:pt x="78" y="185"/>
                  </a:cubicBezTo>
                  <a:cubicBezTo>
                    <a:pt x="78" y="185"/>
                    <a:pt x="78" y="185"/>
                    <a:pt x="77" y="185"/>
                  </a:cubicBezTo>
                  <a:cubicBezTo>
                    <a:pt x="77" y="185"/>
                    <a:pt x="77" y="185"/>
                    <a:pt x="77" y="185"/>
                  </a:cubicBezTo>
                  <a:cubicBezTo>
                    <a:pt x="77" y="185"/>
                    <a:pt x="77" y="185"/>
                    <a:pt x="77" y="185"/>
                  </a:cubicBezTo>
                  <a:cubicBezTo>
                    <a:pt x="77" y="185"/>
                    <a:pt x="77" y="185"/>
                    <a:pt x="77" y="185"/>
                  </a:cubicBezTo>
                  <a:cubicBezTo>
                    <a:pt x="76" y="184"/>
                    <a:pt x="76" y="184"/>
                    <a:pt x="75" y="184"/>
                  </a:cubicBezTo>
                  <a:cubicBezTo>
                    <a:pt x="75" y="184"/>
                    <a:pt x="75" y="184"/>
                    <a:pt x="75" y="184"/>
                  </a:cubicBezTo>
                  <a:cubicBezTo>
                    <a:pt x="75" y="184"/>
                    <a:pt x="74" y="184"/>
                    <a:pt x="74" y="184"/>
                  </a:cubicBezTo>
                  <a:cubicBezTo>
                    <a:pt x="74" y="183"/>
                    <a:pt x="74" y="183"/>
                    <a:pt x="74" y="183"/>
                  </a:cubicBezTo>
                  <a:cubicBezTo>
                    <a:pt x="73" y="183"/>
                    <a:pt x="73" y="183"/>
                    <a:pt x="73" y="183"/>
                  </a:cubicBezTo>
                  <a:cubicBezTo>
                    <a:pt x="73" y="183"/>
                    <a:pt x="73" y="183"/>
                    <a:pt x="73" y="183"/>
                  </a:cubicBezTo>
                  <a:cubicBezTo>
                    <a:pt x="72" y="183"/>
                    <a:pt x="71" y="182"/>
                    <a:pt x="71" y="182"/>
                  </a:cubicBezTo>
                  <a:cubicBezTo>
                    <a:pt x="71" y="182"/>
                    <a:pt x="71" y="182"/>
                    <a:pt x="71" y="182"/>
                  </a:cubicBezTo>
                  <a:cubicBezTo>
                    <a:pt x="70" y="182"/>
                    <a:pt x="70" y="182"/>
                    <a:pt x="70" y="182"/>
                  </a:cubicBezTo>
                  <a:cubicBezTo>
                    <a:pt x="70" y="182"/>
                    <a:pt x="70" y="182"/>
                    <a:pt x="70" y="181"/>
                  </a:cubicBezTo>
                  <a:cubicBezTo>
                    <a:pt x="70" y="181"/>
                    <a:pt x="69" y="181"/>
                    <a:pt x="69" y="181"/>
                  </a:cubicBezTo>
                  <a:cubicBezTo>
                    <a:pt x="69" y="181"/>
                    <a:pt x="69" y="181"/>
                    <a:pt x="69" y="181"/>
                  </a:cubicBezTo>
                  <a:cubicBezTo>
                    <a:pt x="69" y="181"/>
                    <a:pt x="68" y="181"/>
                    <a:pt x="67" y="181"/>
                  </a:cubicBezTo>
                  <a:cubicBezTo>
                    <a:pt x="67" y="180"/>
                    <a:pt x="67" y="180"/>
                    <a:pt x="66" y="179"/>
                  </a:cubicBezTo>
                  <a:cubicBezTo>
                    <a:pt x="65" y="178"/>
                    <a:pt x="64" y="177"/>
                    <a:pt x="63" y="176"/>
                  </a:cubicBezTo>
                  <a:cubicBezTo>
                    <a:pt x="63" y="176"/>
                    <a:pt x="63" y="176"/>
                    <a:pt x="63" y="175"/>
                  </a:cubicBezTo>
                  <a:cubicBezTo>
                    <a:pt x="62" y="175"/>
                    <a:pt x="61" y="174"/>
                    <a:pt x="60" y="173"/>
                  </a:cubicBezTo>
                  <a:cubicBezTo>
                    <a:pt x="58" y="171"/>
                    <a:pt x="56" y="169"/>
                    <a:pt x="54" y="166"/>
                  </a:cubicBezTo>
                  <a:cubicBezTo>
                    <a:pt x="51" y="164"/>
                    <a:pt x="48" y="161"/>
                    <a:pt x="45" y="158"/>
                  </a:cubicBezTo>
                  <a:cubicBezTo>
                    <a:pt x="43" y="155"/>
                    <a:pt x="41" y="153"/>
                    <a:pt x="38" y="150"/>
                  </a:cubicBezTo>
                  <a:cubicBezTo>
                    <a:pt x="37" y="149"/>
                    <a:pt x="37" y="148"/>
                    <a:pt x="36" y="148"/>
                  </a:cubicBezTo>
                  <a:cubicBezTo>
                    <a:pt x="36" y="148"/>
                    <a:pt x="35" y="148"/>
                    <a:pt x="35" y="148"/>
                  </a:cubicBezTo>
                  <a:cubicBezTo>
                    <a:pt x="35" y="147"/>
                    <a:pt x="35" y="147"/>
                    <a:pt x="34" y="146"/>
                  </a:cubicBezTo>
                  <a:cubicBezTo>
                    <a:pt x="34" y="146"/>
                    <a:pt x="34" y="146"/>
                    <a:pt x="33" y="146"/>
                  </a:cubicBezTo>
                  <a:cubicBezTo>
                    <a:pt x="33" y="146"/>
                    <a:pt x="33" y="146"/>
                    <a:pt x="33" y="145"/>
                  </a:cubicBezTo>
                  <a:cubicBezTo>
                    <a:pt x="33" y="145"/>
                    <a:pt x="33" y="145"/>
                    <a:pt x="32" y="145"/>
                  </a:cubicBezTo>
                  <a:cubicBezTo>
                    <a:pt x="32" y="145"/>
                    <a:pt x="32" y="145"/>
                    <a:pt x="32" y="145"/>
                  </a:cubicBezTo>
                  <a:cubicBezTo>
                    <a:pt x="32" y="145"/>
                    <a:pt x="32" y="145"/>
                    <a:pt x="31" y="145"/>
                  </a:cubicBezTo>
                  <a:cubicBezTo>
                    <a:pt x="31" y="144"/>
                    <a:pt x="31" y="144"/>
                    <a:pt x="31" y="144"/>
                  </a:cubicBezTo>
                  <a:cubicBezTo>
                    <a:pt x="31" y="144"/>
                    <a:pt x="30" y="144"/>
                    <a:pt x="30" y="144"/>
                  </a:cubicBezTo>
                  <a:cubicBezTo>
                    <a:pt x="30" y="143"/>
                    <a:pt x="29" y="143"/>
                    <a:pt x="29" y="143"/>
                  </a:cubicBezTo>
                  <a:cubicBezTo>
                    <a:pt x="29" y="143"/>
                    <a:pt x="29" y="143"/>
                    <a:pt x="29" y="143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42"/>
                    <a:pt x="28" y="142"/>
                    <a:pt x="27" y="142"/>
                  </a:cubicBezTo>
                  <a:cubicBezTo>
                    <a:pt x="27" y="142"/>
                    <a:pt x="27" y="141"/>
                    <a:pt x="27" y="141"/>
                  </a:cubicBezTo>
                  <a:cubicBezTo>
                    <a:pt x="27" y="141"/>
                    <a:pt x="26" y="141"/>
                    <a:pt x="26" y="141"/>
                  </a:cubicBezTo>
                  <a:cubicBezTo>
                    <a:pt x="26" y="141"/>
                    <a:pt x="26" y="140"/>
                    <a:pt x="26" y="140"/>
                  </a:cubicBezTo>
                  <a:cubicBezTo>
                    <a:pt x="26" y="140"/>
                    <a:pt x="25" y="140"/>
                    <a:pt x="25" y="140"/>
                  </a:cubicBezTo>
                  <a:cubicBezTo>
                    <a:pt x="25" y="140"/>
                    <a:pt x="25" y="140"/>
                    <a:pt x="25" y="139"/>
                  </a:cubicBezTo>
                  <a:cubicBezTo>
                    <a:pt x="24" y="139"/>
                    <a:pt x="24" y="139"/>
                    <a:pt x="24" y="139"/>
                  </a:cubicBezTo>
                  <a:cubicBezTo>
                    <a:pt x="23" y="139"/>
                    <a:pt x="23" y="138"/>
                    <a:pt x="23" y="138"/>
                  </a:cubicBezTo>
                  <a:cubicBezTo>
                    <a:pt x="23" y="138"/>
                    <a:pt x="22" y="138"/>
                    <a:pt x="22" y="138"/>
                  </a:cubicBezTo>
                  <a:cubicBezTo>
                    <a:pt x="22" y="138"/>
                    <a:pt x="22" y="138"/>
                    <a:pt x="22" y="137"/>
                  </a:cubicBezTo>
                  <a:cubicBezTo>
                    <a:pt x="22" y="137"/>
                    <a:pt x="21" y="137"/>
                    <a:pt x="21" y="137"/>
                  </a:cubicBezTo>
                  <a:cubicBezTo>
                    <a:pt x="21" y="137"/>
                    <a:pt x="21" y="137"/>
                    <a:pt x="21" y="137"/>
                  </a:cubicBezTo>
                  <a:cubicBezTo>
                    <a:pt x="20" y="137"/>
                    <a:pt x="20" y="136"/>
                    <a:pt x="20" y="136"/>
                  </a:cubicBezTo>
                  <a:cubicBezTo>
                    <a:pt x="20" y="136"/>
                    <a:pt x="19" y="136"/>
                    <a:pt x="19" y="135"/>
                  </a:cubicBezTo>
                  <a:cubicBezTo>
                    <a:pt x="19" y="135"/>
                    <a:pt x="19" y="135"/>
                    <a:pt x="18" y="135"/>
                  </a:cubicBezTo>
                  <a:cubicBezTo>
                    <a:pt x="18" y="135"/>
                    <a:pt x="18" y="135"/>
                    <a:pt x="18" y="135"/>
                  </a:cubicBezTo>
                  <a:cubicBezTo>
                    <a:pt x="18" y="135"/>
                    <a:pt x="18" y="135"/>
                    <a:pt x="17" y="135"/>
                  </a:cubicBezTo>
                  <a:cubicBezTo>
                    <a:pt x="17" y="134"/>
                    <a:pt x="17" y="134"/>
                    <a:pt x="17" y="134"/>
                  </a:cubicBezTo>
                  <a:cubicBezTo>
                    <a:pt x="16" y="134"/>
                    <a:pt x="16" y="134"/>
                    <a:pt x="16" y="134"/>
                  </a:cubicBezTo>
                  <a:cubicBezTo>
                    <a:pt x="16" y="133"/>
                    <a:pt x="16" y="133"/>
                    <a:pt x="16" y="133"/>
                  </a:cubicBezTo>
                  <a:cubicBezTo>
                    <a:pt x="15" y="133"/>
                    <a:pt x="15" y="133"/>
                    <a:pt x="15" y="133"/>
                  </a:cubicBezTo>
                  <a:cubicBezTo>
                    <a:pt x="15" y="133"/>
                    <a:pt x="15" y="132"/>
                    <a:pt x="15" y="132"/>
                  </a:cubicBezTo>
                  <a:cubicBezTo>
                    <a:pt x="14" y="132"/>
                    <a:pt x="14" y="132"/>
                    <a:pt x="13" y="132"/>
                  </a:cubicBezTo>
                  <a:cubicBezTo>
                    <a:pt x="13" y="131"/>
                    <a:pt x="13" y="131"/>
                    <a:pt x="13" y="131"/>
                  </a:cubicBezTo>
                  <a:cubicBezTo>
                    <a:pt x="13" y="131"/>
                    <a:pt x="12" y="131"/>
                    <a:pt x="12" y="131"/>
                  </a:cubicBezTo>
                  <a:cubicBezTo>
                    <a:pt x="12" y="130"/>
                    <a:pt x="12" y="130"/>
                    <a:pt x="12" y="130"/>
                  </a:cubicBezTo>
                  <a:cubicBezTo>
                    <a:pt x="12" y="130"/>
                    <a:pt x="11" y="130"/>
                    <a:pt x="11" y="130"/>
                  </a:cubicBezTo>
                  <a:cubicBezTo>
                    <a:pt x="11" y="130"/>
                    <a:pt x="11" y="130"/>
                    <a:pt x="11" y="129"/>
                  </a:cubicBezTo>
                  <a:cubicBezTo>
                    <a:pt x="10" y="129"/>
                    <a:pt x="10" y="129"/>
                    <a:pt x="10" y="129"/>
                  </a:cubicBezTo>
                  <a:cubicBezTo>
                    <a:pt x="9" y="129"/>
                    <a:pt x="9" y="128"/>
                    <a:pt x="9" y="128"/>
                  </a:cubicBezTo>
                  <a:cubicBezTo>
                    <a:pt x="9" y="128"/>
                    <a:pt x="8" y="128"/>
                    <a:pt x="8" y="128"/>
                  </a:cubicBezTo>
                  <a:cubicBezTo>
                    <a:pt x="8" y="128"/>
                    <a:pt x="8" y="127"/>
                    <a:pt x="8" y="127"/>
                  </a:cubicBezTo>
                  <a:cubicBezTo>
                    <a:pt x="8" y="127"/>
                    <a:pt x="7" y="127"/>
                    <a:pt x="7" y="127"/>
                  </a:cubicBezTo>
                  <a:cubicBezTo>
                    <a:pt x="7" y="127"/>
                    <a:pt x="7" y="127"/>
                    <a:pt x="7" y="126"/>
                  </a:cubicBezTo>
                  <a:cubicBezTo>
                    <a:pt x="6" y="126"/>
                    <a:pt x="6" y="126"/>
                    <a:pt x="6" y="126"/>
                  </a:cubicBezTo>
                  <a:cubicBezTo>
                    <a:pt x="6" y="126"/>
                    <a:pt x="6" y="126"/>
                    <a:pt x="5" y="125"/>
                  </a:cubicBezTo>
                  <a:cubicBezTo>
                    <a:pt x="5" y="125"/>
                    <a:pt x="5" y="125"/>
                    <a:pt x="5" y="125"/>
                  </a:cubicBezTo>
                  <a:cubicBezTo>
                    <a:pt x="5" y="125"/>
                    <a:pt x="4" y="125"/>
                    <a:pt x="4" y="124"/>
                  </a:cubicBezTo>
                  <a:cubicBezTo>
                    <a:pt x="4" y="124"/>
                    <a:pt x="4" y="124"/>
                    <a:pt x="3" y="124"/>
                  </a:cubicBezTo>
                  <a:cubicBezTo>
                    <a:pt x="3" y="124"/>
                    <a:pt x="3" y="124"/>
                    <a:pt x="3" y="123"/>
                  </a:cubicBezTo>
                  <a:cubicBezTo>
                    <a:pt x="2" y="123"/>
                    <a:pt x="2" y="123"/>
                    <a:pt x="2" y="123"/>
                  </a:cubicBezTo>
                  <a:cubicBezTo>
                    <a:pt x="2" y="123"/>
                    <a:pt x="2" y="123"/>
                    <a:pt x="2" y="123"/>
                  </a:cubicBezTo>
                  <a:cubicBezTo>
                    <a:pt x="1" y="123"/>
                    <a:pt x="1" y="123"/>
                    <a:pt x="1" y="123"/>
                  </a:cubicBezTo>
                  <a:cubicBezTo>
                    <a:pt x="1" y="123"/>
                    <a:pt x="1" y="122"/>
                    <a:pt x="1" y="122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0" y="121"/>
                    <a:pt x="1" y="121"/>
                    <a:pt x="1" y="121"/>
                  </a:cubicBezTo>
                  <a:cubicBezTo>
                    <a:pt x="2" y="120"/>
                    <a:pt x="2" y="120"/>
                    <a:pt x="3" y="120"/>
                  </a:cubicBezTo>
                  <a:cubicBezTo>
                    <a:pt x="4" y="119"/>
                    <a:pt x="5" y="118"/>
                    <a:pt x="5" y="117"/>
                  </a:cubicBezTo>
                  <a:cubicBezTo>
                    <a:pt x="5" y="117"/>
                    <a:pt x="6" y="117"/>
                    <a:pt x="6" y="117"/>
                  </a:cubicBezTo>
                  <a:cubicBezTo>
                    <a:pt x="6" y="117"/>
                    <a:pt x="7" y="116"/>
                    <a:pt x="7" y="116"/>
                  </a:cubicBezTo>
                  <a:cubicBezTo>
                    <a:pt x="7" y="116"/>
                    <a:pt x="8" y="116"/>
                    <a:pt x="8" y="116"/>
                  </a:cubicBezTo>
                  <a:cubicBezTo>
                    <a:pt x="9" y="115"/>
                    <a:pt x="9" y="114"/>
                    <a:pt x="10" y="113"/>
                  </a:cubicBezTo>
                  <a:cubicBezTo>
                    <a:pt x="10" y="113"/>
                    <a:pt x="10" y="113"/>
                    <a:pt x="11" y="113"/>
                  </a:cubicBezTo>
                  <a:cubicBezTo>
                    <a:pt x="11" y="113"/>
                    <a:pt x="12" y="112"/>
                    <a:pt x="12" y="111"/>
                  </a:cubicBezTo>
                  <a:cubicBezTo>
                    <a:pt x="13" y="111"/>
                    <a:pt x="13" y="111"/>
                    <a:pt x="13" y="111"/>
                  </a:cubicBezTo>
                  <a:cubicBezTo>
                    <a:pt x="14" y="110"/>
                    <a:pt x="14" y="110"/>
                    <a:pt x="15" y="109"/>
                  </a:cubicBezTo>
                  <a:cubicBezTo>
                    <a:pt x="15" y="109"/>
                    <a:pt x="15" y="109"/>
                    <a:pt x="16" y="109"/>
                  </a:cubicBezTo>
                  <a:cubicBezTo>
                    <a:pt x="16" y="108"/>
                    <a:pt x="17" y="107"/>
                    <a:pt x="18" y="107"/>
                  </a:cubicBezTo>
                  <a:cubicBezTo>
                    <a:pt x="18" y="107"/>
                    <a:pt x="18" y="107"/>
                    <a:pt x="18" y="107"/>
                  </a:cubicBezTo>
                  <a:cubicBezTo>
                    <a:pt x="19" y="106"/>
                    <a:pt x="20" y="105"/>
                    <a:pt x="20" y="104"/>
                  </a:cubicBezTo>
                  <a:cubicBezTo>
                    <a:pt x="21" y="104"/>
                    <a:pt x="21" y="104"/>
                    <a:pt x="21" y="104"/>
                  </a:cubicBezTo>
                  <a:cubicBezTo>
                    <a:pt x="22" y="103"/>
                    <a:pt x="23" y="102"/>
                    <a:pt x="24" y="101"/>
                  </a:cubicBezTo>
                  <a:cubicBezTo>
                    <a:pt x="24" y="101"/>
                    <a:pt x="24" y="101"/>
                    <a:pt x="24" y="101"/>
                  </a:cubicBezTo>
                  <a:cubicBezTo>
                    <a:pt x="25" y="100"/>
                    <a:pt x="26" y="99"/>
                    <a:pt x="27" y="98"/>
                  </a:cubicBezTo>
                  <a:cubicBezTo>
                    <a:pt x="31" y="95"/>
                    <a:pt x="34" y="92"/>
                    <a:pt x="37" y="89"/>
                  </a:cubicBezTo>
                  <a:cubicBezTo>
                    <a:pt x="39" y="87"/>
                    <a:pt x="40" y="86"/>
                    <a:pt x="42" y="85"/>
                  </a:cubicBezTo>
                  <a:cubicBezTo>
                    <a:pt x="42" y="84"/>
                    <a:pt x="42" y="84"/>
                    <a:pt x="42" y="84"/>
                  </a:cubicBezTo>
                  <a:cubicBezTo>
                    <a:pt x="42" y="84"/>
                    <a:pt x="43" y="83"/>
                    <a:pt x="43" y="83"/>
                  </a:cubicBezTo>
                  <a:cubicBezTo>
                    <a:pt x="43" y="83"/>
                    <a:pt x="43" y="83"/>
                    <a:pt x="43" y="82"/>
                  </a:cubicBezTo>
                  <a:cubicBezTo>
                    <a:pt x="43" y="82"/>
                    <a:pt x="43" y="82"/>
                    <a:pt x="44" y="82"/>
                  </a:cubicBezTo>
                  <a:cubicBezTo>
                    <a:pt x="44" y="81"/>
                    <a:pt x="44" y="81"/>
                    <a:pt x="44" y="80"/>
                  </a:cubicBezTo>
                  <a:cubicBezTo>
                    <a:pt x="45" y="80"/>
                    <a:pt x="45" y="80"/>
                    <a:pt x="45" y="80"/>
                  </a:cubicBezTo>
                  <a:cubicBezTo>
                    <a:pt x="45" y="79"/>
                    <a:pt x="45" y="79"/>
                    <a:pt x="45" y="78"/>
                  </a:cubicBezTo>
                  <a:cubicBezTo>
                    <a:pt x="45" y="78"/>
                    <a:pt x="46" y="78"/>
                    <a:pt x="46" y="78"/>
                  </a:cubicBezTo>
                  <a:cubicBezTo>
                    <a:pt x="46" y="78"/>
                    <a:pt x="46" y="77"/>
                    <a:pt x="46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77"/>
                    <a:pt x="46" y="76"/>
                    <a:pt x="46" y="76"/>
                  </a:cubicBezTo>
                  <a:cubicBezTo>
                    <a:pt x="46" y="76"/>
                    <a:pt x="47" y="76"/>
                    <a:pt x="47" y="76"/>
                  </a:cubicBezTo>
                  <a:cubicBezTo>
                    <a:pt x="47" y="76"/>
                    <a:pt x="47" y="75"/>
                    <a:pt x="47" y="75"/>
                  </a:cubicBezTo>
                  <a:cubicBezTo>
                    <a:pt x="47" y="75"/>
                    <a:pt x="47" y="75"/>
                    <a:pt x="47" y="75"/>
                  </a:cubicBezTo>
                  <a:cubicBezTo>
                    <a:pt x="47" y="74"/>
                    <a:pt x="48" y="74"/>
                    <a:pt x="48" y="73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8" y="72"/>
                    <a:pt x="48" y="72"/>
                    <a:pt x="48" y="71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50" y="70"/>
                  </a:cubicBezTo>
                  <a:cubicBezTo>
                    <a:pt x="50" y="69"/>
                    <a:pt x="50" y="69"/>
                    <a:pt x="50" y="68"/>
                  </a:cubicBezTo>
                  <a:cubicBezTo>
                    <a:pt x="50" y="68"/>
                    <a:pt x="50" y="68"/>
                    <a:pt x="50" y="68"/>
                  </a:cubicBezTo>
                  <a:cubicBezTo>
                    <a:pt x="51" y="67"/>
                    <a:pt x="51" y="66"/>
                    <a:pt x="51" y="65"/>
                  </a:cubicBezTo>
                  <a:cubicBezTo>
                    <a:pt x="51" y="65"/>
                    <a:pt x="52" y="65"/>
                    <a:pt x="52" y="65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52" y="64"/>
                    <a:pt x="52" y="63"/>
                    <a:pt x="52" y="63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2" y="63"/>
                    <a:pt x="52" y="62"/>
                    <a:pt x="52" y="62"/>
                  </a:cubicBezTo>
                  <a:cubicBezTo>
                    <a:pt x="52" y="62"/>
                    <a:pt x="53" y="62"/>
                    <a:pt x="53" y="62"/>
                  </a:cubicBezTo>
                  <a:cubicBezTo>
                    <a:pt x="53" y="62"/>
                    <a:pt x="53" y="61"/>
                    <a:pt x="53" y="61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53" y="61"/>
                    <a:pt x="53" y="60"/>
                    <a:pt x="53" y="60"/>
                  </a:cubicBezTo>
                  <a:cubicBezTo>
                    <a:pt x="53" y="60"/>
                    <a:pt x="54" y="60"/>
                    <a:pt x="54" y="60"/>
                  </a:cubicBezTo>
                  <a:cubicBezTo>
                    <a:pt x="54" y="59"/>
                    <a:pt x="54" y="59"/>
                    <a:pt x="54" y="59"/>
                  </a:cubicBezTo>
                  <a:cubicBezTo>
                    <a:pt x="54" y="59"/>
                    <a:pt x="54" y="59"/>
                    <a:pt x="54" y="59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4" y="57"/>
                    <a:pt x="54" y="57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55"/>
                    <a:pt x="55" y="55"/>
                    <a:pt x="55" y="54"/>
                  </a:cubicBezTo>
                  <a:cubicBezTo>
                    <a:pt x="56" y="54"/>
                    <a:pt x="56" y="54"/>
                    <a:pt x="56" y="54"/>
                  </a:cubicBezTo>
                  <a:cubicBezTo>
                    <a:pt x="56" y="54"/>
                    <a:pt x="56" y="53"/>
                    <a:pt x="57" y="52"/>
                  </a:cubicBezTo>
                  <a:cubicBezTo>
                    <a:pt x="57" y="52"/>
                    <a:pt x="57" y="52"/>
                    <a:pt x="57" y="52"/>
                  </a:cubicBezTo>
                  <a:cubicBezTo>
                    <a:pt x="57" y="52"/>
                    <a:pt x="57" y="52"/>
                    <a:pt x="57" y="52"/>
                  </a:cubicBezTo>
                  <a:cubicBezTo>
                    <a:pt x="57" y="52"/>
                    <a:pt x="57" y="52"/>
                    <a:pt x="57" y="52"/>
                  </a:cubicBezTo>
                  <a:cubicBezTo>
                    <a:pt x="57" y="51"/>
                    <a:pt x="57" y="51"/>
                    <a:pt x="57" y="51"/>
                  </a:cubicBezTo>
                  <a:cubicBezTo>
                    <a:pt x="57" y="51"/>
                    <a:pt x="57" y="51"/>
                    <a:pt x="58" y="51"/>
                  </a:cubicBezTo>
                  <a:cubicBezTo>
                    <a:pt x="58" y="51"/>
                    <a:pt x="58" y="51"/>
                    <a:pt x="58" y="50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58" y="49"/>
                    <a:pt x="58" y="49"/>
                    <a:pt x="59" y="49"/>
                  </a:cubicBezTo>
                  <a:cubicBezTo>
                    <a:pt x="59" y="49"/>
                    <a:pt x="59" y="48"/>
                    <a:pt x="59" y="48"/>
                  </a:cubicBezTo>
                  <a:cubicBezTo>
                    <a:pt x="59" y="48"/>
                    <a:pt x="59" y="48"/>
                    <a:pt x="59" y="48"/>
                  </a:cubicBezTo>
                  <a:cubicBezTo>
                    <a:pt x="59" y="48"/>
                    <a:pt x="59" y="48"/>
                    <a:pt x="59" y="47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60" y="47"/>
                    <a:pt x="60" y="47"/>
                    <a:pt x="60" y="46"/>
                  </a:cubicBezTo>
                  <a:cubicBezTo>
                    <a:pt x="60" y="46"/>
                    <a:pt x="60" y="46"/>
                    <a:pt x="60" y="46"/>
                  </a:cubicBezTo>
                  <a:cubicBezTo>
                    <a:pt x="60" y="46"/>
                    <a:pt x="60" y="46"/>
                    <a:pt x="61" y="45"/>
                  </a:cubicBezTo>
                  <a:cubicBezTo>
                    <a:pt x="61" y="45"/>
                    <a:pt x="61" y="45"/>
                    <a:pt x="61" y="45"/>
                  </a:cubicBezTo>
                  <a:cubicBezTo>
                    <a:pt x="61" y="44"/>
                    <a:pt x="62" y="44"/>
                    <a:pt x="62" y="44"/>
                  </a:cubicBezTo>
                  <a:cubicBezTo>
                    <a:pt x="62" y="44"/>
                    <a:pt x="62" y="43"/>
                    <a:pt x="62" y="43"/>
                  </a:cubicBezTo>
                  <a:cubicBezTo>
                    <a:pt x="63" y="43"/>
                    <a:pt x="63" y="43"/>
                    <a:pt x="64" y="43"/>
                  </a:cubicBezTo>
                  <a:cubicBezTo>
                    <a:pt x="64" y="43"/>
                    <a:pt x="64" y="42"/>
                    <a:pt x="64" y="42"/>
                  </a:cubicBezTo>
                  <a:cubicBezTo>
                    <a:pt x="64" y="42"/>
                    <a:pt x="65" y="42"/>
                    <a:pt x="65" y="42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6" y="41"/>
                    <a:pt x="66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1"/>
                    <a:pt x="67" y="41"/>
                    <a:pt x="68" y="41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8" y="40"/>
                    <a:pt x="68" y="40"/>
                    <a:pt x="68" y="40"/>
                  </a:cubicBezTo>
                  <a:cubicBezTo>
                    <a:pt x="69" y="40"/>
                    <a:pt x="69" y="40"/>
                    <a:pt x="70" y="40"/>
                  </a:cubicBezTo>
                  <a:cubicBezTo>
                    <a:pt x="70" y="40"/>
                    <a:pt x="70" y="40"/>
                    <a:pt x="70" y="39"/>
                  </a:cubicBezTo>
                  <a:cubicBezTo>
                    <a:pt x="70" y="39"/>
                    <a:pt x="71" y="39"/>
                    <a:pt x="71" y="39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9"/>
                    <a:pt x="71" y="39"/>
                    <a:pt x="72" y="39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72" y="39"/>
                    <a:pt x="73" y="39"/>
                    <a:pt x="74" y="38"/>
                  </a:cubicBezTo>
                  <a:cubicBezTo>
                    <a:pt x="74" y="38"/>
                    <a:pt x="74" y="38"/>
                    <a:pt x="74" y="38"/>
                  </a:cubicBezTo>
                  <a:cubicBezTo>
                    <a:pt x="74" y="38"/>
                    <a:pt x="74" y="38"/>
                    <a:pt x="74" y="38"/>
                  </a:cubicBezTo>
                  <a:cubicBezTo>
                    <a:pt x="74" y="38"/>
                    <a:pt x="74" y="38"/>
                    <a:pt x="74" y="38"/>
                  </a:cubicBezTo>
                  <a:cubicBezTo>
                    <a:pt x="75" y="38"/>
                    <a:pt x="76" y="37"/>
                    <a:pt x="76" y="37"/>
                  </a:cubicBezTo>
                  <a:cubicBezTo>
                    <a:pt x="76" y="37"/>
                    <a:pt x="76" y="37"/>
                    <a:pt x="76" y="37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78" y="37"/>
                    <a:pt x="78" y="37"/>
                    <a:pt x="79" y="37"/>
                  </a:cubicBezTo>
                  <a:cubicBezTo>
                    <a:pt x="79" y="37"/>
                    <a:pt x="79" y="36"/>
                    <a:pt x="79" y="36"/>
                  </a:cubicBezTo>
                  <a:cubicBezTo>
                    <a:pt x="79" y="36"/>
                    <a:pt x="79" y="36"/>
                    <a:pt x="80" y="36"/>
                  </a:cubicBezTo>
                  <a:cubicBezTo>
                    <a:pt x="80" y="36"/>
                    <a:pt x="80" y="36"/>
                    <a:pt x="80" y="36"/>
                  </a:cubicBezTo>
                  <a:cubicBezTo>
                    <a:pt x="83" y="35"/>
                    <a:pt x="87" y="34"/>
                    <a:pt x="90" y="34"/>
                  </a:cubicBezTo>
                  <a:cubicBezTo>
                    <a:pt x="93" y="33"/>
                    <a:pt x="98" y="34"/>
                    <a:pt x="99" y="35"/>
                  </a:cubicBezTo>
                  <a:cubicBezTo>
                    <a:pt x="99" y="35"/>
                    <a:pt x="99" y="35"/>
                    <a:pt x="99" y="36"/>
                  </a:cubicBezTo>
                  <a:cubicBezTo>
                    <a:pt x="100" y="36"/>
                    <a:pt x="100" y="36"/>
                    <a:pt x="101" y="36"/>
                  </a:cubicBezTo>
                  <a:cubicBezTo>
                    <a:pt x="101" y="36"/>
                    <a:pt x="101" y="36"/>
                    <a:pt x="101" y="37"/>
                  </a:cubicBezTo>
                  <a:cubicBezTo>
                    <a:pt x="101" y="37"/>
                    <a:pt x="102" y="37"/>
                    <a:pt x="102" y="37"/>
                  </a:cubicBezTo>
                  <a:cubicBezTo>
                    <a:pt x="102" y="37"/>
                    <a:pt x="103" y="37"/>
                    <a:pt x="103" y="38"/>
                  </a:cubicBezTo>
                  <a:cubicBezTo>
                    <a:pt x="103" y="38"/>
                    <a:pt x="104" y="38"/>
                    <a:pt x="104" y="38"/>
                  </a:cubicBezTo>
                  <a:cubicBezTo>
                    <a:pt x="104" y="38"/>
                    <a:pt x="104" y="39"/>
                    <a:pt x="104" y="39"/>
                  </a:cubicBezTo>
                  <a:cubicBezTo>
                    <a:pt x="105" y="39"/>
                    <a:pt x="105" y="39"/>
                    <a:pt x="106" y="39"/>
                  </a:cubicBezTo>
                  <a:cubicBezTo>
                    <a:pt x="106" y="39"/>
                    <a:pt x="106" y="40"/>
                    <a:pt x="106" y="40"/>
                  </a:cubicBezTo>
                  <a:cubicBezTo>
                    <a:pt x="106" y="40"/>
                    <a:pt x="107" y="40"/>
                    <a:pt x="107" y="40"/>
                  </a:cubicBezTo>
                  <a:cubicBezTo>
                    <a:pt x="107" y="40"/>
                    <a:pt x="107" y="40"/>
                    <a:pt x="107" y="41"/>
                  </a:cubicBezTo>
                  <a:cubicBezTo>
                    <a:pt x="107" y="41"/>
                    <a:pt x="108" y="41"/>
                    <a:pt x="108" y="41"/>
                  </a:cubicBezTo>
                  <a:cubicBezTo>
                    <a:pt x="108" y="41"/>
                    <a:pt x="108" y="41"/>
                    <a:pt x="108" y="41"/>
                  </a:cubicBezTo>
                  <a:cubicBezTo>
                    <a:pt x="109" y="41"/>
                    <a:pt x="109" y="41"/>
                    <a:pt x="109" y="41"/>
                  </a:cubicBezTo>
                  <a:cubicBezTo>
                    <a:pt x="109" y="41"/>
                    <a:pt x="109" y="42"/>
                    <a:pt x="109" y="42"/>
                  </a:cubicBezTo>
                  <a:cubicBezTo>
                    <a:pt x="110" y="42"/>
                    <a:pt x="110" y="42"/>
                    <a:pt x="111" y="42"/>
                  </a:cubicBezTo>
                  <a:cubicBezTo>
                    <a:pt x="111" y="42"/>
                    <a:pt x="111" y="42"/>
                    <a:pt x="111" y="43"/>
                  </a:cubicBezTo>
                  <a:cubicBezTo>
                    <a:pt x="111" y="43"/>
                    <a:pt x="111" y="43"/>
                    <a:pt x="112" y="43"/>
                  </a:cubicBezTo>
                  <a:cubicBezTo>
                    <a:pt x="112" y="43"/>
                    <a:pt x="112" y="43"/>
                    <a:pt x="112" y="44"/>
                  </a:cubicBezTo>
                  <a:cubicBezTo>
                    <a:pt x="113" y="44"/>
                    <a:pt x="113" y="44"/>
                    <a:pt x="114" y="44"/>
                  </a:cubicBezTo>
                  <a:cubicBezTo>
                    <a:pt x="114" y="44"/>
                    <a:pt x="114" y="44"/>
                    <a:pt x="114" y="45"/>
                  </a:cubicBezTo>
                  <a:cubicBezTo>
                    <a:pt x="115" y="45"/>
                    <a:pt x="115" y="45"/>
                    <a:pt x="116" y="45"/>
                  </a:cubicBezTo>
                  <a:cubicBezTo>
                    <a:pt x="116" y="46"/>
                    <a:pt x="116" y="46"/>
                    <a:pt x="116" y="46"/>
                  </a:cubicBezTo>
                  <a:cubicBezTo>
                    <a:pt x="117" y="46"/>
                    <a:pt x="117" y="46"/>
                    <a:pt x="118" y="46"/>
                  </a:cubicBezTo>
                  <a:cubicBezTo>
                    <a:pt x="120" y="48"/>
                    <a:pt x="122" y="49"/>
                    <a:pt x="126" y="49"/>
                  </a:cubicBezTo>
                  <a:cubicBezTo>
                    <a:pt x="127" y="48"/>
                    <a:pt x="128" y="48"/>
                    <a:pt x="129" y="47"/>
                  </a:cubicBezTo>
                  <a:cubicBezTo>
                    <a:pt x="130" y="46"/>
                    <a:pt x="131" y="45"/>
                    <a:pt x="132" y="44"/>
                  </a:cubicBezTo>
                  <a:cubicBezTo>
                    <a:pt x="133" y="42"/>
                    <a:pt x="135" y="41"/>
                    <a:pt x="136" y="40"/>
                  </a:cubicBezTo>
                  <a:cubicBezTo>
                    <a:pt x="136" y="40"/>
                    <a:pt x="136" y="39"/>
                    <a:pt x="136" y="39"/>
                  </a:cubicBezTo>
                  <a:cubicBezTo>
                    <a:pt x="137" y="38"/>
                    <a:pt x="138" y="38"/>
                    <a:pt x="139" y="37"/>
                  </a:cubicBezTo>
                  <a:cubicBezTo>
                    <a:pt x="139" y="37"/>
                    <a:pt x="139" y="37"/>
                    <a:pt x="139" y="36"/>
                  </a:cubicBezTo>
                  <a:cubicBezTo>
                    <a:pt x="139" y="36"/>
                    <a:pt x="140" y="35"/>
                    <a:pt x="140" y="35"/>
                  </a:cubicBezTo>
                  <a:cubicBezTo>
                    <a:pt x="140" y="35"/>
                    <a:pt x="140" y="34"/>
                    <a:pt x="140" y="34"/>
                  </a:cubicBezTo>
                  <a:cubicBezTo>
                    <a:pt x="141" y="34"/>
                    <a:pt x="141" y="34"/>
                    <a:pt x="142" y="33"/>
                  </a:cubicBezTo>
                  <a:cubicBezTo>
                    <a:pt x="142" y="33"/>
                    <a:pt x="142" y="33"/>
                    <a:pt x="142" y="32"/>
                  </a:cubicBezTo>
                  <a:cubicBezTo>
                    <a:pt x="142" y="32"/>
                    <a:pt x="143" y="32"/>
                    <a:pt x="143" y="31"/>
                  </a:cubicBezTo>
                  <a:cubicBezTo>
                    <a:pt x="143" y="31"/>
                    <a:pt x="143" y="31"/>
                    <a:pt x="143" y="31"/>
                  </a:cubicBezTo>
                  <a:cubicBezTo>
                    <a:pt x="144" y="30"/>
                    <a:pt x="144" y="30"/>
                    <a:pt x="145" y="30"/>
                  </a:cubicBezTo>
                  <a:cubicBezTo>
                    <a:pt x="145" y="29"/>
                    <a:pt x="145" y="29"/>
                    <a:pt x="145" y="29"/>
                  </a:cubicBezTo>
                  <a:cubicBezTo>
                    <a:pt x="145" y="29"/>
                    <a:pt x="146" y="28"/>
                    <a:pt x="146" y="28"/>
                  </a:cubicBezTo>
                  <a:cubicBezTo>
                    <a:pt x="146" y="28"/>
                    <a:pt x="146" y="27"/>
                    <a:pt x="146" y="27"/>
                  </a:cubicBezTo>
                  <a:cubicBezTo>
                    <a:pt x="146" y="27"/>
                    <a:pt x="147" y="27"/>
                    <a:pt x="147" y="27"/>
                  </a:cubicBezTo>
                  <a:cubicBezTo>
                    <a:pt x="147" y="27"/>
                    <a:pt x="147" y="26"/>
                    <a:pt x="147" y="26"/>
                  </a:cubicBezTo>
                  <a:cubicBezTo>
                    <a:pt x="148" y="25"/>
                    <a:pt x="148" y="25"/>
                    <a:pt x="148" y="25"/>
                  </a:cubicBezTo>
                  <a:cubicBezTo>
                    <a:pt x="148" y="25"/>
                    <a:pt x="148" y="24"/>
                    <a:pt x="148" y="24"/>
                  </a:cubicBezTo>
                  <a:cubicBezTo>
                    <a:pt x="149" y="24"/>
                    <a:pt x="149" y="24"/>
                    <a:pt x="150" y="23"/>
                  </a:cubicBezTo>
                  <a:cubicBezTo>
                    <a:pt x="150" y="23"/>
                    <a:pt x="150" y="23"/>
                    <a:pt x="150" y="22"/>
                  </a:cubicBezTo>
                  <a:cubicBezTo>
                    <a:pt x="150" y="22"/>
                    <a:pt x="150" y="22"/>
                    <a:pt x="151" y="22"/>
                  </a:cubicBezTo>
                  <a:cubicBezTo>
                    <a:pt x="151" y="22"/>
                    <a:pt x="151" y="21"/>
                    <a:pt x="151" y="21"/>
                  </a:cubicBezTo>
                  <a:cubicBezTo>
                    <a:pt x="151" y="21"/>
                    <a:pt x="151" y="21"/>
                    <a:pt x="152" y="21"/>
                  </a:cubicBezTo>
                  <a:cubicBezTo>
                    <a:pt x="152" y="20"/>
                    <a:pt x="152" y="20"/>
                    <a:pt x="152" y="20"/>
                  </a:cubicBezTo>
                  <a:cubicBezTo>
                    <a:pt x="152" y="20"/>
                    <a:pt x="152" y="19"/>
                    <a:pt x="153" y="19"/>
                  </a:cubicBezTo>
                  <a:cubicBezTo>
                    <a:pt x="153" y="19"/>
                    <a:pt x="153" y="19"/>
                    <a:pt x="153" y="18"/>
                  </a:cubicBezTo>
                  <a:cubicBezTo>
                    <a:pt x="153" y="18"/>
                    <a:pt x="153" y="18"/>
                    <a:pt x="154" y="18"/>
                  </a:cubicBezTo>
                  <a:cubicBezTo>
                    <a:pt x="154" y="18"/>
                    <a:pt x="154" y="17"/>
                    <a:pt x="154" y="17"/>
                  </a:cubicBezTo>
                  <a:cubicBezTo>
                    <a:pt x="154" y="17"/>
                    <a:pt x="154" y="17"/>
                    <a:pt x="155" y="16"/>
                  </a:cubicBezTo>
                  <a:cubicBezTo>
                    <a:pt x="155" y="16"/>
                    <a:pt x="155" y="16"/>
                    <a:pt x="155" y="16"/>
                  </a:cubicBezTo>
                  <a:cubicBezTo>
                    <a:pt x="155" y="15"/>
                    <a:pt x="155" y="15"/>
                    <a:pt x="156" y="15"/>
                  </a:cubicBezTo>
                  <a:cubicBezTo>
                    <a:pt x="156" y="15"/>
                    <a:pt x="156" y="15"/>
                    <a:pt x="156" y="14"/>
                  </a:cubicBezTo>
                  <a:cubicBezTo>
                    <a:pt x="156" y="14"/>
                    <a:pt x="156" y="14"/>
                    <a:pt x="157" y="14"/>
                  </a:cubicBezTo>
                  <a:cubicBezTo>
                    <a:pt x="157" y="14"/>
                    <a:pt x="157" y="13"/>
                    <a:pt x="157" y="13"/>
                  </a:cubicBezTo>
                  <a:cubicBezTo>
                    <a:pt x="157" y="13"/>
                    <a:pt x="157" y="13"/>
                    <a:pt x="157" y="13"/>
                  </a:cubicBezTo>
                  <a:cubicBezTo>
                    <a:pt x="157" y="13"/>
                    <a:pt x="157" y="12"/>
                    <a:pt x="158" y="12"/>
                  </a:cubicBezTo>
                  <a:cubicBezTo>
                    <a:pt x="158" y="12"/>
                    <a:pt x="158" y="11"/>
                    <a:pt x="159" y="11"/>
                  </a:cubicBezTo>
                  <a:cubicBezTo>
                    <a:pt x="159" y="11"/>
                    <a:pt x="159" y="11"/>
                    <a:pt x="159" y="10"/>
                  </a:cubicBezTo>
                  <a:cubicBezTo>
                    <a:pt x="159" y="10"/>
                    <a:pt x="159" y="10"/>
                    <a:pt x="159" y="10"/>
                  </a:cubicBezTo>
                  <a:cubicBezTo>
                    <a:pt x="159" y="10"/>
                    <a:pt x="159" y="10"/>
                    <a:pt x="159" y="9"/>
                  </a:cubicBezTo>
                  <a:cubicBezTo>
                    <a:pt x="160" y="9"/>
                    <a:pt x="160" y="9"/>
                    <a:pt x="160" y="9"/>
                  </a:cubicBezTo>
                  <a:cubicBezTo>
                    <a:pt x="160" y="8"/>
                    <a:pt x="160" y="8"/>
                    <a:pt x="160" y="8"/>
                  </a:cubicBezTo>
                  <a:cubicBezTo>
                    <a:pt x="161" y="8"/>
                    <a:pt x="161" y="8"/>
                    <a:pt x="161" y="7"/>
                  </a:cubicBezTo>
                  <a:cubicBezTo>
                    <a:pt x="161" y="7"/>
                    <a:pt x="161" y="7"/>
                    <a:pt x="161" y="7"/>
                  </a:cubicBezTo>
                  <a:cubicBezTo>
                    <a:pt x="162" y="6"/>
                    <a:pt x="162" y="6"/>
                    <a:pt x="162" y="6"/>
                  </a:cubicBezTo>
                  <a:cubicBezTo>
                    <a:pt x="162" y="6"/>
                    <a:pt x="162" y="6"/>
                    <a:pt x="162" y="6"/>
                  </a:cubicBezTo>
                  <a:cubicBezTo>
                    <a:pt x="162" y="5"/>
                    <a:pt x="163" y="5"/>
                    <a:pt x="163" y="5"/>
                  </a:cubicBezTo>
                  <a:cubicBezTo>
                    <a:pt x="163" y="5"/>
                    <a:pt x="163" y="4"/>
                    <a:pt x="163" y="4"/>
                  </a:cubicBezTo>
                  <a:cubicBezTo>
                    <a:pt x="163" y="4"/>
                    <a:pt x="164" y="4"/>
                    <a:pt x="164" y="4"/>
                  </a:cubicBezTo>
                  <a:cubicBezTo>
                    <a:pt x="164" y="4"/>
                    <a:pt x="164" y="3"/>
                    <a:pt x="164" y="3"/>
                  </a:cubicBezTo>
                  <a:cubicBezTo>
                    <a:pt x="164" y="3"/>
                    <a:pt x="164" y="3"/>
                    <a:pt x="164" y="3"/>
                  </a:cubicBezTo>
                  <a:cubicBezTo>
                    <a:pt x="164" y="3"/>
                    <a:pt x="164" y="2"/>
                    <a:pt x="165" y="2"/>
                  </a:cubicBezTo>
                  <a:cubicBezTo>
                    <a:pt x="169" y="2"/>
                    <a:pt x="173" y="1"/>
                    <a:pt x="177" y="0"/>
                  </a:cubicBezTo>
                  <a:cubicBezTo>
                    <a:pt x="178" y="0"/>
                    <a:pt x="179" y="0"/>
                    <a:pt x="180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1" y="0"/>
                    <a:pt x="187" y="0"/>
                    <a:pt x="188" y="0"/>
                  </a:cubicBezTo>
                  <a:cubicBezTo>
                    <a:pt x="191" y="2"/>
                    <a:pt x="194" y="3"/>
                    <a:pt x="197" y="4"/>
                  </a:cubicBezTo>
                  <a:cubicBezTo>
                    <a:pt x="199" y="5"/>
                    <a:pt x="200" y="6"/>
                    <a:pt x="203" y="6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</a:ln>
            <a:effectLst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64800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4000" b="1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0000"/>
                </a:solidFill>
                <a:latin typeface="UKIJ Qolyazma" pitchFamily="18" charset="0"/>
                <a:cs typeface="UKIJ Qolyazma" pitchFamily="18" charset="0"/>
              </a:endParaRPr>
            </a:p>
          </p:txBody>
        </p:sp>
        <p:sp>
          <p:nvSpPr>
            <p:cNvPr id="90" name="Freeform 8">
              <a:extLst>
                <a:ext uri="{FF2B5EF4-FFF2-40B4-BE49-F238E27FC236}">
                  <a16:creationId xmlns:a16="http://schemas.microsoft.com/office/drawing/2014/main" id="{6BF71233-A03E-9F1A-FA87-FCBF5373AE0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2856" y="1590035"/>
              <a:ext cx="585693" cy="384972"/>
            </a:xfrm>
            <a:custGeom>
              <a:avLst/>
              <a:gdLst>
                <a:gd name="T0" fmla="*/ 259 w 269"/>
                <a:gd name="T1" fmla="*/ 88 h 177"/>
                <a:gd name="T2" fmla="*/ 252 w 269"/>
                <a:gd name="T3" fmla="*/ 91 h 177"/>
                <a:gd name="T4" fmla="*/ 247 w 269"/>
                <a:gd name="T5" fmla="*/ 94 h 177"/>
                <a:gd name="T6" fmla="*/ 220 w 269"/>
                <a:gd name="T7" fmla="*/ 99 h 177"/>
                <a:gd name="T8" fmla="*/ 174 w 269"/>
                <a:gd name="T9" fmla="*/ 110 h 177"/>
                <a:gd name="T10" fmla="*/ 168 w 269"/>
                <a:gd name="T11" fmla="*/ 114 h 177"/>
                <a:gd name="T12" fmla="*/ 162 w 269"/>
                <a:gd name="T13" fmla="*/ 118 h 177"/>
                <a:gd name="T14" fmla="*/ 155 w 269"/>
                <a:gd name="T15" fmla="*/ 122 h 177"/>
                <a:gd name="T16" fmla="*/ 150 w 269"/>
                <a:gd name="T17" fmla="*/ 126 h 177"/>
                <a:gd name="T18" fmla="*/ 143 w 269"/>
                <a:gd name="T19" fmla="*/ 130 h 177"/>
                <a:gd name="T20" fmla="*/ 137 w 269"/>
                <a:gd name="T21" fmla="*/ 134 h 177"/>
                <a:gd name="T22" fmla="*/ 131 w 269"/>
                <a:gd name="T23" fmla="*/ 137 h 177"/>
                <a:gd name="T24" fmla="*/ 122 w 269"/>
                <a:gd name="T25" fmla="*/ 144 h 177"/>
                <a:gd name="T26" fmla="*/ 117 w 269"/>
                <a:gd name="T27" fmla="*/ 146 h 177"/>
                <a:gd name="T28" fmla="*/ 88 w 269"/>
                <a:gd name="T29" fmla="*/ 162 h 177"/>
                <a:gd name="T30" fmla="*/ 84 w 269"/>
                <a:gd name="T31" fmla="*/ 164 h 177"/>
                <a:gd name="T32" fmla="*/ 79 w 269"/>
                <a:gd name="T33" fmla="*/ 167 h 177"/>
                <a:gd name="T34" fmla="*/ 74 w 269"/>
                <a:gd name="T35" fmla="*/ 169 h 177"/>
                <a:gd name="T36" fmla="*/ 70 w 269"/>
                <a:gd name="T37" fmla="*/ 172 h 177"/>
                <a:gd name="T38" fmla="*/ 64 w 269"/>
                <a:gd name="T39" fmla="*/ 174 h 177"/>
                <a:gd name="T40" fmla="*/ 0 w 269"/>
                <a:gd name="T41" fmla="*/ 162 h 177"/>
                <a:gd name="T42" fmla="*/ 2 w 269"/>
                <a:gd name="T43" fmla="*/ 155 h 177"/>
                <a:gd name="T44" fmla="*/ 6 w 269"/>
                <a:gd name="T45" fmla="*/ 148 h 177"/>
                <a:gd name="T46" fmla="*/ 11 w 269"/>
                <a:gd name="T47" fmla="*/ 141 h 177"/>
                <a:gd name="T48" fmla="*/ 19 w 269"/>
                <a:gd name="T49" fmla="*/ 134 h 177"/>
                <a:gd name="T50" fmla="*/ 25 w 269"/>
                <a:gd name="T51" fmla="*/ 129 h 177"/>
                <a:gd name="T52" fmla="*/ 32 w 269"/>
                <a:gd name="T53" fmla="*/ 125 h 177"/>
                <a:gd name="T54" fmla="*/ 39 w 269"/>
                <a:gd name="T55" fmla="*/ 121 h 177"/>
                <a:gd name="T56" fmla="*/ 46 w 269"/>
                <a:gd name="T57" fmla="*/ 116 h 177"/>
                <a:gd name="T58" fmla="*/ 54 w 269"/>
                <a:gd name="T59" fmla="*/ 76 h 177"/>
                <a:gd name="T60" fmla="*/ 61 w 269"/>
                <a:gd name="T61" fmla="*/ 70 h 177"/>
                <a:gd name="T62" fmla="*/ 70 w 269"/>
                <a:gd name="T63" fmla="*/ 60 h 177"/>
                <a:gd name="T64" fmla="*/ 62 w 269"/>
                <a:gd name="T65" fmla="*/ 49 h 177"/>
                <a:gd name="T66" fmla="*/ 53 w 269"/>
                <a:gd name="T67" fmla="*/ 44 h 177"/>
                <a:gd name="T68" fmla="*/ 45 w 269"/>
                <a:gd name="T69" fmla="*/ 37 h 177"/>
                <a:gd name="T70" fmla="*/ 42 w 269"/>
                <a:gd name="T71" fmla="*/ 31 h 177"/>
                <a:gd name="T72" fmla="*/ 43 w 269"/>
                <a:gd name="T73" fmla="*/ 10 h 177"/>
                <a:gd name="T74" fmla="*/ 53 w 269"/>
                <a:gd name="T75" fmla="*/ 10 h 177"/>
                <a:gd name="T76" fmla="*/ 84 w 269"/>
                <a:gd name="T77" fmla="*/ 11 h 177"/>
                <a:gd name="T78" fmla="*/ 121 w 269"/>
                <a:gd name="T79" fmla="*/ 5 h 177"/>
                <a:gd name="T80" fmla="*/ 127 w 269"/>
                <a:gd name="T81" fmla="*/ 3 h 177"/>
                <a:gd name="T82" fmla="*/ 139 w 269"/>
                <a:gd name="T83" fmla="*/ 1 h 177"/>
                <a:gd name="T84" fmla="*/ 150 w 269"/>
                <a:gd name="T85" fmla="*/ 1 h 177"/>
                <a:gd name="T86" fmla="*/ 158 w 269"/>
                <a:gd name="T87" fmla="*/ 3 h 177"/>
                <a:gd name="T88" fmla="*/ 170 w 269"/>
                <a:gd name="T89" fmla="*/ 5 h 177"/>
                <a:gd name="T90" fmla="*/ 175 w 269"/>
                <a:gd name="T91" fmla="*/ 7 h 177"/>
                <a:gd name="T92" fmla="*/ 182 w 269"/>
                <a:gd name="T93" fmla="*/ 10 h 177"/>
                <a:gd name="T94" fmla="*/ 185 w 269"/>
                <a:gd name="T95" fmla="*/ 12 h 177"/>
                <a:gd name="T96" fmla="*/ 190 w 269"/>
                <a:gd name="T97" fmla="*/ 14 h 177"/>
                <a:gd name="T98" fmla="*/ 193 w 269"/>
                <a:gd name="T99" fmla="*/ 16 h 177"/>
                <a:gd name="T100" fmla="*/ 199 w 269"/>
                <a:gd name="T101" fmla="*/ 18 h 177"/>
                <a:gd name="T102" fmla="*/ 206 w 269"/>
                <a:gd name="T103" fmla="*/ 21 h 177"/>
                <a:gd name="T104" fmla="*/ 218 w 269"/>
                <a:gd name="T105" fmla="*/ 24 h 177"/>
                <a:gd name="T106" fmla="*/ 227 w 269"/>
                <a:gd name="T107" fmla="*/ 30 h 177"/>
                <a:gd name="T108" fmla="*/ 241 w 269"/>
                <a:gd name="T109" fmla="*/ 43 h 177"/>
                <a:gd name="T110" fmla="*/ 248 w 269"/>
                <a:gd name="T111" fmla="*/ 51 h 177"/>
                <a:gd name="T112" fmla="*/ 257 w 269"/>
                <a:gd name="T113" fmla="*/ 62 h 177"/>
                <a:gd name="T114" fmla="*/ 261 w 269"/>
                <a:gd name="T115" fmla="*/ 68 h 177"/>
                <a:gd name="T116" fmla="*/ 265 w 269"/>
                <a:gd name="T117" fmla="*/ 74 h 177"/>
                <a:gd name="T118" fmla="*/ 267 w 269"/>
                <a:gd name="T119" fmla="*/ 8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69" h="177">
                  <a:moveTo>
                    <a:pt x="269" y="84"/>
                  </a:moveTo>
                  <a:cubicBezTo>
                    <a:pt x="268" y="84"/>
                    <a:pt x="266" y="85"/>
                    <a:pt x="265" y="85"/>
                  </a:cubicBezTo>
                  <a:cubicBezTo>
                    <a:pt x="265" y="85"/>
                    <a:pt x="265" y="85"/>
                    <a:pt x="265" y="85"/>
                  </a:cubicBezTo>
                  <a:cubicBezTo>
                    <a:pt x="265" y="85"/>
                    <a:pt x="265" y="85"/>
                    <a:pt x="264" y="85"/>
                  </a:cubicBezTo>
                  <a:cubicBezTo>
                    <a:pt x="264" y="85"/>
                    <a:pt x="264" y="86"/>
                    <a:pt x="264" y="86"/>
                  </a:cubicBezTo>
                  <a:cubicBezTo>
                    <a:pt x="263" y="86"/>
                    <a:pt x="262" y="86"/>
                    <a:pt x="261" y="87"/>
                  </a:cubicBezTo>
                  <a:cubicBezTo>
                    <a:pt x="261" y="87"/>
                    <a:pt x="261" y="87"/>
                    <a:pt x="261" y="87"/>
                  </a:cubicBezTo>
                  <a:cubicBezTo>
                    <a:pt x="261" y="87"/>
                    <a:pt x="261" y="87"/>
                    <a:pt x="261" y="87"/>
                  </a:cubicBezTo>
                  <a:cubicBezTo>
                    <a:pt x="261" y="87"/>
                    <a:pt x="261" y="87"/>
                    <a:pt x="261" y="87"/>
                  </a:cubicBezTo>
                  <a:cubicBezTo>
                    <a:pt x="260" y="87"/>
                    <a:pt x="260" y="87"/>
                    <a:pt x="259" y="87"/>
                  </a:cubicBezTo>
                  <a:cubicBezTo>
                    <a:pt x="259" y="88"/>
                    <a:pt x="259" y="88"/>
                    <a:pt x="259" y="88"/>
                  </a:cubicBezTo>
                  <a:cubicBezTo>
                    <a:pt x="259" y="88"/>
                    <a:pt x="259" y="88"/>
                    <a:pt x="259" y="88"/>
                  </a:cubicBezTo>
                  <a:cubicBezTo>
                    <a:pt x="259" y="88"/>
                    <a:pt x="259" y="88"/>
                    <a:pt x="259" y="88"/>
                  </a:cubicBezTo>
                  <a:cubicBezTo>
                    <a:pt x="259" y="88"/>
                    <a:pt x="258" y="88"/>
                    <a:pt x="258" y="88"/>
                  </a:cubicBezTo>
                  <a:cubicBezTo>
                    <a:pt x="258" y="88"/>
                    <a:pt x="258" y="88"/>
                    <a:pt x="258" y="88"/>
                  </a:cubicBezTo>
                  <a:cubicBezTo>
                    <a:pt x="257" y="89"/>
                    <a:pt x="257" y="89"/>
                    <a:pt x="256" y="89"/>
                  </a:cubicBezTo>
                  <a:cubicBezTo>
                    <a:pt x="256" y="89"/>
                    <a:pt x="256" y="89"/>
                    <a:pt x="256" y="90"/>
                  </a:cubicBezTo>
                  <a:cubicBezTo>
                    <a:pt x="256" y="90"/>
                    <a:pt x="255" y="90"/>
                    <a:pt x="255" y="90"/>
                  </a:cubicBezTo>
                  <a:cubicBezTo>
                    <a:pt x="255" y="90"/>
                    <a:pt x="255" y="90"/>
                    <a:pt x="255" y="90"/>
                  </a:cubicBezTo>
                  <a:cubicBezTo>
                    <a:pt x="255" y="90"/>
                    <a:pt x="254" y="90"/>
                    <a:pt x="254" y="90"/>
                  </a:cubicBezTo>
                  <a:cubicBezTo>
                    <a:pt x="254" y="90"/>
                    <a:pt x="254" y="90"/>
                    <a:pt x="254" y="90"/>
                  </a:cubicBezTo>
                  <a:cubicBezTo>
                    <a:pt x="254" y="90"/>
                    <a:pt x="253" y="91"/>
                    <a:pt x="252" y="91"/>
                  </a:cubicBezTo>
                  <a:cubicBezTo>
                    <a:pt x="252" y="91"/>
                    <a:pt x="252" y="91"/>
                    <a:pt x="252" y="91"/>
                  </a:cubicBezTo>
                  <a:cubicBezTo>
                    <a:pt x="252" y="91"/>
                    <a:pt x="251" y="91"/>
                    <a:pt x="251" y="91"/>
                  </a:cubicBezTo>
                  <a:cubicBezTo>
                    <a:pt x="251" y="91"/>
                    <a:pt x="251" y="91"/>
                    <a:pt x="251" y="92"/>
                  </a:cubicBezTo>
                  <a:cubicBezTo>
                    <a:pt x="251" y="92"/>
                    <a:pt x="251" y="92"/>
                    <a:pt x="250" y="92"/>
                  </a:cubicBezTo>
                  <a:cubicBezTo>
                    <a:pt x="250" y="92"/>
                    <a:pt x="250" y="92"/>
                    <a:pt x="250" y="92"/>
                  </a:cubicBezTo>
                  <a:cubicBezTo>
                    <a:pt x="250" y="92"/>
                    <a:pt x="249" y="92"/>
                    <a:pt x="248" y="93"/>
                  </a:cubicBezTo>
                  <a:cubicBezTo>
                    <a:pt x="248" y="93"/>
                    <a:pt x="248" y="93"/>
                    <a:pt x="248" y="93"/>
                  </a:cubicBezTo>
                  <a:cubicBezTo>
                    <a:pt x="248" y="93"/>
                    <a:pt x="248" y="93"/>
                    <a:pt x="247" y="93"/>
                  </a:cubicBezTo>
                  <a:cubicBezTo>
                    <a:pt x="247" y="93"/>
                    <a:pt x="247" y="93"/>
                    <a:pt x="247" y="93"/>
                  </a:cubicBezTo>
                  <a:cubicBezTo>
                    <a:pt x="247" y="93"/>
                    <a:pt x="247" y="93"/>
                    <a:pt x="247" y="93"/>
                  </a:cubicBezTo>
                  <a:cubicBezTo>
                    <a:pt x="247" y="93"/>
                    <a:pt x="247" y="94"/>
                    <a:pt x="247" y="94"/>
                  </a:cubicBezTo>
                  <a:cubicBezTo>
                    <a:pt x="246" y="94"/>
                    <a:pt x="246" y="94"/>
                    <a:pt x="245" y="94"/>
                  </a:cubicBezTo>
                  <a:cubicBezTo>
                    <a:pt x="245" y="94"/>
                    <a:pt x="245" y="94"/>
                    <a:pt x="245" y="94"/>
                  </a:cubicBezTo>
                  <a:cubicBezTo>
                    <a:pt x="245" y="94"/>
                    <a:pt x="244" y="94"/>
                    <a:pt x="244" y="94"/>
                  </a:cubicBezTo>
                  <a:cubicBezTo>
                    <a:pt x="244" y="95"/>
                    <a:pt x="244" y="95"/>
                    <a:pt x="244" y="95"/>
                  </a:cubicBezTo>
                  <a:cubicBezTo>
                    <a:pt x="240" y="95"/>
                    <a:pt x="236" y="96"/>
                    <a:pt x="232" y="97"/>
                  </a:cubicBezTo>
                  <a:cubicBezTo>
                    <a:pt x="230" y="98"/>
                    <a:pt x="227" y="98"/>
                    <a:pt x="225" y="99"/>
                  </a:cubicBezTo>
                  <a:cubicBezTo>
                    <a:pt x="224" y="99"/>
                    <a:pt x="224" y="99"/>
                    <a:pt x="223" y="99"/>
                  </a:cubicBezTo>
                  <a:cubicBezTo>
                    <a:pt x="223" y="99"/>
                    <a:pt x="223" y="99"/>
                    <a:pt x="223" y="99"/>
                  </a:cubicBezTo>
                  <a:cubicBezTo>
                    <a:pt x="223" y="99"/>
                    <a:pt x="222" y="99"/>
                    <a:pt x="221" y="99"/>
                  </a:cubicBezTo>
                  <a:cubicBezTo>
                    <a:pt x="221" y="99"/>
                    <a:pt x="221" y="99"/>
                    <a:pt x="221" y="99"/>
                  </a:cubicBezTo>
                  <a:cubicBezTo>
                    <a:pt x="221" y="99"/>
                    <a:pt x="220" y="99"/>
                    <a:pt x="220" y="99"/>
                  </a:cubicBezTo>
                  <a:cubicBezTo>
                    <a:pt x="220" y="99"/>
                    <a:pt x="220" y="100"/>
                    <a:pt x="220" y="100"/>
                  </a:cubicBezTo>
                  <a:cubicBezTo>
                    <a:pt x="219" y="100"/>
                    <a:pt x="218" y="100"/>
                    <a:pt x="218" y="100"/>
                  </a:cubicBezTo>
                  <a:cubicBezTo>
                    <a:pt x="218" y="100"/>
                    <a:pt x="218" y="100"/>
                    <a:pt x="218" y="100"/>
                  </a:cubicBezTo>
                  <a:cubicBezTo>
                    <a:pt x="217" y="100"/>
                    <a:pt x="217" y="100"/>
                    <a:pt x="216" y="100"/>
                  </a:cubicBezTo>
                  <a:cubicBezTo>
                    <a:pt x="209" y="102"/>
                    <a:pt x="201" y="103"/>
                    <a:pt x="193" y="105"/>
                  </a:cubicBezTo>
                  <a:cubicBezTo>
                    <a:pt x="192" y="105"/>
                    <a:pt x="191" y="105"/>
                    <a:pt x="190" y="105"/>
                  </a:cubicBezTo>
                  <a:cubicBezTo>
                    <a:pt x="187" y="106"/>
                    <a:pt x="183" y="107"/>
                    <a:pt x="180" y="108"/>
                  </a:cubicBezTo>
                  <a:cubicBezTo>
                    <a:pt x="178" y="108"/>
                    <a:pt x="177" y="108"/>
                    <a:pt x="176" y="108"/>
                  </a:cubicBezTo>
                  <a:cubicBezTo>
                    <a:pt x="175" y="109"/>
                    <a:pt x="175" y="109"/>
                    <a:pt x="175" y="109"/>
                  </a:cubicBezTo>
                  <a:cubicBezTo>
                    <a:pt x="175" y="109"/>
                    <a:pt x="175" y="109"/>
                    <a:pt x="175" y="109"/>
                  </a:cubicBezTo>
                  <a:cubicBezTo>
                    <a:pt x="174" y="109"/>
                    <a:pt x="174" y="110"/>
                    <a:pt x="174" y="110"/>
                  </a:cubicBezTo>
                  <a:cubicBezTo>
                    <a:pt x="174" y="110"/>
                    <a:pt x="174" y="110"/>
                    <a:pt x="173" y="110"/>
                  </a:cubicBezTo>
                  <a:cubicBezTo>
                    <a:pt x="173" y="110"/>
                    <a:pt x="173" y="110"/>
                    <a:pt x="173" y="110"/>
                  </a:cubicBezTo>
                  <a:cubicBezTo>
                    <a:pt x="173" y="111"/>
                    <a:pt x="172" y="111"/>
                    <a:pt x="172" y="111"/>
                  </a:cubicBezTo>
                  <a:cubicBezTo>
                    <a:pt x="172" y="111"/>
                    <a:pt x="171" y="111"/>
                    <a:pt x="171" y="112"/>
                  </a:cubicBezTo>
                  <a:cubicBezTo>
                    <a:pt x="171" y="112"/>
                    <a:pt x="171" y="112"/>
                    <a:pt x="171" y="112"/>
                  </a:cubicBezTo>
                  <a:cubicBezTo>
                    <a:pt x="171" y="112"/>
                    <a:pt x="170" y="112"/>
                    <a:pt x="170" y="112"/>
                  </a:cubicBezTo>
                  <a:cubicBezTo>
                    <a:pt x="170" y="112"/>
                    <a:pt x="170" y="112"/>
                    <a:pt x="170" y="112"/>
                  </a:cubicBezTo>
                  <a:cubicBezTo>
                    <a:pt x="169" y="112"/>
                    <a:pt x="169" y="113"/>
                    <a:pt x="169" y="113"/>
                  </a:cubicBezTo>
                  <a:cubicBezTo>
                    <a:pt x="169" y="113"/>
                    <a:pt x="169" y="113"/>
                    <a:pt x="169" y="113"/>
                  </a:cubicBezTo>
                  <a:cubicBezTo>
                    <a:pt x="168" y="113"/>
                    <a:pt x="168" y="113"/>
                    <a:pt x="168" y="114"/>
                  </a:cubicBezTo>
                  <a:cubicBezTo>
                    <a:pt x="168" y="114"/>
                    <a:pt x="168" y="114"/>
                    <a:pt x="168" y="114"/>
                  </a:cubicBezTo>
                  <a:cubicBezTo>
                    <a:pt x="167" y="114"/>
                    <a:pt x="167" y="114"/>
                    <a:pt x="167" y="114"/>
                  </a:cubicBezTo>
                  <a:cubicBezTo>
                    <a:pt x="167" y="114"/>
                    <a:pt x="167" y="114"/>
                    <a:pt x="166" y="114"/>
                  </a:cubicBezTo>
                  <a:cubicBezTo>
                    <a:pt x="166" y="115"/>
                    <a:pt x="166" y="115"/>
                    <a:pt x="166" y="115"/>
                  </a:cubicBezTo>
                  <a:cubicBezTo>
                    <a:pt x="166" y="115"/>
                    <a:pt x="166" y="115"/>
                    <a:pt x="165" y="115"/>
                  </a:cubicBezTo>
                  <a:cubicBezTo>
                    <a:pt x="165" y="115"/>
                    <a:pt x="165" y="116"/>
                    <a:pt x="165" y="116"/>
                  </a:cubicBezTo>
                  <a:cubicBezTo>
                    <a:pt x="165" y="116"/>
                    <a:pt x="165" y="116"/>
                    <a:pt x="164" y="116"/>
                  </a:cubicBezTo>
                  <a:cubicBezTo>
                    <a:pt x="164" y="116"/>
                    <a:pt x="164" y="116"/>
                    <a:pt x="164" y="116"/>
                  </a:cubicBezTo>
                  <a:cubicBezTo>
                    <a:pt x="164" y="116"/>
                    <a:pt x="164" y="116"/>
                    <a:pt x="163" y="116"/>
                  </a:cubicBezTo>
                  <a:cubicBezTo>
                    <a:pt x="163" y="117"/>
                    <a:pt x="163" y="117"/>
                    <a:pt x="163" y="117"/>
                  </a:cubicBezTo>
                  <a:cubicBezTo>
                    <a:pt x="163" y="117"/>
                    <a:pt x="163" y="117"/>
                    <a:pt x="162" y="117"/>
                  </a:cubicBezTo>
                  <a:cubicBezTo>
                    <a:pt x="162" y="117"/>
                    <a:pt x="162" y="118"/>
                    <a:pt x="162" y="118"/>
                  </a:cubicBezTo>
                  <a:cubicBezTo>
                    <a:pt x="162" y="118"/>
                    <a:pt x="161" y="118"/>
                    <a:pt x="161" y="118"/>
                  </a:cubicBezTo>
                  <a:cubicBezTo>
                    <a:pt x="161" y="118"/>
                    <a:pt x="161" y="118"/>
                    <a:pt x="161" y="119"/>
                  </a:cubicBezTo>
                  <a:cubicBezTo>
                    <a:pt x="161" y="119"/>
                    <a:pt x="160" y="119"/>
                    <a:pt x="160" y="119"/>
                  </a:cubicBezTo>
                  <a:cubicBezTo>
                    <a:pt x="160" y="119"/>
                    <a:pt x="160" y="119"/>
                    <a:pt x="160" y="119"/>
                  </a:cubicBezTo>
                  <a:cubicBezTo>
                    <a:pt x="160" y="119"/>
                    <a:pt x="159" y="119"/>
                    <a:pt x="159" y="119"/>
                  </a:cubicBezTo>
                  <a:cubicBezTo>
                    <a:pt x="159" y="119"/>
                    <a:pt x="159" y="120"/>
                    <a:pt x="159" y="120"/>
                  </a:cubicBezTo>
                  <a:cubicBezTo>
                    <a:pt x="158" y="120"/>
                    <a:pt x="158" y="120"/>
                    <a:pt x="157" y="120"/>
                  </a:cubicBezTo>
                  <a:cubicBezTo>
                    <a:pt x="157" y="121"/>
                    <a:pt x="157" y="121"/>
                    <a:pt x="157" y="121"/>
                  </a:cubicBezTo>
                  <a:cubicBezTo>
                    <a:pt x="157" y="121"/>
                    <a:pt x="157" y="121"/>
                    <a:pt x="156" y="121"/>
                  </a:cubicBezTo>
                  <a:cubicBezTo>
                    <a:pt x="156" y="121"/>
                    <a:pt x="156" y="121"/>
                    <a:pt x="156" y="122"/>
                  </a:cubicBezTo>
                  <a:cubicBezTo>
                    <a:pt x="156" y="122"/>
                    <a:pt x="156" y="122"/>
                    <a:pt x="155" y="122"/>
                  </a:cubicBezTo>
                  <a:cubicBezTo>
                    <a:pt x="155" y="122"/>
                    <a:pt x="155" y="122"/>
                    <a:pt x="155" y="122"/>
                  </a:cubicBezTo>
                  <a:cubicBezTo>
                    <a:pt x="155" y="122"/>
                    <a:pt x="154" y="122"/>
                    <a:pt x="154" y="122"/>
                  </a:cubicBezTo>
                  <a:cubicBezTo>
                    <a:pt x="154" y="123"/>
                    <a:pt x="154" y="123"/>
                    <a:pt x="154" y="123"/>
                  </a:cubicBezTo>
                  <a:cubicBezTo>
                    <a:pt x="154" y="123"/>
                    <a:pt x="153" y="123"/>
                    <a:pt x="153" y="123"/>
                  </a:cubicBezTo>
                  <a:cubicBezTo>
                    <a:pt x="153" y="123"/>
                    <a:pt x="153" y="124"/>
                    <a:pt x="153" y="124"/>
                  </a:cubicBezTo>
                  <a:cubicBezTo>
                    <a:pt x="153" y="124"/>
                    <a:pt x="152" y="124"/>
                    <a:pt x="152" y="124"/>
                  </a:cubicBezTo>
                  <a:cubicBezTo>
                    <a:pt x="152" y="124"/>
                    <a:pt x="152" y="124"/>
                    <a:pt x="152" y="124"/>
                  </a:cubicBezTo>
                  <a:cubicBezTo>
                    <a:pt x="152" y="124"/>
                    <a:pt x="151" y="124"/>
                    <a:pt x="151" y="124"/>
                  </a:cubicBezTo>
                  <a:cubicBezTo>
                    <a:pt x="151" y="125"/>
                    <a:pt x="151" y="125"/>
                    <a:pt x="151" y="125"/>
                  </a:cubicBezTo>
                  <a:cubicBezTo>
                    <a:pt x="150" y="125"/>
                    <a:pt x="150" y="125"/>
                    <a:pt x="150" y="125"/>
                  </a:cubicBezTo>
                  <a:cubicBezTo>
                    <a:pt x="150" y="125"/>
                    <a:pt x="150" y="126"/>
                    <a:pt x="150" y="126"/>
                  </a:cubicBezTo>
                  <a:cubicBezTo>
                    <a:pt x="149" y="126"/>
                    <a:pt x="149" y="126"/>
                    <a:pt x="149" y="126"/>
                  </a:cubicBezTo>
                  <a:cubicBezTo>
                    <a:pt x="149" y="126"/>
                    <a:pt x="149" y="126"/>
                    <a:pt x="149" y="127"/>
                  </a:cubicBezTo>
                  <a:cubicBezTo>
                    <a:pt x="148" y="127"/>
                    <a:pt x="148" y="127"/>
                    <a:pt x="148" y="127"/>
                  </a:cubicBezTo>
                  <a:cubicBezTo>
                    <a:pt x="148" y="127"/>
                    <a:pt x="148" y="127"/>
                    <a:pt x="148" y="127"/>
                  </a:cubicBezTo>
                  <a:cubicBezTo>
                    <a:pt x="147" y="127"/>
                    <a:pt x="147" y="127"/>
                    <a:pt x="147" y="127"/>
                  </a:cubicBezTo>
                  <a:cubicBezTo>
                    <a:pt x="147" y="128"/>
                    <a:pt x="147" y="128"/>
                    <a:pt x="147" y="128"/>
                  </a:cubicBezTo>
                  <a:cubicBezTo>
                    <a:pt x="146" y="128"/>
                    <a:pt x="146" y="128"/>
                    <a:pt x="146" y="128"/>
                  </a:cubicBezTo>
                  <a:cubicBezTo>
                    <a:pt x="146" y="128"/>
                    <a:pt x="146" y="128"/>
                    <a:pt x="145" y="129"/>
                  </a:cubicBezTo>
                  <a:cubicBezTo>
                    <a:pt x="145" y="129"/>
                    <a:pt x="145" y="129"/>
                    <a:pt x="145" y="129"/>
                  </a:cubicBezTo>
                  <a:cubicBezTo>
                    <a:pt x="145" y="129"/>
                    <a:pt x="145" y="129"/>
                    <a:pt x="144" y="129"/>
                  </a:cubicBezTo>
                  <a:cubicBezTo>
                    <a:pt x="144" y="129"/>
                    <a:pt x="143" y="130"/>
                    <a:pt x="143" y="130"/>
                  </a:cubicBezTo>
                  <a:cubicBezTo>
                    <a:pt x="143" y="130"/>
                    <a:pt x="143" y="130"/>
                    <a:pt x="143" y="130"/>
                  </a:cubicBezTo>
                  <a:cubicBezTo>
                    <a:pt x="142" y="130"/>
                    <a:pt x="142" y="130"/>
                    <a:pt x="142" y="130"/>
                  </a:cubicBezTo>
                  <a:cubicBezTo>
                    <a:pt x="142" y="131"/>
                    <a:pt x="142" y="131"/>
                    <a:pt x="142" y="131"/>
                  </a:cubicBezTo>
                  <a:cubicBezTo>
                    <a:pt x="141" y="131"/>
                    <a:pt x="141" y="131"/>
                    <a:pt x="141" y="131"/>
                  </a:cubicBezTo>
                  <a:cubicBezTo>
                    <a:pt x="141" y="131"/>
                    <a:pt x="141" y="132"/>
                    <a:pt x="141" y="132"/>
                  </a:cubicBezTo>
                  <a:cubicBezTo>
                    <a:pt x="140" y="132"/>
                    <a:pt x="140" y="132"/>
                    <a:pt x="140" y="132"/>
                  </a:cubicBezTo>
                  <a:cubicBezTo>
                    <a:pt x="140" y="132"/>
                    <a:pt x="140" y="132"/>
                    <a:pt x="140" y="133"/>
                  </a:cubicBezTo>
                  <a:cubicBezTo>
                    <a:pt x="139" y="133"/>
                    <a:pt x="139" y="133"/>
                    <a:pt x="139" y="133"/>
                  </a:cubicBezTo>
                  <a:cubicBezTo>
                    <a:pt x="139" y="133"/>
                    <a:pt x="139" y="133"/>
                    <a:pt x="138" y="133"/>
                  </a:cubicBezTo>
                  <a:cubicBezTo>
                    <a:pt x="138" y="133"/>
                    <a:pt x="138" y="133"/>
                    <a:pt x="138" y="133"/>
                  </a:cubicBezTo>
                  <a:cubicBezTo>
                    <a:pt x="138" y="133"/>
                    <a:pt x="138" y="134"/>
                    <a:pt x="137" y="134"/>
                  </a:cubicBezTo>
                  <a:cubicBezTo>
                    <a:pt x="137" y="134"/>
                    <a:pt x="137" y="134"/>
                    <a:pt x="137" y="134"/>
                  </a:cubicBezTo>
                  <a:cubicBezTo>
                    <a:pt x="137" y="134"/>
                    <a:pt x="136" y="134"/>
                    <a:pt x="136" y="135"/>
                  </a:cubicBezTo>
                  <a:cubicBezTo>
                    <a:pt x="136" y="135"/>
                    <a:pt x="136" y="135"/>
                    <a:pt x="136" y="135"/>
                  </a:cubicBezTo>
                  <a:cubicBezTo>
                    <a:pt x="136" y="135"/>
                    <a:pt x="135" y="135"/>
                    <a:pt x="135" y="135"/>
                  </a:cubicBezTo>
                  <a:cubicBezTo>
                    <a:pt x="135" y="135"/>
                    <a:pt x="135" y="135"/>
                    <a:pt x="135" y="135"/>
                  </a:cubicBezTo>
                  <a:cubicBezTo>
                    <a:pt x="135" y="136"/>
                    <a:pt x="134" y="136"/>
                    <a:pt x="134" y="136"/>
                  </a:cubicBezTo>
                  <a:cubicBezTo>
                    <a:pt x="134" y="136"/>
                    <a:pt x="134" y="136"/>
                    <a:pt x="134" y="136"/>
                  </a:cubicBezTo>
                  <a:cubicBezTo>
                    <a:pt x="134" y="136"/>
                    <a:pt x="134" y="136"/>
                    <a:pt x="134" y="136"/>
                  </a:cubicBezTo>
                  <a:cubicBezTo>
                    <a:pt x="133" y="136"/>
                    <a:pt x="133" y="137"/>
                    <a:pt x="133" y="137"/>
                  </a:cubicBezTo>
                  <a:cubicBezTo>
                    <a:pt x="132" y="137"/>
                    <a:pt x="132" y="137"/>
                    <a:pt x="132" y="137"/>
                  </a:cubicBezTo>
                  <a:cubicBezTo>
                    <a:pt x="132" y="137"/>
                    <a:pt x="132" y="137"/>
                    <a:pt x="131" y="137"/>
                  </a:cubicBezTo>
                  <a:cubicBezTo>
                    <a:pt x="131" y="138"/>
                    <a:pt x="131" y="138"/>
                    <a:pt x="131" y="138"/>
                  </a:cubicBezTo>
                  <a:cubicBezTo>
                    <a:pt x="130" y="139"/>
                    <a:pt x="128" y="140"/>
                    <a:pt x="127" y="141"/>
                  </a:cubicBezTo>
                  <a:cubicBezTo>
                    <a:pt x="126" y="141"/>
                    <a:pt x="126" y="141"/>
                    <a:pt x="126" y="141"/>
                  </a:cubicBezTo>
                  <a:cubicBezTo>
                    <a:pt x="126" y="141"/>
                    <a:pt x="126" y="141"/>
                    <a:pt x="126" y="141"/>
                  </a:cubicBezTo>
                  <a:cubicBezTo>
                    <a:pt x="125" y="142"/>
                    <a:pt x="125" y="142"/>
                    <a:pt x="125" y="142"/>
                  </a:cubicBezTo>
                  <a:cubicBezTo>
                    <a:pt x="125" y="142"/>
                    <a:pt x="125" y="142"/>
                    <a:pt x="124" y="142"/>
                  </a:cubicBezTo>
                  <a:cubicBezTo>
                    <a:pt x="124" y="142"/>
                    <a:pt x="124" y="142"/>
                    <a:pt x="124" y="143"/>
                  </a:cubicBezTo>
                  <a:cubicBezTo>
                    <a:pt x="124" y="143"/>
                    <a:pt x="123" y="143"/>
                    <a:pt x="123" y="143"/>
                  </a:cubicBezTo>
                  <a:cubicBezTo>
                    <a:pt x="123" y="143"/>
                    <a:pt x="123" y="143"/>
                    <a:pt x="123" y="143"/>
                  </a:cubicBezTo>
                  <a:cubicBezTo>
                    <a:pt x="123" y="143"/>
                    <a:pt x="122" y="143"/>
                    <a:pt x="122" y="143"/>
                  </a:cubicBezTo>
                  <a:cubicBezTo>
                    <a:pt x="122" y="143"/>
                    <a:pt x="122" y="144"/>
                    <a:pt x="122" y="144"/>
                  </a:cubicBezTo>
                  <a:cubicBezTo>
                    <a:pt x="122" y="144"/>
                    <a:pt x="122" y="144"/>
                    <a:pt x="121" y="144"/>
                  </a:cubicBezTo>
                  <a:cubicBezTo>
                    <a:pt x="121" y="144"/>
                    <a:pt x="121" y="144"/>
                    <a:pt x="121" y="144"/>
                  </a:cubicBezTo>
                  <a:cubicBezTo>
                    <a:pt x="121" y="144"/>
                    <a:pt x="121" y="144"/>
                    <a:pt x="120" y="144"/>
                  </a:cubicBezTo>
                  <a:cubicBezTo>
                    <a:pt x="120" y="145"/>
                    <a:pt x="120" y="145"/>
                    <a:pt x="120" y="145"/>
                  </a:cubicBezTo>
                  <a:cubicBezTo>
                    <a:pt x="120" y="145"/>
                    <a:pt x="120" y="145"/>
                    <a:pt x="120" y="145"/>
                  </a:cubicBezTo>
                  <a:cubicBezTo>
                    <a:pt x="120" y="145"/>
                    <a:pt x="120" y="145"/>
                    <a:pt x="120" y="145"/>
                  </a:cubicBezTo>
                  <a:cubicBezTo>
                    <a:pt x="119" y="145"/>
                    <a:pt x="119" y="145"/>
                    <a:pt x="119" y="145"/>
                  </a:cubicBezTo>
                  <a:cubicBezTo>
                    <a:pt x="119" y="145"/>
                    <a:pt x="119" y="145"/>
                    <a:pt x="119" y="145"/>
                  </a:cubicBezTo>
                  <a:cubicBezTo>
                    <a:pt x="119" y="145"/>
                    <a:pt x="118" y="145"/>
                    <a:pt x="118" y="145"/>
                  </a:cubicBezTo>
                  <a:cubicBezTo>
                    <a:pt x="118" y="146"/>
                    <a:pt x="118" y="146"/>
                    <a:pt x="118" y="146"/>
                  </a:cubicBezTo>
                  <a:cubicBezTo>
                    <a:pt x="118" y="146"/>
                    <a:pt x="117" y="146"/>
                    <a:pt x="117" y="146"/>
                  </a:cubicBezTo>
                  <a:cubicBezTo>
                    <a:pt x="110" y="151"/>
                    <a:pt x="102" y="154"/>
                    <a:pt x="94" y="159"/>
                  </a:cubicBezTo>
                  <a:cubicBezTo>
                    <a:pt x="94" y="159"/>
                    <a:pt x="93" y="159"/>
                    <a:pt x="93" y="159"/>
                  </a:cubicBezTo>
                  <a:cubicBezTo>
                    <a:pt x="93" y="159"/>
                    <a:pt x="93" y="159"/>
                    <a:pt x="93" y="159"/>
                  </a:cubicBezTo>
                  <a:cubicBezTo>
                    <a:pt x="92" y="160"/>
                    <a:pt x="92" y="160"/>
                    <a:pt x="91" y="160"/>
                  </a:cubicBezTo>
                  <a:cubicBezTo>
                    <a:pt x="91" y="160"/>
                    <a:pt x="91" y="161"/>
                    <a:pt x="91" y="161"/>
                  </a:cubicBezTo>
                  <a:cubicBezTo>
                    <a:pt x="90" y="161"/>
                    <a:pt x="90" y="161"/>
                    <a:pt x="90" y="161"/>
                  </a:cubicBezTo>
                  <a:cubicBezTo>
                    <a:pt x="90" y="161"/>
                    <a:pt x="90" y="161"/>
                    <a:pt x="90" y="161"/>
                  </a:cubicBezTo>
                  <a:cubicBezTo>
                    <a:pt x="90" y="161"/>
                    <a:pt x="89" y="161"/>
                    <a:pt x="89" y="161"/>
                  </a:cubicBezTo>
                  <a:cubicBezTo>
                    <a:pt x="89" y="161"/>
                    <a:pt x="89" y="161"/>
                    <a:pt x="89" y="162"/>
                  </a:cubicBezTo>
                  <a:cubicBezTo>
                    <a:pt x="89" y="162"/>
                    <a:pt x="89" y="162"/>
                    <a:pt x="88" y="162"/>
                  </a:cubicBezTo>
                  <a:cubicBezTo>
                    <a:pt x="88" y="162"/>
                    <a:pt x="88" y="162"/>
                    <a:pt x="88" y="162"/>
                  </a:cubicBezTo>
                  <a:cubicBezTo>
                    <a:pt x="88" y="162"/>
                    <a:pt x="88" y="162"/>
                    <a:pt x="88" y="162"/>
                  </a:cubicBezTo>
                  <a:cubicBezTo>
                    <a:pt x="88" y="162"/>
                    <a:pt x="88" y="162"/>
                    <a:pt x="88" y="162"/>
                  </a:cubicBezTo>
                  <a:cubicBezTo>
                    <a:pt x="88" y="162"/>
                    <a:pt x="87" y="162"/>
                    <a:pt x="87" y="162"/>
                  </a:cubicBezTo>
                  <a:cubicBezTo>
                    <a:pt x="87" y="162"/>
                    <a:pt x="87" y="162"/>
                    <a:pt x="87" y="163"/>
                  </a:cubicBezTo>
                  <a:cubicBezTo>
                    <a:pt x="87" y="163"/>
                    <a:pt x="87" y="163"/>
                    <a:pt x="86" y="163"/>
                  </a:cubicBezTo>
                  <a:cubicBezTo>
                    <a:pt x="86" y="163"/>
                    <a:pt x="86" y="163"/>
                    <a:pt x="86" y="163"/>
                  </a:cubicBezTo>
                  <a:cubicBezTo>
                    <a:pt x="86" y="163"/>
                    <a:pt x="86" y="163"/>
                    <a:pt x="85" y="163"/>
                  </a:cubicBezTo>
                  <a:cubicBezTo>
                    <a:pt x="85" y="163"/>
                    <a:pt x="85" y="164"/>
                    <a:pt x="85" y="164"/>
                  </a:cubicBezTo>
                  <a:cubicBezTo>
                    <a:pt x="85" y="164"/>
                    <a:pt x="85" y="164"/>
                    <a:pt x="85" y="164"/>
                  </a:cubicBezTo>
                  <a:cubicBezTo>
                    <a:pt x="85" y="164"/>
                    <a:pt x="85" y="164"/>
                    <a:pt x="85" y="164"/>
                  </a:cubicBezTo>
                  <a:cubicBezTo>
                    <a:pt x="84" y="164"/>
                    <a:pt x="84" y="164"/>
                    <a:pt x="84" y="164"/>
                  </a:cubicBezTo>
                  <a:cubicBezTo>
                    <a:pt x="84" y="164"/>
                    <a:pt x="84" y="164"/>
                    <a:pt x="84" y="164"/>
                  </a:cubicBezTo>
                  <a:cubicBezTo>
                    <a:pt x="84" y="164"/>
                    <a:pt x="83" y="164"/>
                    <a:pt x="83" y="164"/>
                  </a:cubicBezTo>
                  <a:cubicBezTo>
                    <a:pt x="83" y="164"/>
                    <a:pt x="83" y="165"/>
                    <a:pt x="83" y="165"/>
                  </a:cubicBezTo>
                  <a:cubicBezTo>
                    <a:pt x="83" y="165"/>
                    <a:pt x="82" y="165"/>
                    <a:pt x="82" y="165"/>
                  </a:cubicBezTo>
                  <a:cubicBezTo>
                    <a:pt x="82" y="165"/>
                    <a:pt x="82" y="166"/>
                    <a:pt x="81" y="166"/>
                  </a:cubicBezTo>
                  <a:cubicBezTo>
                    <a:pt x="81" y="166"/>
                    <a:pt x="81" y="166"/>
                    <a:pt x="81" y="166"/>
                  </a:cubicBezTo>
                  <a:cubicBezTo>
                    <a:pt x="81" y="166"/>
                    <a:pt x="81" y="166"/>
                    <a:pt x="81" y="166"/>
                  </a:cubicBezTo>
                  <a:cubicBezTo>
                    <a:pt x="81" y="166"/>
                    <a:pt x="80" y="166"/>
                    <a:pt x="80" y="166"/>
                  </a:cubicBezTo>
                  <a:cubicBezTo>
                    <a:pt x="80" y="166"/>
                    <a:pt x="80" y="166"/>
                    <a:pt x="80" y="166"/>
                  </a:cubicBezTo>
                  <a:cubicBezTo>
                    <a:pt x="80" y="166"/>
                    <a:pt x="80" y="166"/>
                    <a:pt x="79" y="166"/>
                  </a:cubicBezTo>
                  <a:cubicBezTo>
                    <a:pt x="79" y="167"/>
                    <a:pt x="79" y="167"/>
                    <a:pt x="79" y="167"/>
                  </a:cubicBezTo>
                  <a:cubicBezTo>
                    <a:pt x="79" y="167"/>
                    <a:pt x="79" y="167"/>
                    <a:pt x="79" y="167"/>
                  </a:cubicBezTo>
                  <a:cubicBezTo>
                    <a:pt x="79" y="167"/>
                    <a:pt x="79" y="167"/>
                    <a:pt x="79" y="167"/>
                  </a:cubicBezTo>
                  <a:cubicBezTo>
                    <a:pt x="78" y="167"/>
                    <a:pt x="78" y="167"/>
                    <a:pt x="77" y="168"/>
                  </a:cubicBezTo>
                  <a:cubicBezTo>
                    <a:pt x="77" y="168"/>
                    <a:pt x="77" y="168"/>
                    <a:pt x="77" y="168"/>
                  </a:cubicBezTo>
                  <a:cubicBezTo>
                    <a:pt x="77" y="168"/>
                    <a:pt x="76" y="168"/>
                    <a:pt x="76" y="168"/>
                  </a:cubicBezTo>
                  <a:cubicBezTo>
                    <a:pt x="76" y="168"/>
                    <a:pt x="76" y="168"/>
                    <a:pt x="76" y="169"/>
                  </a:cubicBezTo>
                  <a:cubicBezTo>
                    <a:pt x="76" y="169"/>
                    <a:pt x="76" y="169"/>
                    <a:pt x="76" y="169"/>
                  </a:cubicBezTo>
                  <a:cubicBezTo>
                    <a:pt x="76" y="169"/>
                    <a:pt x="76" y="169"/>
                    <a:pt x="76" y="169"/>
                  </a:cubicBezTo>
                  <a:cubicBezTo>
                    <a:pt x="75" y="169"/>
                    <a:pt x="75" y="169"/>
                    <a:pt x="75" y="169"/>
                  </a:cubicBezTo>
                  <a:cubicBezTo>
                    <a:pt x="75" y="169"/>
                    <a:pt x="75" y="169"/>
                    <a:pt x="75" y="169"/>
                  </a:cubicBezTo>
                  <a:cubicBezTo>
                    <a:pt x="75" y="169"/>
                    <a:pt x="74" y="169"/>
                    <a:pt x="74" y="169"/>
                  </a:cubicBezTo>
                  <a:cubicBezTo>
                    <a:pt x="74" y="169"/>
                    <a:pt x="74" y="169"/>
                    <a:pt x="74" y="170"/>
                  </a:cubicBezTo>
                  <a:cubicBezTo>
                    <a:pt x="74" y="170"/>
                    <a:pt x="74" y="170"/>
                    <a:pt x="73" y="170"/>
                  </a:cubicBezTo>
                  <a:cubicBezTo>
                    <a:pt x="73" y="170"/>
                    <a:pt x="73" y="170"/>
                    <a:pt x="73" y="170"/>
                  </a:cubicBezTo>
                  <a:cubicBezTo>
                    <a:pt x="73" y="170"/>
                    <a:pt x="73" y="170"/>
                    <a:pt x="72" y="170"/>
                  </a:cubicBezTo>
                  <a:cubicBezTo>
                    <a:pt x="72" y="170"/>
                    <a:pt x="72" y="171"/>
                    <a:pt x="72" y="171"/>
                  </a:cubicBezTo>
                  <a:cubicBezTo>
                    <a:pt x="72" y="171"/>
                    <a:pt x="72" y="171"/>
                    <a:pt x="72" y="171"/>
                  </a:cubicBezTo>
                  <a:cubicBezTo>
                    <a:pt x="72" y="171"/>
                    <a:pt x="72" y="171"/>
                    <a:pt x="72" y="171"/>
                  </a:cubicBezTo>
                  <a:cubicBezTo>
                    <a:pt x="71" y="171"/>
                    <a:pt x="71" y="171"/>
                    <a:pt x="71" y="171"/>
                  </a:cubicBezTo>
                  <a:cubicBezTo>
                    <a:pt x="71" y="171"/>
                    <a:pt x="71" y="171"/>
                    <a:pt x="71" y="171"/>
                  </a:cubicBezTo>
                  <a:cubicBezTo>
                    <a:pt x="71" y="171"/>
                    <a:pt x="71" y="171"/>
                    <a:pt x="70" y="171"/>
                  </a:cubicBezTo>
                  <a:cubicBezTo>
                    <a:pt x="70" y="171"/>
                    <a:pt x="70" y="172"/>
                    <a:pt x="70" y="172"/>
                  </a:cubicBezTo>
                  <a:cubicBezTo>
                    <a:pt x="70" y="172"/>
                    <a:pt x="69" y="172"/>
                    <a:pt x="69" y="172"/>
                  </a:cubicBezTo>
                  <a:cubicBezTo>
                    <a:pt x="69" y="172"/>
                    <a:pt x="69" y="173"/>
                    <a:pt x="69" y="173"/>
                  </a:cubicBezTo>
                  <a:cubicBezTo>
                    <a:pt x="68" y="173"/>
                    <a:pt x="68" y="173"/>
                    <a:pt x="68" y="173"/>
                  </a:cubicBezTo>
                  <a:cubicBezTo>
                    <a:pt x="68" y="173"/>
                    <a:pt x="68" y="173"/>
                    <a:pt x="68" y="173"/>
                  </a:cubicBezTo>
                  <a:cubicBezTo>
                    <a:pt x="68" y="173"/>
                    <a:pt x="67" y="173"/>
                    <a:pt x="67" y="173"/>
                  </a:cubicBezTo>
                  <a:cubicBezTo>
                    <a:pt x="67" y="173"/>
                    <a:pt x="67" y="173"/>
                    <a:pt x="67" y="173"/>
                  </a:cubicBezTo>
                  <a:cubicBezTo>
                    <a:pt x="67" y="173"/>
                    <a:pt x="67" y="173"/>
                    <a:pt x="66" y="173"/>
                  </a:cubicBezTo>
                  <a:cubicBezTo>
                    <a:pt x="66" y="174"/>
                    <a:pt x="66" y="174"/>
                    <a:pt x="66" y="174"/>
                  </a:cubicBezTo>
                  <a:cubicBezTo>
                    <a:pt x="66" y="174"/>
                    <a:pt x="66" y="174"/>
                    <a:pt x="66" y="174"/>
                  </a:cubicBezTo>
                  <a:cubicBezTo>
                    <a:pt x="66" y="174"/>
                    <a:pt x="66" y="174"/>
                    <a:pt x="66" y="174"/>
                  </a:cubicBezTo>
                  <a:cubicBezTo>
                    <a:pt x="65" y="174"/>
                    <a:pt x="65" y="174"/>
                    <a:pt x="64" y="174"/>
                  </a:cubicBezTo>
                  <a:cubicBezTo>
                    <a:pt x="64" y="175"/>
                    <a:pt x="64" y="175"/>
                    <a:pt x="64" y="175"/>
                  </a:cubicBezTo>
                  <a:cubicBezTo>
                    <a:pt x="64" y="175"/>
                    <a:pt x="63" y="175"/>
                    <a:pt x="63" y="176"/>
                  </a:cubicBezTo>
                  <a:cubicBezTo>
                    <a:pt x="63" y="176"/>
                    <a:pt x="63" y="176"/>
                    <a:pt x="63" y="176"/>
                  </a:cubicBezTo>
                  <a:cubicBezTo>
                    <a:pt x="62" y="176"/>
                    <a:pt x="61" y="176"/>
                    <a:pt x="60" y="177"/>
                  </a:cubicBezTo>
                  <a:cubicBezTo>
                    <a:pt x="60" y="177"/>
                    <a:pt x="60" y="177"/>
                    <a:pt x="60" y="177"/>
                  </a:cubicBezTo>
                  <a:cubicBezTo>
                    <a:pt x="41" y="176"/>
                    <a:pt x="22" y="176"/>
                    <a:pt x="3" y="175"/>
                  </a:cubicBezTo>
                  <a:cubicBezTo>
                    <a:pt x="2" y="173"/>
                    <a:pt x="1" y="171"/>
                    <a:pt x="1" y="170"/>
                  </a:cubicBezTo>
                  <a:cubicBezTo>
                    <a:pt x="1" y="169"/>
                    <a:pt x="0" y="168"/>
                    <a:pt x="0" y="166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65"/>
                    <a:pt x="0" y="163"/>
                    <a:pt x="0" y="162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161"/>
                    <a:pt x="0" y="160"/>
                    <a:pt x="0" y="159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0" y="159"/>
                    <a:pt x="0" y="159"/>
                    <a:pt x="0" y="158"/>
                  </a:cubicBezTo>
                  <a:cubicBezTo>
                    <a:pt x="0" y="158"/>
                    <a:pt x="1" y="158"/>
                    <a:pt x="1" y="158"/>
                  </a:cubicBezTo>
                  <a:cubicBezTo>
                    <a:pt x="1" y="158"/>
                    <a:pt x="1" y="158"/>
                    <a:pt x="1" y="157"/>
                  </a:cubicBezTo>
                  <a:cubicBezTo>
                    <a:pt x="1" y="157"/>
                    <a:pt x="1" y="157"/>
                    <a:pt x="1" y="157"/>
                  </a:cubicBezTo>
                  <a:cubicBezTo>
                    <a:pt x="1" y="157"/>
                    <a:pt x="1" y="157"/>
                    <a:pt x="1" y="157"/>
                  </a:cubicBezTo>
                  <a:cubicBezTo>
                    <a:pt x="1" y="157"/>
                    <a:pt x="1" y="157"/>
                    <a:pt x="1" y="157"/>
                  </a:cubicBezTo>
                  <a:cubicBezTo>
                    <a:pt x="1" y="156"/>
                    <a:pt x="1" y="156"/>
                    <a:pt x="1" y="156"/>
                  </a:cubicBezTo>
                  <a:cubicBezTo>
                    <a:pt x="2" y="156"/>
                    <a:pt x="2" y="156"/>
                    <a:pt x="2" y="156"/>
                  </a:cubicBezTo>
                  <a:cubicBezTo>
                    <a:pt x="2" y="155"/>
                    <a:pt x="2" y="155"/>
                    <a:pt x="2" y="155"/>
                  </a:cubicBezTo>
                  <a:cubicBezTo>
                    <a:pt x="2" y="155"/>
                    <a:pt x="2" y="155"/>
                    <a:pt x="2" y="155"/>
                  </a:cubicBezTo>
                  <a:cubicBezTo>
                    <a:pt x="2" y="155"/>
                    <a:pt x="2" y="154"/>
                    <a:pt x="2" y="154"/>
                  </a:cubicBezTo>
                  <a:cubicBezTo>
                    <a:pt x="2" y="154"/>
                    <a:pt x="3" y="154"/>
                    <a:pt x="3" y="154"/>
                  </a:cubicBezTo>
                  <a:cubicBezTo>
                    <a:pt x="3" y="153"/>
                    <a:pt x="3" y="152"/>
                    <a:pt x="3" y="152"/>
                  </a:cubicBezTo>
                  <a:cubicBezTo>
                    <a:pt x="4" y="152"/>
                    <a:pt x="4" y="152"/>
                    <a:pt x="4" y="151"/>
                  </a:cubicBezTo>
                  <a:cubicBezTo>
                    <a:pt x="4" y="151"/>
                    <a:pt x="4" y="151"/>
                    <a:pt x="4" y="151"/>
                  </a:cubicBezTo>
                  <a:cubicBezTo>
                    <a:pt x="4" y="151"/>
                    <a:pt x="5" y="150"/>
                    <a:pt x="5" y="150"/>
                  </a:cubicBezTo>
                  <a:cubicBezTo>
                    <a:pt x="5" y="150"/>
                    <a:pt x="5" y="150"/>
                    <a:pt x="5" y="150"/>
                  </a:cubicBezTo>
                  <a:cubicBezTo>
                    <a:pt x="5" y="150"/>
                    <a:pt x="5" y="149"/>
                    <a:pt x="6" y="149"/>
                  </a:cubicBezTo>
                  <a:cubicBezTo>
                    <a:pt x="6" y="149"/>
                    <a:pt x="6" y="149"/>
                    <a:pt x="6" y="149"/>
                  </a:cubicBezTo>
                  <a:cubicBezTo>
                    <a:pt x="6" y="149"/>
                    <a:pt x="6" y="148"/>
                    <a:pt x="6" y="148"/>
                  </a:cubicBezTo>
                  <a:cubicBezTo>
                    <a:pt x="6" y="148"/>
                    <a:pt x="6" y="148"/>
                    <a:pt x="6" y="148"/>
                  </a:cubicBezTo>
                  <a:cubicBezTo>
                    <a:pt x="7" y="147"/>
                    <a:pt x="7" y="147"/>
                    <a:pt x="7" y="147"/>
                  </a:cubicBezTo>
                  <a:cubicBezTo>
                    <a:pt x="7" y="147"/>
                    <a:pt x="7" y="146"/>
                    <a:pt x="7" y="146"/>
                  </a:cubicBezTo>
                  <a:cubicBezTo>
                    <a:pt x="8" y="146"/>
                    <a:pt x="8" y="146"/>
                    <a:pt x="8" y="145"/>
                  </a:cubicBezTo>
                  <a:cubicBezTo>
                    <a:pt x="8" y="145"/>
                    <a:pt x="8" y="145"/>
                    <a:pt x="8" y="145"/>
                  </a:cubicBezTo>
                  <a:cubicBezTo>
                    <a:pt x="9" y="145"/>
                    <a:pt x="9" y="144"/>
                    <a:pt x="9" y="144"/>
                  </a:cubicBezTo>
                  <a:cubicBezTo>
                    <a:pt x="9" y="144"/>
                    <a:pt x="9" y="144"/>
                    <a:pt x="9" y="143"/>
                  </a:cubicBezTo>
                  <a:cubicBezTo>
                    <a:pt x="10" y="143"/>
                    <a:pt x="10" y="143"/>
                    <a:pt x="10" y="143"/>
                  </a:cubicBezTo>
                  <a:cubicBezTo>
                    <a:pt x="10" y="142"/>
                    <a:pt x="10" y="142"/>
                    <a:pt x="10" y="142"/>
                  </a:cubicBezTo>
                  <a:cubicBezTo>
                    <a:pt x="11" y="142"/>
                    <a:pt x="11" y="142"/>
                    <a:pt x="11" y="142"/>
                  </a:cubicBezTo>
                  <a:cubicBezTo>
                    <a:pt x="11" y="142"/>
                    <a:pt x="11" y="141"/>
                    <a:pt x="11" y="141"/>
                  </a:cubicBezTo>
                  <a:cubicBezTo>
                    <a:pt x="11" y="141"/>
                    <a:pt x="12" y="141"/>
                    <a:pt x="12" y="141"/>
                  </a:cubicBezTo>
                  <a:cubicBezTo>
                    <a:pt x="12" y="141"/>
                    <a:pt x="12" y="140"/>
                    <a:pt x="12" y="140"/>
                  </a:cubicBezTo>
                  <a:cubicBezTo>
                    <a:pt x="12" y="140"/>
                    <a:pt x="13" y="140"/>
                    <a:pt x="13" y="139"/>
                  </a:cubicBezTo>
                  <a:cubicBezTo>
                    <a:pt x="13" y="139"/>
                    <a:pt x="13" y="139"/>
                    <a:pt x="13" y="138"/>
                  </a:cubicBezTo>
                  <a:cubicBezTo>
                    <a:pt x="14" y="138"/>
                    <a:pt x="14" y="138"/>
                    <a:pt x="15" y="137"/>
                  </a:cubicBezTo>
                  <a:cubicBezTo>
                    <a:pt x="15" y="137"/>
                    <a:pt x="15" y="137"/>
                    <a:pt x="15" y="137"/>
                  </a:cubicBezTo>
                  <a:cubicBezTo>
                    <a:pt x="15" y="136"/>
                    <a:pt x="16" y="136"/>
                    <a:pt x="16" y="135"/>
                  </a:cubicBezTo>
                  <a:cubicBezTo>
                    <a:pt x="17" y="135"/>
                    <a:pt x="17" y="135"/>
                    <a:pt x="17" y="135"/>
                  </a:cubicBezTo>
                  <a:cubicBezTo>
                    <a:pt x="17" y="135"/>
                    <a:pt x="17" y="135"/>
                    <a:pt x="17" y="135"/>
                  </a:cubicBezTo>
                  <a:cubicBezTo>
                    <a:pt x="18" y="134"/>
                    <a:pt x="18" y="134"/>
                    <a:pt x="18" y="134"/>
                  </a:cubicBezTo>
                  <a:cubicBezTo>
                    <a:pt x="18" y="134"/>
                    <a:pt x="19" y="134"/>
                    <a:pt x="19" y="134"/>
                  </a:cubicBezTo>
                  <a:cubicBezTo>
                    <a:pt x="19" y="133"/>
                    <a:pt x="19" y="133"/>
                    <a:pt x="19" y="133"/>
                  </a:cubicBezTo>
                  <a:cubicBezTo>
                    <a:pt x="19" y="133"/>
                    <a:pt x="20" y="133"/>
                    <a:pt x="20" y="133"/>
                  </a:cubicBezTo>
                  <a:cubicBezTo>
                    <a:pt x="20" y="133"/>
                    <a:pt x="20" y="132"/>
                    <a:pt x="21" y="132"/>
                  </a:cubicBezTo>
                  <a:cubicBezTo>
                    <a:pt x="21" y="132"/>
                    <a:pt x="21" y="132"/>
                    <a:pt x="21" y="132"/>
                  </a:cubicBezTo>
                  <a:cubicBezTo>
                    <a:pt x="21" y="132"/>
                    <a:pt x="22" y="131"/>
                    <a:pt x="22" y="131"/>
                  </a:cubicBezTo>
                  <a:cubicBezTo>
                    <a:pt x="22" y="131"/>
                    <a:pt x="23" y="131"/>
                    <a:pt x="23" y="131"/>
                  </a:cubicBezTo>
                  <a:cubicBezTo>
                    <a:pt x="23" y="131"/>
                    <a:pt x="23" y="130"/>
                    <a:pt x="23" y="130"/>
                  </a:cubicBezTo>
                  <a:cubicBezTo>
                    <a:pt x="24" y="130"/>
                    <a:pt x="24" y="130"/>
                    <a:pt x="24" y="130"/>
                  </a:cubicBezTo>
                  <a:cubicBezTo>
                    <a:pt x="24" y="130"/>
                    <a:pt x="24" y="129"/>
                    <a:pt x="24" y="129"/>
                  </a:cubicBezTo>
                  <a:cubicBezTo>
                    <a:pt x="25" y="129"/>
                    <a:pt x="25" y="129"/>
                    <a:pt x="25" y="129"/>
                  </a:cubicBezTo>
                  <a:cubicBezTo>
                    <a:pt x="25" y="129"/>
                    <a:pt x="25" y="129"/>
                    <a:pt x="25" y="129"/>
                  </a:cubicBezTo>
                  <a:cubicBezTo>
                    <a:pt x="25" y="129"/>
                    <a:pt x="26" y="129"/>
                    <a:pt x="26" y="129"/>
                  </a:cubicBezTo>
                  <a:cubicBezTo>
                    <a:pt x="26" y="129"/>
                    <a:pt x="26" y="129"/>
                    <a:pt x="26" y="128"/>
                  </a:cubicBezTo>
                  <a:cubicBezTo>
                    <a:pt x="27" y="128"/>
                    <a:pt x="27" y="128"/>
                    <a:pt x="28" y="128"/>
                  </a:cubicBezTo>
                  <a:cubicBezTo>
                    <a:pt x="28" y="128"/>
                    <a:pt x="28" y="128"/>
                    <a:pt x="28" y="128"/>
                  </a:cubicBezTo>
                  <a:cubicBezTo>
                    <a:pt x="28" y="128"/>
                    <a:pt x="28" y="127"/>
                    <a:pt x="29" y="127"/>
                  </a:cubicBezTo>
                  <a:cubicBezTo>
                    <a:pt x="29" y="127"/>
                    <a:pt x="29" y="127"/>
                    <a:pt x="29" y="127"/>
                  </a:cubicBezTo>
                  <a:cubicBezTo>
                    <a:pt x="29" y="127"/>
                    <a:pt x="29" y="127"/>
                    <a:pt x="30" y="127"/>
                  </a:cubicBezTo>
                  <a:cubicBezTo>
                    <a:pt x="30" y="126"/>
                    <a:pt x="30" y="126"/>
                    <a:pt x="30" y="126"/>
                  </a:cubicBezTo>
                  <a:cubicBezTo>
                    <a:pt x="30" y="126"/>
                    <a:pt x="30" y="126"/>
                    <a:pt x="30" y="126"/>
                  </a:cubicBezTo>
                  <a:cubicBezTo>
                    <a:pt x="31" y="126"/>
                    <a:pt x="31" y="126"/>
                    <a:pt x="31" y="126"/>
                  </a:cubicBezTo>
                  <a:cubicBezTo>
                    <a:pt x="31" y="125"/>
                    <a:pt x="32" y="125"/>
                    <a:pt x="32" y="125"/>
                  </a:cubicBezTo>
                  <a:cubicBezTo>
                    <a:pt x="32" y="125"/>
                    <a:pt x="32" y="125"/>
                    <a:pt x="33" y="124"/>
                  </a:cubicBezTo>
                  <a:cubicBezTo>
                    <a:pt x="33" y="124"/>
                    <a:pt x="33" y="124"/>
                    <a:pt x="34" y="124"/>
                  </a:cubicBezTo>
                  <a:cubicBezTo>
                    <a:pt x="34" y="124"/>
                    <a:pt x="34" y="124"/>
                    <a:pt x="34" y="123"/>
                  </a:cubicBezTo>
                  <a:cubicBezTo>
                    <a:pt x="34" y="123"/>
                    <a:pt x="35" y="123"/>
                    <a:pt x="35" y="123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3"/>
                    <a:pt x="35" y="123"/>
                    <a:pt x="36" y="123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6" y="123"/>
                    <a:pt x="36" y="123"/>
                    <a:pt x="37" y="122"/>
                  </a:cubicBezTo>
                  <a:cubicBezTo>
                    <a:pt x="37" y="122"/>
                    <a:pt x="37" y="122"/>
                    <a:pt x="37" y="122"/>
                  </a:cubicBezTo>
                  <a:cubicBezTo>
                    <a:pt x="38" y="122"/>
                    <a:pt x="38" y="121"/>
                    <a:pt x="38" y="121"/>
                  </a:cubicBezTo>
                  <a:cubicBezTo>
                    <a:pt x="39" y="121"/>
                    <a:pt x="39" y="121"/>
                    <a:pt x="39" y="121"/>
                  </a:cubicBezTo>
                  <a:cubicBezTo>
                    <a:pt x="39" y="121"/>
                    <a:pt x="39" y="121"/>
                    <a:pt x="40" y="121"/>
                  </a:cubicBezTo>
                  <a:cubicBezTo>
                    <a:pt x="40" y="120"/>
                    <a:pt x="40" y="120"/>
                    <a:pt x="40" y="120"/>
                  </a:cubicBezTo>
                  <a:cubicBezTo>
                    <a:pt x="40" y="120"/>
                    <a:pt x="40" y="120"/>
                    <a:pt x="41" y="120"/>
                  </a:cubicBezTo>
                  <a:cubicBezTo>
                    <a:pt x="41" y="120"/>
                    <a:pt x="41" y="119"/>
                    <a:pt x="41" y="119"/>
                  </a:cubicBezTo>
                  <a:cubicBezTo>
                    <a:pt x="41" y="119"/>
                    <a:pt x="42" y="119"/>
                    <a:pt x="42" y="119"/>
                  </a:cubicBezTo>
                  <a:cubicBezTo>
                    <a:pt x="43" y="119"/>
                    <a:pt x="43" y="118"/>
                    <a:pt x="43" y="118"/>
                  </a:cubicBezTo>
                  <a:cubicBezTo>
                    <a:pt x="43" y="118"/>
                    <a:pt x="43" y="118"/>
                    <a:pt x="44" y="118"/>
                  </a:cubicBezTo>
                  <a:cubicBezTo>
                    <a:pt x="44" y="118"/>
                    <a:pt x="44" y="118"/>
                    <a:pt x="44" y="117"/>
                  </a:cubicBezTo>
                  <a:cubicBezTo>
                    <a:pt x="44" y="117"/>
                    <a:pt x="44" y="117"/>
                    <a:pt x="45" y="117"/>
                  </a:cubicBezTo>
                  <a:cubicBezTo>
                    <a:pt x="45" y="117"/>
                    <a:pt x="45" y="117"/>
                    <a:pt x="45" y="116"/>
                  </a:cubicBezTo>
                  <a:cubicBezTo>
                    <a:pt x="45" y="116"/>
                    <a:pt x="46" y="116"/>
                    <a:pt x="46" y="116"/>
                  </a:cubicBezTo>
                  <a:cubicBezTo>
                    <a:pt x="46" y="116"/>
                    <a:pt x="46" y="116"/>
                    <a:pt x="46" y="115"/>
                  </a:cubicBezTo>
                  <a:cubicBezTo>
                    <a:pt x="47" y="115"/>
                    <a:pt x="47" y="115"/>
                    <a:pt x="47" y="115"/>
                  </a:cubicBezTo>
                  <a:cubicBezTo>
                    <a:pt x="48" y="115"/>
                    <a:pt x="48" y="114"/>
                    <a:pt x="49" y="114"/>
                  </a:cubicBezTo>
                  <a:cubicBezTo>
                    <a:pt x="49" y="114"/>
                    <a:pt x="49" y="114"/>
                    <a:pt x="49" y="114"/>
                  </a:cubicBezTo>
                  <a:cubicBezTo>
                    <a:pt x="49" y="114"/>
                    <a:pt x="49" y="113"/>
                    <a:pt x="49" y="113"/>
                  </a:cubicBezTo>
                  <a:cubicBezTo>
                    <a:pt x="50" y="113"/>
                    <a:pt x="50" y="113"/>
                    <a:pt x="50" y="113"/>
                  </a:cubicBezTo>
                  <a:cubicBezTo>
                    <a:pt x="54" y="108"/>
                    <a:pt x="53" y="99"/>
                    <a:pt x="53" y="91"/>
                  </a:cubicBezTo>
                  <a:cubicBezTo>
                    <a:pt x="53" y="88"/>
                    <a:pt x="53" y="84"/>
                    <a:pt x="53" y="82"/>
                  </a:cubicBezTo>
                  <a:cubicBezTo>
                    <a:pt x="54" y="80"/>
                    <a:pt x="54" y="78"/>
                    <a:pt x="54" y="77"/>
                  </a:cubicBezTo>
                  <a:cubicBezTo>
                    <a:pt x="54" y="77"/>
                    <a:pt x="54" y="77"/>
                    <a:pt x="54" y="77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4" y="76"/>
                    <a:pt x="54" y="76"/>
                    <a:pt x="55" y="76"/>
                  </a:cubicBezTo>
                  <a:cubicBezTo>
                    <a:pt x="55" y="76"/>
                    <a:pt x="55" y="75"/>
                    <a:pt x="55" y="75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5" y="75"/>
                    <a:pt x="55" y="74"/>
                    <a:pt x="55" y="74"/>
                  </a:cubicBezTo>
                  <a:cubicBezTo>
                    <a:pt x="55" y="74"/>
                    <a:pt x="55" y="74"/>
                    <a:pt x="56" y="74"/>
                  </a:cubicBezTo>
                  <a:cubicBezTo>
                    <a:pt x="56" y="74"/>
                    <a:pt x="56" y="73"/>
                    <a:pt x="57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8" y="72"/>
                    <a:pt x="58" y="72"/>
                    <a:pt x="59" y="71"/>
                  </a:cubicBezTo>
                  <a:cubicBezTo>
                    <a:pt x="59" y="71"/>
                    <a:pt x="59" y="71"/>
                    <a:pt x="59" y="71"/>
                  </a:cubicBezTo>
                  <a:cubicBezTo>
                    <a:pt x="60" y="71"/>
                    <a:pt x="60" y="70"/>
                    <a:pt x="60" y="70"/>
                  </a:cubicBezTo>
                  <a:cubicBezTo>
                    <a:pt x="60" y="70"/>
                    <a:pt x="61" y="70"/>
                    <a:pt x="61" y="70"/>
                  </a:cubicBezTo>
                  <a:cubicBezTo>
                    <a:pt x="61" y="69"/>
                    <a:pt x="62" y="69"/>
                    <a:pt x="62" y="69"/>
                  </a:cubicBezTo>
                  <a:cubicBezTo>
                    <a:pt x="62" y="69"/>
                    <a:pt x="62" y="69"/>
                    <a:pt x="63" y="69"/>
                  </a:cubicBezTo>
                  <a:cubicBezTo>
                    <a:pt x="63" y="68"/>
                    <a:pt x="63" y="68"/>
                    <a:pt x="64" y="67"/>
                  </a:cubicBezTo>
                  <a:cubicBezTo>
                    <a:pt x="64" y="67"/>
                    <a:pt x="64" y="67"/>
                    <a:pt x="64" y="67"/>
                  </a:cubicBezTo>
                  <a:cubicBezTo>
                    <a:pt x="66" y="66"/>
                    <a:pt x="67" y="64"/>
                    <a:pt x="68" y="63"/>
                  </a:cubicBezTo>
                  <a:cubicBezTo>
                    <a:pt x="68" y="63"/>
                    <a:pt x="68" y="62"/>
                    <a:pt x="68" y="62"/>
                  </a:cubicBezTo>
                  <a:cubicBezTo>
                    <a:pt x="68" y="62"/>
                    <a:pt x="69" y="62"/>
                    <a:pt x="69" y="62"/>
                  </a:cubicBezTo>
                  <a:cubicBezTo>
                    <a:pt x="69" y="62"/>
                    <a:pt x="69" y="61"/>
                    <a:pt x="69" y="61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69" y="61"/>
                    <a:pt x="69" y="60"/>
                    <a:pt x="69" y="60"/>
                  </a:cubicBezTo>
                  <a:cubicBezTo>
                    <a:pt x="69" y="60"/>
                    <a:pt x="69" y="60"/>
                    <a:pt x="70" y="60"/>
                  </a:cubicBezTo>
                  <a:cubicBezTo>
                    <a:pt x="70" y="59"/>
                    <a:pt x="70" y="56"/>
                    <a:pt x="69" y="55"/>
                  </a:cubicBezTo>
                  <a:cubicBezTo>
                    <a:pt x="69" y="55"/>
                    <a:pt x="69" y="55"/>
                    <a:pt x="69" y="55"/>
                  </a:cubicBezTo>
                  <a:cubicBezTo>
                    <a:pt x="69" y="55"/>
                    <a:pt x="69" y="54"/>
                    <a:pt x="69" y="54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7" y="53"/>
                    <a:pt x="67" y="52"/>
                    <a:pt x="66" y="52"/>
                  </a:cubicBezTo>
                  <a:cubicBezTo>
                    <a:pt x="66" y="52"/>
                    <a:pt x="66" y="52"/>
                    <a:pt x="65" y="52"/>
                  </a:cubicBezTo>
                  <a:cubicBezTo>
                    <a:pt x="65" y="51"/>
                    <a:pt x="65" y="51"/>
                    <a:pt x="65" y="51"/>
                  </a:cubicBezTo>
                  <a:cubicBezTo>
                    <a:pt x="64" y="51"/>
                    <a:pt x="64" y="51"/>
                    <a:pt x="64" y="51"/>
                  </a:cubicBezTo>
                  <a:cubicBezTo>
                    <a:pt x="64" y="50"/>
                    <a:pt x="64" y="50"/>
                    <a:pt x="63" y="50"/>
                  </a:cubicBezTo>
                  <a:cubicBezTo>
                    <a:pt x="63" y="50"/>
                    <a:pt x="63" y="50"/>
                    <a:pt x="63" y="50"/>
                  </a:cubicBezTo>
                  <a:cubicBezTo>
                    <a:pt x="62" y="49"/>
                    <a:pt x="62" y="49"/>
                    <a:pt x="62" y="49"/>
                  </a:cubicBezTo>
                  <a:cubicBezTo>
                    <a:pt x="62" y="49"/>
                    <a:pt x="62" y="49"/>
                    <a:pt x="62" y="49"/>
                  </a:cubicBezTo>
                  <a:cubicBezTo>
                    <a:pt x="61" y="49"/>
                    <a:pt x="61" y="48"/>
                    <a:pt x="61" y="48"/>
                  </a:cubicBezTo>
                  <a:cubicBezTo>
                    <a:pt x="61" y="48"/>
                    <a:pt x="60" y="48"/>
                    <a:pt x="60" y="48"/>
                  </a:cubicBezTo>
                  <a:cubicBezTo>
                    <a:pt x="60" y="48"/>
                    <a:pt x="60" y="47"/>
                    <a:pt x="59" y="47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59" y="47"/>
                    <a:pt x="59" y="47"/>
                    <a:pt x="58" y="46"/>
                  </a:cubicBezTo>
                  <a:cubicBezTo>
                    <a:pt x="58" y="46"/>
                    <a:pt x="57" y="46"/>
                    <a:pt x="57" y="46"/>
                  </a:cubicBezTo>
                  <a:cubicBezTo>
                    <a:pt x="57" y="46"/>
                    <a:pt x="57" y="46"/>
                    <a:pt x="57" y="45"/>
                  </a:cubicBezTo>
                  <a:cubicBezTo>
                    <a:pt x="56" y="45"/>
                    <a:pt x="56" y="45"/>
                    <a:pt x="55" y="45"/>
                  </a:cubicBezTo>
                  <a:cubicBezTo>
                    <a:pt x="55" y="45"/>
                    <a:pt x="55" y="45"/>
                    <a:pt x="55" y="44"/>
                  </a:cubicBezTo>
                  <a:cubicBezTo>
                    <a:pt x="54" y="44"/>
                    <a:pt x="54" y="44"/>
                    <a:pt x="53" y="44"/>
                  </a:cubicBezTo>
                  <a:cubicBezTo>
                    <a:pt x="53" y="44"/>
                    <a:pt x="53" y="44"/>
                    <a:pt x="53" y="43"/>
                  </a:cubicBezTo>
                  <a:cubicBezTo>
                    <a:pt x="53" y="43"/>
                    <a:pt x="53" y="43"/>
                    <a:pt x="52" y="43"/>
                  </a:cubicBezTo>
                  <a:cubicBezTo>
                    <a:pt x="52" y="43"/>
                    <a:pt x="52" y="43"/>
                    <a:pt x="52" y="43"/>
                  </a:cubicBezTo>
                  <a:cubicBezTo>
                    <a:pt x="52" y="43"/>
                    <a:pt x="52" y="43"/>
                    <a:pt x="51" y="43"/>
                  </a:cubicBezTo>
                  <a:cubicBezTo>
                    <a:pt x="51" y="43"/>
                    <a:pt x="51" y="42"/>
                    <a:pt x="51" y="42"/>
                  </a:cubicBezTo>
                  <a:cubicBezTo>
                    <a:pt x="51" y="42"/>
                    <a:pt x="51" y="42"/>
                    <a:pt x="50" y="42"/>
                  </a:cubicBezTo>
                  <a:cubicBezTo>
                    <a:pt x="50" y="42"/>
                    <a:pt x="50" y="41"/>
                    <a:pt x="50" y="41"/>
                  </a:cubicBezTo>
                  <a:cubicBezTo>
                    <a:pt x="50" y="41"/>
                    <a:pt x="50" y="41"/>
                    <a:pt x="49" y="41"/>
                  </a:cubicBezTo>
                  <a:cubicBezTo>
                    <a:pt x="49" y="41"/>
                    <a:pt x="49" y="41"/>
                    <a:pt x="49" y="40"/>
                  </a:cubicBezTo>
                  <a:cubicBezTo>
                    <a:pt x="48" y="40"/>
                    <a:pt x="48" y="40"/>
                    <a:pt x="48" y="40"/>
                  </a:cubicBezTo>
                  <a:cubicBezTo>
                    <a:pt x="47" y="39"/>
                    <a:pt x="46" y="38"/>
                    <a:pt x="45" y="37"/>
                  </a:cubicBezTo>
                  <a:cubicBezTo>
                    <a:pt x="45" y="37"/>
                    <a:pt x="44" y="36"/>
                    <a:pt x="43" y="36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3"/>
                  </a:cubicBezTo>
                  <a:cubicBezTo>
                    <a:pt x="43" y="33"/>
                    <a:pt x="42" y="33"/>
                    <a:pt x="42" y="33"/>
                  </a:cubicBezTo>
                  <a:cubicBezTo>
                    <a:pt x="42" y="33"/>
                    <a:pt x="42" y="33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1"/>
                    <a:pt x="42" y="31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41" y="28"/>
                    <a:pt x="41" y="26"/>
                    <a:pt x="41" y="23"/>
                  </a:cubicBezTo>
                  <a:cubicBezTo>
                    <a:pt x="41" y="23"/>
                    <a:pt x="41" y="23"/>
                    <a:pt x="42" y="23"/>
                  </a:cubicBezTo>
                  <a:cubicBezTo>
                    <a:pt x="42" y="22"/>
                    <a:pt x="42" y="20"/>
                    <a:pt x="42" y="19"/>
                  </a:cubicBezTo>
                  <a:cubicBezTo>
                    <a:pt x="42" y="19"/>
                    <a:pt x="42" y="19"/>
                    <a:pt x="42" y="19"/>
                  </a:cubicBezTo>
                  <a:cubicBezTo>
                    <a:pt x="42" y="18"/>
                    <a:pt x="42" y="17"/>
                    <a:pt x="42" y="16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2" y="15"/>
                    <a:pt x="42" y="15"/>
                    <a:pt x="42" y="14"/>
                  </a:cubicBezTo>
                  <a:cubicBezTo>
                    <a:pt x="42" y="14"/>
                    <a:pt x="43" y="14"/>
                    <a:pt x="43" y="14"/>
                  </a:cubicBezTo>
                  <a:cubicBezTo>
                    <a:pt x="43" y="13"/>
                    <a:pt x="43" y="13"/>
                    <a:pt x="43" y="12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43" y="12"/>
                    <a:pt x="43" y="11"/>
                    <a:pt x="43" y="1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10"/>
                    <a:pt x="43" y="9"/>
                    <a:pt x="43" y="9"/>
                  </a:cubicBezTo>
                  <a:cubicBezTo>
                    <a:pt x="43" y="9"/>
                    <a:pt x="44" y="9"/>
                    <a:pt x="44" y="9"/>
                  </a:cubicBezTo>
                  <a:cubicBezTo>
                    <a:pt x="44" y="8"/>
                    <a:pt x="44" y="7"/>
                    <a:pt x="44" y="6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6" y="7"/>
                    <a:pt x="48" y="7"/>
                    <a:pt x="49" y="8"/>
                  </a:cubicBezTo>
                  <a:cubicBezTo>
                    <a:pt x="50" y="8"/>
                    <a:pt x="50" y="9"/>
                    <a:pt x="51" y="9"/>
                  </a:cubicBezTo>
                  <a:cubicBezTo>
                    <a:pt x="51" y="9"/>
                    <a:pt x="51" y="9"/>
                    <a:pt x="51" y="9"/>
                  </a:cubicBezTo>
                  <a:cubicBezTo>
                    <a:pt x="52" y="10"/>
                    <a:pt x="52" y="10"/>
                    <a:pt x="52" y="10"/>
                  </a:cubicBezTo>
                  <a:cubicBezTo>
                    <a:pt x="52" y="10"/>
                    <a:pt x="53" y="10"/>
                    <a:pt x="53" y="10"/>
                  </a:cubicBezTo>
                  <a:cubicBezTo>
                    <a:pt x="53" y="11"/>
                    <a:pt x="53" y="11"/>
                    <a:pt x="53" y="11"/>
                  </a:cubicBezTo>
                  <a:cubicBezTo>
                    <a:pt x="53" y="11"/>
                    <a:pt x="54" y="11"/>
                    <a:pt x="54" y="11"/>
                  </a:cubicBezTo>
                  <a:cubicBezTo>
                    <a:pt x="54" y="11"/>
                    <a:pt x="54" y="12"/>
                    <a:pt x="54" y="12"/>
                  </a:cubicBezTo>
                  <a:cubicBezTo>
                    <a:pt x="55" y="12"/>
                    <a:pt x="56" y="12"/>
                    <a:pt x="57" y="13"/>
                  </a:cubicBezTo>
                  <a:cubicBezTo>
                    <a:pt x="57" y="13"/>
                    <a:pt x="57" y="13"/>
                    <a:pt x="57" y="13"/>
                  </a:cubicBezTo>
                  <a:cubicBezTo>
                    <a:pt x="61" y="13"/>
                    <a:pt x="65" y="13"/>
                    <a:pt x="69" y="13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12"/>
                    <a:pt x="70" y="12"/>
                    <a:pt x="71" y="12"/>
                  </a:cubicBezTo>
                  <a:cubicBezTo>
                    <a:pt x="74" y="12"/>
                    <a:pt x="77" y="12"/>
                    <a:pt x="80" y="12"/>
                  </a:cubicBezTo>
                  <a:cubicBezTo>
                    <a:pt x="81" y="12"/>
                    <a:pt x="82" y="12"/>
                    <a:pt x="84" y="12"/>
                  </a:cubicBezTo>
                  <a:cubicBezTo>
                    <a:pt x="84" y="11"/>
                    <a:pt x="84" y="11"/>
                    <a:pt x="84" y="11"/>
                  </a:cubicBezTo>
                  <a:cubicBezTo>
                    <a:pt x="85" y="11"/>
                    <a:pt x="87" y="11"/>
                    <a:pt x="89" y="11"/>
                  </a:cubicBezTo>
                  <a:cubicBezTo>
                    <a:pt x="94" y="11"/>
                    <a:pt x="99" y="12"/>
                    <a:pt x="104" y="12"/>
                  </a:cubicBezTo>
                  <a:cubicBezTo>
                    <a:pt x="106" y="12"/>
                    <a:pt x="108" y="12"/>
                    <a:pt x="111" y="12"/>
                  </a:cubicBezTo>
                  <a:cubicBezTo>
                    <a:pt x="113" y="10"/>
                    <a:pt x="115" y="9"/>
                    <a:pt x="117" y="8"/>
                  </a:cubicBezTo>
                  <a:cubicBezTo>
                    <a:pt x="117" y="8"/>
                    <a:pt x="118" y="7"/>
                    <a:pt x="118" y="7"/>
                  </a:cubicBezTo>
                  <a:cubicBezTo>
                    <a:pt x="118" y="7"/>
                    <a:pt x="118" y="7"/>
                    <a:pt x="119" y="7"/>
                  </a:cubicBezTo>
                  <a:cubicBezTo>
                    <a:pt x="119" y="7"/>
                    <a:pt x="119" y="7"/>
                    <a:pt x="119" y="6"/>
                  </a:cubicBezTo>
                  <a:cubicBezTo>
                    <a:pt x="119" y="6"/>
                    <a:pt x="119" y="6"/>
                    <a:pt x="120" y="6"/>
                  </a:cubicBezTo>
                  <a:cubicBezTo>
                    <a:pt x="120" y="6"/>
                    <a:pt x="120" y="6"/>
                    <a:pt x="120" y="6"/>
                  </a:cubicBezTo>
                  <a:cubicBezTo>
                    <a:pt x="120" y="6"/>
                    <a:pt x="120" y="6"/>
                    <a:pt x="121" y="6"/>
                  </a:cubicBezTo>
                  <a:cubicBezTo>
                    <a:pt x="121" y="5"/>
                    <a:pt x="121" y="5"/>
                    <a:pt x="121" y="5"/>
                  </a:cubicBezTo>
                  <a:cubicBezTo>
                    <a:pt x="121" y="5"/>
                    <a:pt x="121" y="5"/>
                    <a:pt x="121" y="5"/>
                  </a:cubicBezTo>
                  <a:cubicBezTo>
                    <a:pt x="121" y="5"/>
                    <a:pt x="121" y="5"/>
                    <a:pt x="121" y="5"/>
                  </a:cubicBezTo>
                  <a:cubicBezTo>
                    <a:pt x="122" y="5"/>
                    <a:pt x="122" y="5"/>
                    <a:pt x="122" y="5"/>
                  </a:cubicBezTo>
                  <a:cubicBezTo>
                    <a:pt x="122" y="5"/>
                    <a:pt x="122" y="5"/>
                    <a:pt x="122" y="5"/>
                  </a:cubicBezTo>
                  <a:cubicBezTo>
                    <a:pt x="122" y="5"/>
                    <a:pt x="123" y="5"/>
                    <a:pt x="123" y="5"/>
                  </a:cubicBezTo>
                  <a:cubicBezTo>
                    <a:pt x="123" y="4"/>
                    <a:pt x="123" y="4"/>
                    <a:pt x="123" y="4"/>
                  </a:cubicBezTo>
                  <a:cubicBezTo>
                    <a:pt x="123" y="4"/>
                    <a:pt x="123" y="4"/>
                    <a:pt x="123" y="4"/>
                  </a:cubicBezTo>
                  <a:cubicBezTo>
                    <a:pt x="123" y="4"/>
                    <a:pt x="123" y="4"/>
                    <a:pt x="123" y="4"/>
                  </a:cubicBezTo>
                  <a:cubicBezTo>
                    <a:pt x="124" y="4"/>
                    <a:pt x="125" y="4"/>
                    <a:pt x="126" y="3"/>
                  </a:cubicBezTo>
                  <a:cubicBezTo>
                    <a:pt x="126" y="3"/>
                    <a:pt x="126" y="3"/>
                    <a:pt x="126" y="3"/>
                  </a:cubicBezTo>
                  <a:cubicBezTo>
                    <a:pt x="126" y="3"/>
                    <a:pt x="127" y="3"/>
                    <a:pt x="127" y="3"/>
                  </a:cubicBezTo>
                  <a:cubicBezTo>
                    <a:pt x="127" y="3"/>
                    <a:pt x="127" y="3"/>
                    <a:pt x="127" y="3"/>
                  </a:cubicBezTo>
                  <a:cubicBezTo>
                    <a:pt x="128" y="3"/>
                    <a:pt x="128" y="3"/>
                    <a:pt x="129" y="3"/>
                  </a:cubicBezTo>
                  <a:cubicBezTo>
                    <a:pt x="129" y="3"/>
                    <a:pt x="129" y="3"/>
                    <a:pt x="129" y="2"/>
                  </a:cubicBezTo>
                  <a:cubicBezTo>
                    <a:pt x="129" y="2"/>
                    <a:pt x="130" y="2"/>
                    <a:pt x="130" y="2"/>
                  </a:cubicBezTo>
                  <a:cubicBezTo>
                    <a:pt x="130" y="2"/>
                    <a:pt x="130" y="2"/>
                    <a:pt x="130" y="2"/>
                  </a:cubicBezTo>
                  <a:cubicBezTo>
                    <a:pt x="131" y="2"/>
                    <a:pt x="132" y="2"/>
                    <a:pt x="133" y="2"/>
                  </a:cubicBezTo>
                  <a:cubicBezTo>
                    <a:pt x="133" y="2"/>
                    <a:pt x="133" y="2"/>
                    <a:pt x="133" y="2"/>
                  </a:cubicBezTo>
                  <a:cubicBezTo>
                    <a:pt x="134" y="2"/>
                    <a:pt x="135" y="2"/>
                    <a:pt x="136" y="2"/>
                  </a:cubicBezTo>
                  <a:cubicBezTo>
                    <a:pt x="136" y="2"/>
                    <a:pt x="136" y="1"/>
                    <a:pt x="136" y="1"/>
                  </a:cubicBezTo>
                  <a:cubicBezTo>
                    <a:pt x="137" y="1"/>
                    <a:pt x="138" y="1"/>
                    <a:pt x="139" y="1"/>
                  </a:cubicBezTo>
                  <a:cubicBezTo>
                    <a:pt x="139" y="1"/>
                    <a:pt x="139" y="1"/>
                    <a:pt x="139" y="1"/>
                  </a:cubicBezTo>
                  <a:cubicBezTo>
                    <a:pt x="140" y="1"/>
                    <a:pt x="141" y="1"/>
                    <a:pt x="142" y="1"/>
                  </a:cubicBezTo>
                  <a:cubicBezTo>
                    <a:pt x="142" y="1"/>
                    <a:pt x="142" y="1"/>
                    <a:pt x="142" y="1"/>
                  </a:cubicBezTo>
                  <a:cubicBezTo>
                    <a:pt x="143" y="1"/>
                    <a:pt x="144" y="0"/>
                    <a:pt x="145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6" y="0"/>
                    <a:pt x="147" y="0"/>
                    <a:pt x="147" y="0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48" y="0"/>
                    <a:pt x="148" y="0"/>
                    <a:pt x="148" y="0"/>
                  </a:cubicBezTo>
                  <a:cubicBezTo>
                    <a:pt x="148" y="0"/>
                    <a:pt x="148" y="0"/>
                    <a:pt x="148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49" y="0"/>
                    <a:pt x="149" y="1"/>
                    <a:pt x="149" y="1"/>
                  </a:cubicBezTo>
                  <a:cubicBezTo>
                    <a:pt x="149" y="1"/>
                    <a:pt x="150" y="1"/>
                    <a:pt x="150" y="1"/>
                  </a:cubicBezTo>
                  <a:cubicBezTo>
                    <a:pt x="150" y="1"/>
                    <a:pt x="150" y="1"/>
                    <a:pt x="150" y="1"/>
                  </a:cubicBezTo>
                  <a:cubicBezTo>
                    <a:pt x="150" y="1"/>
                    <a:pt x="151" y="1"/>
                    <a:pt x="151" y="1"/>
                  </a:cubicBezTo>
                  <a:cubicBezTo>
                    <a:pt x="151" y="1"/>
                    <a:pt x="151" y="1"/>
                    <a:pt x="151" y="1"/>
                  </a:cubicBezTo>
                  <a:cubicBezTo>
                    <a:pt x="152" y="1"/>
                    <a:pt x="152" y="1"/>
                    <a:pt x="152" y="1"/>
                  </a:cubicBezTo>
                  <a:cubicBezTo>
                    <a:pt x="152" y="1"/>
                    <a:pt x="152" y="2"/>
                    <a:pt x="152" y="2"/>
                  </a:cubicBezTo>
                  <a:cubicBezTo>
                    <a:pt x="153" y="2"/>
                    <a:pt x="153" y="2"/>
                    <a:pt x="154" y="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4" y="2"/>
                    <a:pt x="155" y="2"/>
                    <a:pt x="156" y="2"/>
                  </a:cubicBezTo>
                  <a:cubicBezTo>
                    <a:pt x="156" y="2"/>
                    <a:pt x="156" y="2"/>
                    <a:pt x="156" y="2"/>
                  </a:cubicBezTo>
                  <a:cubicBezTo>
                    <a:pt x="156" y="2"/>
                    <a:pt x="157" y="2"/>
                    <a:pt x="158" y="2"/>
                  </a:cubicBezTo>
                  <a:cubicBezTo>
                    <a:pt x="158" y="3"/>
                    <a:pt x="158" y="3"/>
                    <a:pt x="158" y="3"/>
                  </a:cubicBezTo>
                  <a:cubicBezTo>
                    <a:pt x="159" y="3"/>
                    <a:pt x="160" y="3"/>
                    <a:pt x="161" y="3"/>
                  </a:cubicBezTo>
                  <a:cubicBezTo>
                    <a:pt x="161" y="3"/>
                    <a:pt x="161" y="3"/>
                    <a:pt x="161" y="3"/>
                  </a:cubicBezTo>
                  <a:cubicBezTo>
                    <a:pt x="161" y="3"/>
                    <a:pt x="162" y="3"/>
                    <a:pt x="163" y="3"/>
                  </a:cubicBezTo>
                  <a:cubicBezTo>
                    <a:pt x="163" y="3"/>
                    <a:pt x="163" y="3"/>
                    <a:pt x="163" y="3"/>
                  </a:cubicBezTo>
                  <a:cubicBezTo>
                    <a:pt x="163" y="3"/>
                    <a:pt x="164" y="3"/>
                    <a:pt x="165" y="3"/>
                  </a:cubicBezTo>
                  <a:cubicBezTo>
                    <a:pt x="165" y="4"/>
                    <a:pt x="165" y="4"/>
                    <a:pt x="165" y="4"/>
                  </a:cubicBezTo>
                  <a:cubicBezTo>
                    <a:pt x="165" y="4"/>
                    <a:pt x="166" y="4"/>
                    <a:pt x="166" y="4"/>
                  </a:cubicBezTo>
                  <a:cubicBezTo>
                    <a:pt x="166" y="4"/>
                    <a:pt x="166" y="4"/>
                    <a:pt x="166" y="4"/>
                  </a:cubicBezTo>
                  <a:cubicBezTo>
                    <a:pt x="167" y="4"/>
                    <a:pt x="168" y="4"/>
                    <a:pt x="168" y="4"/>
                  </a:cubicBezTo>
                  <a:cubicBezTo>
                    <a:pt x="168" y="4"/>
                    <a:pt x="168" y="4"/>
                    <a:pt x="168" y="5"/>
                  </a:cubicBezTo>
                  <a:cubicBezTo>
                    <a:pt x="169" y="5"/>
                    <a:pt x="169" y="5"/>
                    <a:pt x="170" y="5"/>
                  </a:cubicBezTo>
                  <a:cubicBezTo>
                    <a:pt x="170" y="5"/>
                    <a:pt x="170" y="5"/>
                    <a:pt x="170" y="5"/>
                  </a:cubicBezTo>
                  <a:cubicBezTo>
                    <a:pt x="170" y="5"/>
                    <a:pt x="170" y="5"/>
                    <a:pt x="171" y="5"/>
                  </a:cubicBezTo>
                  <a:cubicBezTo>
                    <a:pt x="171" y="5"/>
                    <a:pt x="171" y="5"/>
                    <a:pt x="171" y="5"/>
                  </a:cubicBezTo>
                  <a:cubicBezTo>
                    <a:pt x="171" y="5"/>
                    <a:pt x="171" y="5"/>
                    <a:pt x="172" y="5"/>
                  </a:cubicBezTo>
                  <a:cubicBezTo>
                    <a:pt x="172" y="5"/>
                    <a:pt x="172" y="5"/>
                    <a:pt x="172" y="6"/>
                  </a:cubicBezTo>
                  <a:cubicBezTo>
                    <a:pt x="172" y="6"/>
                    <a:pt x="172" y="6"/>
                    <a:pt x="172" y="6"/>
                  </a:cubicBezTo>
                  <a:cubicBezTo>
                    <a:pt x="172" y="6"/>
                    <a:pt x="172" y="6"/>
                    <a:pt x="172" y="6"/>
                  </a:cubicBezTo>
                  <a:cubicBezTo>
                    <a:pt x="173" y="6"/>
                    <a:pt x="173" y="6"/>
                    <a:pt x="173" y="6"/>
                  </a:cubicBezTo>
                  <a:cubicBezTo>
                    <a:pt x="173" y="6"/>
                    <a:pt x="173" y="6"/>
                    <a:pt x="173" y="6"/>
                  </a:cubicBezTo>
                  <a:cubicBezTo>
                    <a:pt x="174" y="6"/>
                    <a:pt x="174" y="7"/>
                    <a:pt x="175" y="7"/>
                  </a:cubicBezTo>
                  <a:cubicBezTo>
                    <a:pt x="175" y="7"/>
                    <a:pt x="175" y="7"/>
                    <a:pt x="175" y="7"/>
                  </a:cubicBezTo>
                  <a:cubicBezTo>
                    <a:pt x="175" y="7"/>
                    <a:pt x="176" y="7"/>
                    <a:pt x="177" y="7"/>
                  </a:cubicBezTo>
                  <a:cubicBezTo>
                    <a:pt x="177" y="7"/>
                    <a:pt x="177" y="8"/>
                    <a:pt x="177" y="8"/>
                  </a:cubicBezTo>
                  <a:cubicBezTo>
                    <a:pt x="177" y="8"/>
                    <a:pt x="177" y="8"/>
                    <a:pt x="178" y="8"/>
                  </a:cubicBezTo>
                  <a:cubicBezTo>
                    <a:pt x="178" y="8"/>
                    <a:pt x="178" y="8"/>
                    <a:pt x="178" y="8"/>
                  </a:cubicBezTo>
                  <a:cubicBezTo>
                    <a:pt x="178" y="8"/>
                    <a:pt x="178" y="8"/>
                    <a:pt x="178" y="8"/>
                  </a:cubicBezTo>
                  <a:cubicBezTo>
                    <a:pt x="178" y="8"/>
                    <a:pt x="178" y="8"/>
                    <a:pt x="178" y="8"/>
                  </a:cubicBezTo>
                  <a:cubicBezTo>
                    <a:pt x="179" y="8"/>
                    <a:pt x="179" y="9"/>
                    <a:pt x="180" y="9"/>
                  </a:cubicBezTo>
                  <a:cubicBezTo>
                    <a:pt x="180" y="9"/>
                    <a:pt x="180" y="9"/>
                    <a:pt x="180" y="9"/>
                  </a:cubicBezTo>
                  <a:cubicBezTo>
                    <a:pt x="180" y="9"/>
                    <a:pt x="181" y="9"/>
                    <a:pt x="181" y="9"/>
                  </a:cubicBezTo>
                  <a:cubicBezTo>
                    <a:pt x="181" y="10"/>
                    <a:pt x="181" y="10"/>
                    <a:pt x="181" y="10"/>
                  </a:cubicBezTo>
                  <a:cubicBezTo>
                    <a:pt x="181" y="10"/>
                    <a:pt x="182" y="10"/>
                    <a:pt x="182" y="10"/>
                  </a:cubicBezTo>
                  <a:cubicBezTo>
                    <a:pt x="182" y="10"/>
                    <a:pt x="182" y="10"/>
                    <a:pt x="182" y="10"/>
                  </a:cubicBezTo>
                  <a:cubicBezTo>
                    <a:pt x="182" y="10"/>
                    <a:pt x="182" y="10"/>
                    <a:pt x="183" y="10"/>
                  </a:cubicBezTo>
                  <a:cubicBezTo>
                    <a:pt x="183" y="10"/>
                    <a:pt x="183" y="10"/>
                    <a:pt x="183" y="10"/>
                  </a:cubicBezTo>
                  <a:cubicBezTo>
                    <a:pt x="183" y="10"/>
                    <a:pt x="183" y="10"/>
                    <a:pt x="183" y="10"/>
                  </a:cubicBezTo>
                  <a:cubicBezTo>
                    <a:pt x="183" y="11"/>
                    <a:pt x="183" y="11"/>
                    <a:pt x="183" y="11"/>
                  </a:cubicBezTo>
                  <a:cubicBezTo>
                    <a:pt x="183" y="11"/>
                    <a:pt x="184" y="11"/>
                    <a:pt x="184" y="11"/>
                  </a:cubicBezTo>
                  <a:cubicBezTo>
                    <a:pt x="184" y="11"/>
                    <a:pt x="184" y="11"/>
                    <a:pt x="184" y="11"/>
                  </a:cubicBezTo>
                  <a:cubicBezTo>
                    <a:pt x="184" y="11"/>
                    <a:pt x="184" y="11"/>
                    <a:pt x="185" y="11"/>
                  </a:cubicBezTo>
                  <a:cubicBezTo>
                    <a:pt x="185" y="11"/>
                    <a:pt x="185" y="11"/>
                    <a:pt x="185" y="12"/>
                  </a:cubicBezTo>
                  <a:cubicBezTo>
                    <a:pt x="185" y="12"/>
                    <a:pt x="185" y="12"/>
                    <a:pt x="185" y="12"/>
                  </a:cubicBezTo>
                  <a:cubicBezTo>
                    <a:pt x="185" y="12"/>
                    <a:pt x="185" y="12"/>
                    <a:pt x="185" y="12"/>
                  </a:cubicBezTo>
                  <a:cubicBezTo>
                    <a:pt x="186" y="12"/>
                    <a:pt x="186" y="12"/>
                    <a:pt x="186" y="12"/>
                  </a:cubicBezTo>
                  <a:cubicBezTo>
                    <a:pt x="186" y="12"/>
                    <a:pt x="186" y="12"/>
                    <a:pt x="186" y="12"/>
                  </a:cubicBezTo>
                  <a:cubicBezTo>
                    <a:pt x="186" y="12"/>
                    <a:pt x="187" y="12"/>
                    <a:pt x="187" y="12"/>
                  </a:cubicBezTo>
                  <a:cubicBezTo>
                    <a:pt x="187" y="12"/>
                    <a:pt x="187" y="12"/>
                    <a:pt x="187" y="13"/>
                  </a:cubicBezTo>
                  <a:cubicBezTo>
                    <a:pt x="187" y="13"/>
                    <a:pt x="187" y="13"/>
                    <a:pt x="187" y="13"/>
                  </a:cubicBezTo>
                  <a:cubicBezTo>
                    <a:pt x="187" y="13"/>
                    <a:pt x="187" y="13"/>
                    <a:pt x="187" y="13"/>
                  </a:cubicBezTo>
                  <a:cubicBezTo>
                    <a:pt x="188" y="13"/>
                    <a:pt x="188" y="13"/>
                    <a:pt x="188" y="13"/>
                  </a:cubicBezTo>
                  <a:cubicBezTo>
                    <a:pt x="188" y="13"/>
                    <a:pt x="188" y="13"/>
                    <a:pt x="188" y="14"/>
                  </a:cubicBezTo>
                  <a:cubicBezTo>
                    <a:pt x="189" y="14"/>
                    <a:pt x="189" y="14"/>
                    <a:pt x="189" y="14"/>
                  </a:cubicBezTo>
                  <a:cubicBezTo>
                    <a:pt x="189" y="14"/>
                    <a:pt x="189" y="14"/>
                    <a:pt x="189" y="14"/>
                  </a:cubicBezTo>
                  <a:cubicBezTo>
                    <a:pt x="189" y="14"/>
                    <a:pt x="190" y="14"/>
                    <a:pt x="190" y="14"/>
                  </a:cubicBezTo>
                  <a:cubicBezTo>
                    <a:pt x="190" y="14"/>
                    <a:pt x="190" y="14"/>
                    <a:pt x="190" y="14"/>
                  </a:cubicBezTo>
                  <a:cubicBezTo>
                    <a:pt x="190" y="14"/>
                    <a:pt x="190" y="14"/>
                    <a:pt x="191" y="14"/>
                  </a:cubicBezTo>
                  <a:cubicBezTo>
                    <a:pt x="191" y="14"/>
                    <a:pt x="191" y="15"/>
                    <a:pt x="191" y="15"/>
                  </a:cubicBezTo>
                  <a:cubicBezTo>
                    <a:pt x="191" y="15"/>
                    <a:pt x="191" y="15"/>
                    <a:pt x="191" y="15"/>
                  </a:cubicBezTo>
                  <a:cubicBezTo>
                    <a:pt x="191" y="15"/>
                    <a:pt x="191" y="15"/>
                    <a:pt x="191" y="15"/>
                  </a:cubicBezTo>
                  <a:cubicBezTo>
                    <a:pt x="192" y="15"/>
                    <a:pt x="192" y="15"/>
                    <a:pt x="192" y="15"/>
                  </a:cubicBezTo>
                  <a:cubicBezTo>
                    <a:pt x="192" y="15"/>
                    <a:pt x="192" y="15"/>
                    <a:pt x="192" y="15"/>
                  </a:cubicBezTo>
                  <a:cubicBezTo>
                    <a:pt x="192" y="15"/>
                    <a:pt x="192" y="15"/>
                    <a:pt x="193" y="15"/>
                  </a:cubicBezTo>
                  <a:cubicBezTo>
                    <a:pt x="193" y="15"/>
                    <a:pt x="193" y="16"/>
                    <a:pt x="193" y="16"/>
                  </a:cubicBezTo>
                  <a:cubicBezTo>
                    <a:pt x="193" y="16"/>
                    <a:pt x="193" y="16"/>
                    <a:pt x="193" y="16"/>
                  </a:cubicBezTo>
                  <a:cubicBezTo>
                    <a:pt x="193" y="16"/>
                    <a:pt x="193" y="16"/>
                    <a:pt x="193" y="16"/>
                  </a:cubicBezTo>
                  <a:cubicBezTo>
                    <a:pt x="194" y="16"/>
                    <a:pt x="194" y="16"/>
                    <a:pt x="194" y="16"/>
                  </a:cubicBezTo>
                  <a:cubicBezTo>
                    <a:pt x="194" y="16"/>
                    <a:pt x="194" y="16"/>
                    <a:pt x="194" y="16"/>
                  </a:cubicBezTo>
                  <a:cubicBezTo>
                    <a:pt x="194" y="16"/>
                    <a:pt x="195" y="16"/>
                    <a:pt x="195" y="16"/>
                  </a:cubicBezTo>
                  <a:cubicBezTo>
                    <a:pt x="195" y="17"/>
                    <a:pt x="195" y="17"/>
                    <a:pt x="195" y="17"/>
                  </a:cubicBezTo>
                  <a:cubicBezTo>
                    <a:pt x="195" y="17"/>
                    <a:pt x="195" y="17"/>
                    <a:pt x="195" y="17"/>
                  </a:cubicBezTo>
                  <a:cubicBezTo>
                    <a:pt x="195" y="17"/>
                    <a:pt x="195" y="17"/>
                    <a:pt x="195" y="17"/>
                  </a:cubicBezTo>
                  <a:cubicBezTo>
                    <a:pt x="196" y="17"/>
                    <a:pt x="196" y="17"/>
                    <a:pt x="197" y="17"/>
                  </a:cubicBezTo>
                  <a:cubicBezTo>
                    <a:pt x="197" y="18"/>
                    <a:pt x="197" y="18"/>
                    <a:pt x="197" y="18"/>
                  </a:cubicBezTo>
                  <a:cubicBezTo>
                    <a:pt x="197" y="18"/>
                    <a:pt x="197" y="18"/>
                    <a:pt x="198" y="18"/>
                  </a:cubicBezTo>
                  <a:cubicBezTo>
                    <a:pt x="198" y="18"/>
                    <a:pt x="198" y="18"/>
                    <a:pt x="198" y="18"/>
                  </a:cubicBezTo>
                  <a:cubicBezTo>
                    <a:pt x="198" y="18"/>
                    <a:pt x="198" y="18"/>
                    <a:pt x="199" y="18"/>
                  </a:cubicBezTo>
                  <a:cubicBezTo>
                    <a:pt x="199" y="18"/>
                    <a:pt x="199" y="18"/>
                    <a:pt x="199" y="19"/>
                  </a:cubicBezTo>
                  <a:cubicBezTo>
                    <a:pt x="199" y="19"/>
                    <a:pt x="199" y="19"/>
                    <a:pt x="199" y="19"/>
                  </a:cubicBezTo>
                  <a:cubicBezTo>
                    <a:pt x="199" y="19"/>
                    <a:pt x="199" y="19"/>
                    <a:pt x="199" y="19"/>
                  </a:cubicBezTo>
                  <a:cubicBezTo>
                    <a:pt x="200" y="19"/>
                    <a:pt x="200" y="19"/>
                    <a:pt x="201" y="19"/>
                  </a:cubicBezTo>
                  <a:cubicBezTo>
                    <a:pt x="201" y="19"/>
                    <a:pt x="201" y="19"/>
                    <a:pt x="201" y="20"/>
                  </a:cubicBezTo>
                  <a:cubicBezTo>
                    <a:pt x="201" y="20"/>
                    <a:pt x="202" y="20"/>
                    <a:pt x="202" y="20"/>
                  </a:cubicBezTo>
                  <a:cubicBezTo>
                    <a:pt x="202" y="20"/>
                    <a:pt x="202" y="20"/>
                    <a:pt x="202" y="20"/>
                  </a:cubicBezTo>
                  <a:cubicBezTo>
                    <a:pt x="203" y="20"/>
                    <a:pt x="204" y="20"/>
                    <a:pt x="204" y="20"/>
                  </a:cubicBezTo>
                  <a:cubicBezTo>
                    <a:pt x="204" y="20"/>
                    <a:pt x="204" y="20"/>
                    <a:pt x="204" y="20"/>
                  </a:cubicBezTo>
                  <a:cubicBezTo>
                    <a:pt x="205" y="20"/>
                    <a:pt x="205" y="20"/>
                    <a:pt x="206" y="20"/>
                  </a:cubicBezTo>
                  <a:cubicBezTo>
                    <a:pt x="206" y="20"/>
                    <a:pt x="206" y="20"/>
                    <a:pt x="206" y="21"/>
                  </a:cubicBezTo>
                  <a:cubicBezTo>
                    <a:pt x="208" y="21"/>
                    <a:pt x="210" y="21"/>
                    <a:pt x="212" y="21"/>
                  </a:cubicBezTo>
                  <a:cubicBezTo>
                    <a:pt x="212" y="21"/>
                    <a:pt x="212" y="22"/>
                    <a:pt x="212" y="22"/>
                  </a:cubicBezTo>
                  <a:cubicBezTo>
                    <a:pt x="212" y="22"/>
                    <a:pt x="213" y="22"/>
                    <a:pt x="214" y="22"/>
                  </a:cubicBezTo>
                  <a:cubicBezTo>
                    <a:pt x="214" y="22"/>
                    <a:pt x="214" y="23"/>
                    <a:pt x="214" y="23"/>
                  </a:cubicBezTo>
                  <a:cubicBezTo>
                    <a:pt x="214" y="23"/>
                    <a:pt x="214" y="23"/>
                    <a:pt x="215" y="23"/>
                  </a:cubicBezTo>
                  <a:cubicBezTo>
                    <a:pt x="215" y="23"/>
                    <a:pt x="215" y="23"/>
                    <a:pt x="215" y="23"/>
                  </a:cubicBezTo>
                  <a:cubicBezTo>
                    <a:pt x="215" y="23"/>
                    <a:pt x="215" y="23"/>
                    <a:pt x="216" y="23"/>
                  </a:cubicBezTo>
                  <a:cubicBezTo>
                    <a:pt x="216" y="23"/>
                    <a:pt x="216" y="23"/>
                    <a:pt x="216" y="23"/>
                  </a:cubicBezTo>
                  <a:cubicBezTo>
                    <a:pt x="216" y="23"/>
                    <a:pt x="216" y="23"/>
                    <a:pt x="217" y="23"/>
                  </a:cubicBezTo>
                  <a:cubicBezTo>
                    <a:pt x="217" y="24"/>
                    <a:pt x="217" y="24"/>
                    <a:pt x="217" y="24"/>
                  </a:cubicBezTo>
                  <a:cubicBezTo>
                    <a:pt x="217" y="24"/>
                    <a:pt x="218" y="24"/>
                    <a:pt x="218" y="24"/>
                  </a:cubicBezTo>
                  <a:cubicBezTo>
                    <a:pt x="218" y="24"/>
                    <a:pt x="218" y="24"/>
                    <a:pt x="218" y="24"/>
                  </a:cubicBezTo>
                  <a:cubicBezTo>
                    <a:pt x="219" y="24"/>
                    <a:pt x="220" y="24"/>
                    <a:pt x="220" y="24"/>
                  </a:cubicBezTo>
                  <a:cubicBezTo>
                    <a:pt x="220" y="25"/>
                    <a:pt x="220" y="25"/>
                    <a:pt x="220" y="25"/>
                  </a:cubicBezTo>
                  <a:cubicBezTo>
                    <a:pt x="221" y="25"/>
                    <a:pt x="221" y="25"/>
                    <a:pt x="221" y="25"/>
                  </a:cubicBezTo>
                  <a:cubicBezTo>
                    <a:pt x="221" y="25"/>
                    <a:pt x="221" y="25"/>
                    <a:pt x="221" y="25"/>
                  </a:cubicBezTo>
                  <a:cubicBezTo>
                    <a:pt x="222" y="25"/>
                    <a:pt x="222" y="26"/>
                    <a:pt x="223" y="26"/>
                  </a:cubicBezTo>
                  <a:cubicBezTo>
                    <a:pt x="223" y="26"/>
                    <a:pt x="223" y="26"/>
                    <a:pt x="223" y="27"/>
                  </a:cubicBezTo>
                  <a:cubicBezTo>
                    <a:pt x="224" y="27"/>
                    <a:pt x="224" y="27"/>
                    <a:pt x="224" y="27"/>
                  </a:cubicBezTo>
                  <a:cubicBezTo>
                    <a:pt x="224" y="27"/>
                    <a:pt x="225" y="27"/>
                    <a:pt x="225" y="28"/>
                  </a:cubicBezTo>
                  <a:cubicBezTo>
                    <a:pt x="225" y="28"/>
                    <a:pt x="225" y="28"/>
                    <a:pt x="226" y="28"/>
                  </a:cubicBezTo>
                  <a:cubicBezTo>
                    <a:pt x="226" y="28"/>
                    <a:pt x="227" y="29"/>
                    <a:pt x="227" y="30"/>
                  </a:cubicBezTo>
                  <a:cubicBezTo>
                    <a:pt x="228" y="30"/>
                    <a:pt x="228" y="30"/>
                    <a:pt x="228" y="30"/>
                  </a:cubicBezTo>
                  <a:cubicBezTo>
                    <a:pt x="230" y="32"/>
                    <a:pt x="232" y="33"/>
                    <a:pt x="233" y="35"/>
                  </a:cubicBezTo>
                  <a:cubicBezTo>
                    <a:pt x="234" y="36"/>
                    <a:pt x="234" y="36"/>
                    <a:pt x="235" y="37"/>
                  </a:cubicBezTo>
                  <a:cubicBezTo>
                    <a:pt x="235" y="37"/>
                    <a:pt x="235" y="37"/>
                    <a:pt x="235" y="37"/>
                  </a:cubicBezTo>
                  <a:cubicBezTo>
                    <a:pt x="236" y="37"/>
                    <a:pt x="236" y="37"/>
                    <a:pt x="236" y="37"/>
                  </a:cubicBezTo>
                  <a:cubicBezTo>
                    <a:pt x="237" y="38"/>
                    <a:pt x="237" y="39"/>
                    <a:pt x="238" y="40"/>
                  </a:cubicBezTo>
                  <a:cubicBezTo>
                    <a:pt x="238" y="40"/>
                    <a:pt x="238" y="40"/>
                    <a:pt x="239" y="40"/>
                  </a:cubicBezTo>
                  <a:cubicBezTo>
                    <a:pt x="239" y="40"/>
                    <a:pt x="239" y="40"/>
                    <a:pt x="239" y="41"/>
                  </a:cubicBezTo>
                  <a:cubicBezTo>
                    <a:pt x="240" y="41"/>
                    <a:pt x="240" y="41"/>
                    <a:pt x="240" y="41"/>
                  </a:cubicBezTo>
                  <a:cubicBezTo>
                    <a:pt x="240" y="41"/>
                    <a:pt x="240" y="42"/>
                    <a:pt x="241" y="42"/>
                  </a:cubicBezTo>
                  <a:cubicBezTo>
                    <a:pt x="241" y="42"/>
                    <a:pt x="241" y="43"/>
                    <a:pt x="241" y="43"/>
                  </a:cubicBezTo>
                  <a:cubicBezTo>
                    <a:pt x="241" y="43"/>
                    <a:pt x="241" y="43"/>
                    <a:pt x="241" y="43"/>
                  </a:cubicBezTo>
                  <a:cubicBezTo>
                    <a:pt x="242" y="43"/>
                    <a:pt x="242" y="43"/>
                    <a:pt x="242" y="43"/>
                  </a:cubicBezTo>
                  <a:cubicBezTo>
                    <a:pt x="242" y="44"/>
                    <a:pt x="242" y="44"/>
                    <a:pt x="242" y="44"/>
                  </a:cubicBezTo>
                  <a:cubicBezTo>
                    <a:pt x="243" y="45"/>
                    <a:pt x="243" y="45"/>
                    <a:pt x="244" y="45"/>
                  </a:cubicBezTo>
                  <a:cubicBezTo>
                    <a:pt x="244" y="46"/>
                    <a:pt x="244" y="46"/>
                    <a:pt x="244" y="46"/>
                  </a:cubicBezTo>
                  <a:cubicBezTo>
                    <a:pt x="244" y="46"/>
                    <a:pt x="245" y="47"/>
                    <a:pt x="245" y="47"/>
                  </a:cubicBezTo>
                  <a:cubicBezTo>
                    <a:pt x="245" y="47"/>
                    <a:pt x="245" y="48"/>
                    <a:pt x="245" y="48"/>
                  </a:cubicBezTo>
                  <a:cubicBezTo>
                    <a:pt x="246" y="48"/>
                    <a:pt x="246" y="49"/>
                    <a:pt x="247" y="49"/>
                  </a:cubicBezTo>
                  <a:cubicBezTo>
                    <a:pt x="247" y="49"/>
                    <a:pt x="247" y="49"/>
                    <a:pt x="247" y="50"/>
                  </a:cubicBezTo>
                  <a:cubicBezTo>
                    <a:pt x="247" y="50"/>
                    <a:pt x="247" y="50"/>
                    <a:pt x="248" y="51"/>
                  </a:cubicBezTo>
                  <a:cubicBezTo>
                    <a:pt x="248" y="51"/>
                    <a:pt x="248" y="51"/>
                    <a:pt x="248" y="51"/>
                  </a:cubicBezTo>
                  <a:cubicBezTo>
                    <a:pt x="249" y="52"/>
                    <a:pt x="249" y="52"/>
                    <a:pt x="250" y="53"/>
                  </a:cubicBezTo>
                  <a:cubicBezTo>
                    <a:pt x="250" y="53"/>
                    <a:pt x="250" y="53"/>
                    <a:pt x="250" y="53"/>
                  </a:cubicBezTo>
                  <a:cubicBezTo>
                    <a:pt x="250" y="54"/>
                    <a:pt x="251" y="54"/>
                    <a:pt x="251" y="55"/>
                  </a:cubicBezTo>
                  <a:cubicBezTo>
                    <a:pt x="251" y="55"/>
                    <a:pt x="251" y="55"/>
                    <a:pt x="251" y="55"/>
                  </a:cubicBezTo>
                  <a:cubicBezTo>
                    <a:pt x="252" y="56"/>
                    <a:pt x="252" y="56"/>
                    <a:pt x="253" y="57"/>
                  </a:cubicBezTo>
                  <a:cubicBezTo>
                    <a:pt x="253" y="57"/>
                    <a:pt x="253" y="57"/>
                    <a:pt x="253" y="57"/>
                  </a:cubicBezTo>
                  <a:cubicBezTo>
                    <a:pt x="253" y="58"/>
                    <a:pt x="254" y="58"/>
                    <a:pt x="254" y="58"/>
                  </a:cubicBezTo>
                  <a:cubicBezTo>
                    <a:pt x="254" y="59"/>
                    <a:pt x="254" y="59"/>
                    <a:pt x="254" y="59"/>
                  </a:cubicBezTo>
                  <a:cubicBezTo>
                    <a:pt x="255" y="59"/>
                    <a:pt x="255" y="60"/>
                    <a:pt x="256" y="60"/>
                  </a:cubicBezTo>
                  <a:cubicBezTo>
                    <a:pt x="256" y="60"/>
                    <a:pt x="256" y="61"/>
                    <a:pt x="256" y="61"/>
                  </a:cubicBezTo>
                  <a:cubicBezTo>
                    <a:pt x="256" y="61"/>
                    <a:pt x="256" y="61"/>
                    <a:pt x="257" y="62"/>
                  </a:cubicBezTo>
                  <a:cubicBezTo>
                    <a:pt x="257" y="62"/>
                    <a:pt x="257" y="62"/>
                    <a:pt x="257" y="62"/>
                  </a:cubicBezTo>
                  <a:cubicBezTo>
                    <a:pt x="257" y="62"/>
                    <a:pt x="257" y="63"/>
                    <a:pt x="258" y="63"/>
                  </a:cubicBezTo>
                  <a:cubicBezTo>
                    <a:pt x="258" y="63"/>
                    <a:pt x="258" y="63"/>
                    <a:pt x="258" y="64"/>
                  </a:cubicBezTo>
                  <a:cubicBezTo>
                    <a:pt x="258" y="64"/>
                    <a:pt x="258" y="64"/>
                    <a:pt x="258" y="64"/>
                  </a:cubicBezTo>
                  <a:cubicBezTo>
                    <a:pt x="259" y="64"/>
                    <a:pt x="259" y="65"/>
                    <a:pt x="259" y="65"/>
                  </a:cubicBezTo>
                  <a:cubicBezTo>
                    <a:pt x="259" y="65"/>
                    <a:pt x="259" y="65"/>
                    <a:pt x="259" y="65"/>
                  </a:cubicBezTo>
                  <a:cubicBezTo>
                    <a:pt x="259" y="65"/>
                    <a:pt x="259" y="65"/>
                    <a:pt x="259" y="66"/>
                  </a:cubicBezTo>
                  <a:cubicBezTo>
                    <a:pt x="259" y="66"/>
                    <a:pt x="260" y="66"/>
                    <a:pt x="260" y="66"/>
                  </a:cubicBezTo>
                  <a:cubicBezTo>
                    <a:pt x="260" y="66"/>
                    <a:pt x="260" y="67"/>
                    <a:pt x="260" y="67"/>
                  </a:cubicBezTo>
                  <a:cubicBezTo>
                    <a:pt x="260" y="67"/>
                    <a:pt x="260" y="67"/>
                    <a:pt x="261" y="67"/>
                  </a:cubicBezTo>
                  <a:cubicBezTo>
                    <a:pt x="261" y="67"/>
                    <a:pt x="261" y="68"/>
                    <a:pt x="261" y="68"/>
                  </a:cubicBezTo>
                  <a:cubicBezTo>
                    <a:pt x="261" y="68"/>
                    <a:pt x="261" y="68"/>
                    <a:pt x="261" y="68"/>
                  </a:cubicBezTo>
                  <a:cubicBezTo>
                    <a:pt x="261" y="68"/>
                    <a:pt x="261" y="68"/>
                    <a:pt x="261" y="69"/>
                  </a:cubicBezTo>
                  <a:cubicBezTo>
                    <a:pt x="261" y="69"/>
                    <a:pt x="261" y="69"/>
                    <a:pt x="262" y="69"/>
                  </a:cubicBezTo>
                  <a:cubicBezTo>
                    <a:pt x="262" y="69"/>
                    <a:pt x="262" y="70"/>
                    <a:pt x="262" y="70"/>
                  </a:cubicBezTo>
                  <a:cubicBezTo>
                    <a:pt x="262" y="70"/>
                    <a:pt x="262" y="71"/>
                    <a:pt x="263" y="71"/>
                  </a:cubicBezTo>
                  <a:cubicBezTo>
                    <a:pt x="263" y="71"/>
                    <a:pt x="263" y="72"/>
                    <a:pt x="263" y="73"/>
                  </a:cubicBezTo>
                  <a:cubicBezTo>
                    <a:pt x="264" y="73"/>
                    <a:pt x="264" y="73"/>
                    <a:pt x="264" y="73"/>
                  </a:cubicBezTo>
                  <a:cubicBezTo>
                    <a:pt x="264" y="73"/>
                    <a:pt x="264" y="74"/>
                    <a:pt x="264" y="74"/>
                  </a:cubicBezTo>
                  <a:cubicBezTo>
                    <a:pt x="264" y="74"/>
                    <a:pt x="264" y="74"/>
                    <a:pt x="264" y="74"/>
                  </a:cubicBezTo>
                  <a:cubicBezTo>
                    <a:pt x="264" y="74"/>
                    <a:pt x="264" y="74"/>
                    <a:pt x="264" y="74"/>
                  </a:cubicBezTo>
                  <a:cubicBezTo>
                    <a:pt x="265" y="74"/>
                    <a:pt x="265" y="74"/>
                    <a:pt x="265" y="74"/>
                  </a:cubicBezTo>
                  <a:cubicBezTo>
                    <a:pt x="265" y="75"/>
                    <a:pt x="265" y="75"/>
                    <a:pt x="265" y="75"/>
                  </a:cubicBezTo>
                  <a:cubicBezTo>
                    <a:pt x="265" y="75"/>
                    <a:pt x="265" y="75"/>
                    <a:pt x="265" y="75"/>
                  </a:cubicBezTo>
                  <a:cubicBezTo>
                    <a:pt x="265" y="75"/>
                    <a:pt x="265" y="76"/>
                    <a:pt x="265" y="76"/>
                  </a:cubicBezTo>
                  <a:cubicBezTo>
                    <a:pt x="265" y="76"/>
                    <a:pt x="265" y="76"/>
                    <a:pt x="265" y="76"/>
                  </a:cubicBezTo>
                  <a:cubicBezTo>
                    <a:pt x="265" y="76"/>
                    <a:pt x="265" y="76"/>
                    <a:pt x="265" y="77"/>
                  </a:cubicBezTo>
                  <a:cubicBezTo>
                    <a:pt x="266" y="77"/>
                    <a:pt x="266" y="77"/>
                    <a:pt x="266" y="77"/>
                  </a:cubicBezTo>
                  <a:cubicBezTo>
                    <a:pt x="266" y="77"/>
                    <a:pt x="266" y="77"/>
                    <a:pt x="266" y="77"/>
                  </a:cubicBezTo>
                  <a:cubicBezTo>
                    <a:pt x="266" y="77"/>
                    <a:pt x="266" y="77"/>
                    <a:pt x="266" y="77"/>
                  </a:cubicBezTo>
                  <a:cubicBezTo>
                    <a:pt x="266" y="78"/>
                    <a:pt x="266" y="78"/>
                    <a:pt x="266" y="78"/>
                  </a:cubicBezTo>
                  <a:cubicBezTo>
                    <a:pt x="266" y="78"/>
                    <a:pt x="267" y="78"/>
                    <a:pt x="267" y="78"/>
                  </a:cubicBezTo>
                  <a:cubicBezTo>
                    <a:pt x="267" y="79"/>
                    <a:pt x="267" y="79"/>
                    <a:pt x="267" y="80"/>
                  </a:cubicBezTo>
                  <a:cubicBezTo>
                    <a:pt x="267" y="80"/>
                    <a:pt x="267" y="80"/>
                    <a:pt x="268" y="80"/>
                  </a:cubicBezTo>
                  <a:cubicBezTo>
                    <a:pt x="268" y="80"/>
                    <a:pt x="268" y="81"/>
                    <a:pt x="268" y="81"/>
                  </a:cubicBezTo>
                  <a:cubicBezTo>
                    <a:pt x="268" y="82"/>
                    <a:pt x="269" y="82"/>
                    <a:pt x="269" y="84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</a:ln>
            <a:effectLst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64800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4000" b="1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0000"/>
                </a:solidFill>
                <a:latin typeface="UKIJ Qolyazma" pitchFamily="18" charset="0"/>
                <a:cs typeface="UKIJ Qolyazma" pitchFamily="18" charset="0"/>
              </a:endParaRPr>
            </a:p>
          </p:txBody>
        </p:sp>
        <p:sp>
          <p:nvSpPr>
            <p:cNvPr id="91" name="Freeform 9">
              <a:extLst>
                <a:ext uri="{FF2B5EF4-FFF2-40B4-BE49-F238E27FC236}">
                  <a16:creationId xmlns:a16="http://schemas.microsoft.com/office/drawing/2014/main" id="{19348112-F5CB-BB40-C3C1-C5C31B7164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6789" y="1605474"/>
              <a:ext cx="341740" cy="283067"/>
            </a:xfrm>
            <a:custGeom>
              <a:avLst/>
              <a:gdLst>
                <a:gd name="T0" fmla="*/ 122 w 157"/>
                <a:gd name="T1" fmla="*/ 76 h 130"/>
                <a:gd name="T2" fmla="*/ 120 w 157"/>
                <a:gd name="T3" fmla="*/ 78 h 130"/>
                <a:gd name="T4" fmla="*/ 117 w 157"/>
                <a:gd name="T5" fmla="*/ 79 h 130"/>
                <a:gd name="T6" fmla="*/ 93 w 157"/>
                <a:gd name="T7" fmla="*/ 113 h 130"/>
                <a:gd name="T8" fmla="*/ 91 w 157"/>
                <a:gd name="T9" fmla="*/ 130 h 130"/>
                <a:gd name="T10" fmla="*/ 60 w 157"/>
                <a:gd name="T11" fmla="*/ 111 h 130"/>
                <a:gd name="T12" fmla="*/ 58 w 157"/>
                <a:gd name="T13" fmla="*/ 104 h 130"/>
                <a:gd name="T14" fmla="*/ 56 w 157"/>
                <a:gd name="T15" fmla="*/ 102 h 130"/>
                <a:gd name="T16" fmla="*/ 54 w 157"/>
                <a:gd name="T17" fmla="*/ 98 h 130"/>
                <a:gd name="T18" fmla="*/ 52 w 157"/>
                <a:gd name="T19" fmla="*/ 96 h 130"/>
                <a:gd name="T20" fmla="*/ 50 w 157"/>
                <a:gd name="T21" fmla="*/ 93 h 130"/>
                <a:gd name="T22" fmla="*/ 48 w 157"/>
                <a:gd name="T23" fmla="*/ 91 h 130"/>
                <a:gd name="T24" fmla="*/ 46 w 157"/>
                <a:gd name="T25" fmla="*/ 87 h 130"/>
                <a:gd name="T26" fmla="*/ 44 w 157"/>
                <a:gd name="T27" fmla="*/ 85 h 130"/>
                <a:gd name="T28" fmla="*/ 43 w 157"/>
                <a:gd name="T29" fmla="*/ 82 h 130"/>
                <a:gd name="T30" fmla="*/ 41 w 157"/>
                <a:gd name="T31" fmla="*/ 79 h 130"/>
                <a:gd name="T32" fmla="*/ 39 w 157"/>
                <a:gd name="T33" fmla="*/ 77 h 130"/>
                <a:gd name="T34" fmla="*/ 25 w 157"/>
                <a:gd name="T35" fmla="*/ 70 h 130"/>
                <a:gd name="T36" fmla="*/ 24 w 157"/>
                <a:gd name="T37" fmla="*/ 68 h 130"/>
                <a:gd name="T38" fmla="*/ 24 w 157"/>
                <a:gd name="T39" fmla="*/ 66 h 130"/>
                <a:gd name="T40" fmla="*/ 21 w 157"/>
                <a:gd name="T41" fmla="*/ 62 h 130"/>
                <a:gd name="T42" fmla="*/ 19 w 157"/>
                <a:gd name="T43" fmla="*/ 58 h 130"/>
                <a:gd name="T44" fmla="*/ 16 w 157"/>
                <a:gd name="T45" fmla="*/ 55 h 130"/>
                <a:gd name="T46" fmla="*/ 14 w 157"/>
                <a:gd name="T47" fmla="*/ 52 h 130"/>
                <a:gd name="T48" fmla="*/ 10 w 157"/>
                <a:gd name="T49" fmla="*/ 47 h 130"/>
                <a:gd name="T50" fmla="*/ 7 w 157"/>
                <a:gd name="T51" fmla="*/ 42 h 130"/>
                <a:gd name="T52" fmla="*/ 2 w 157"/>
                <a:gd name="T53" fmla="*/ 38 h 130"/>
                <a:gd name="T54" fmla="*/ 16 w 157"/>
                <a:gd name="T55" fmla="*/ 33 h 130"/>
                <a:gd name="T56" fmla="*/ 5 w 157"/>
                <a:gd name="T57" fmla="*/ 15 h 130"/>
                <a:gd name="T58" fmla="*/ 7 w 157"/>
                <a:gd name="T59" fmla="*/ 11 h 130"/>
                <a:gd name="T60" fmla="*/ 9 w 157"/>
                <a:gd name="T61" fmla="*/ 8 h 130"/>
                <a:gd name="T62" fmla="*/ 20 w 157"/>
                <a:gd name="T63" fmla="*/ 0 h 130"/>
                <a:gd name="T64" fmla="*/ 23 w 157"/>
                <a:gd name="T65" fmla="*/ 2 h 130"/>
                <a:gd name="T66" fmla="*/ 25 w 157"/>
                <a:gd name="T67" fmla="*/ 5 h 130"/>
                <a:gd name="T68" fmla="*/ 27 w 157"/>
                <a:gd name="T69" fmla="*/ 9 h 130"/>
                <a:gd name="T70" fmla="*/ 28 w 157"/>
                <a:gd name="T71" fmla="*/ 11 h 130"/>
                <a:gd name="T72" fmla="*/ 30 w 157"/>
                <a:gd name="T73" fmla="*/ 16 h 130"/>
                <a:gd name="T74" fmla="*/ 31 w 157"/>
                <a:gd name="T75" fmla="*/ 17 h 130"/>
                <a:gd name="T76" fmla="*/ 32 w 157"/>
                <a:gd name="T77" fmla="*/ 19 h 130"/>
                <a:gd name="T78" fmla="*/ 38 w 157"/>
                <a:gd name="T79" fmla="*/ 25 h 130"/>
                <a:gd name="T80" fmla="*/ 43 w 157"/>
                <a:gd name="T81" fmla="*/ 29 h 130"/>
                <a:gd name="T82" fmla="*/ 46 w 157"/>
                <a:gd name="T83" fmla="*/ 31 h 130"/>
                <a:gd name="T84" fmla="*/ 49 w 157"/>
                <a:gd name="T85" fmla="*/ 33 h 130"/>
                <a:gd name="T86" fmla="*/ 61 w 157"/>
                <a:gd name="T87" fmla="*/ 36 h 130"/>
                <a:gd name="T88" fmla="*/ 72 w 157"/>
                <a:gd name="T89" fmla="*/ 30 h 130"/>
                <a:gd name="T90" fmla="*/ 76 w 157"/>
                <a:gd name="T91" fmla="*/ 24 h 130"/>
                <a:gd name="T92" fmla="*/ 81 w 157"/>
                <a:gd name="T93" fmla="*/ 19 h 130"/>
                <a:gd name="T94" fmla="*/ 89 w 157"/>
                <a:gd name="T95" fmla="*/ 10 h 130"/>
                <a:gd name="T96" fmla="*/ 103 w 157"/>
                <a:gd name="T97" fmla="*/ 8 h 130"/>
                <a:gd name="T98" fmla="*/ 106 w 157"/>
                <a:gd name="T99" fmla="*/ 9 h 130"/>
                <a:gd name="T100" fmla="*/ 118 w 157"/>
                <a:gd name="T101" fmla="*/ 21 h 130"/>
                <a:gd name="T102" fmla="*/ 125 w 157"/>
                <a:gd name="T103" fmla="*/ 27 h 130"/>
                <a:gd name="T104" fmla="*/ 147 w 157"/>
                <a:gd name="T105" fmla="*/ 30 h 130"/>
                <a:gd name="T106" fmla="*/ 152 w 157"/>
                <a:gd name="T107" fmla="*/ 34 h 130"/>
                <a:gd name="T108" fmla="*/ 148 w 157"/>
                <a:gd name="T109" fmla="*/ 38 h 130"/>
                <a:gd name="T110" fmla="*/ 138 w 157"/>
                <a:gd name="T111" fmla="*/ 49 h 130"/>
                <a:gd name="T112" fmla="*/ 132 w 157"/>
                <a:gd name="T113" fmla="*/ 56 h 130"/>
                <a:gd name="T114" fmla="*/ 127 w 157"/>
                <a:gd name="T115" fmla="*/ 62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57" h="130">
                  <a:moveTo>
                    <a:pt x="127" y="73"/>
                  </a:moveTo>
                  <a:cubicBezTo>
                    <a:pt x="126" y="73"/>
                    <a:pt x="126" y="73"/>
                    <a:pt x="126" y="73"/>
                  </a:cubicBezTo>
                  <a:cubicBezTo>
                    <a:pt x="125" y="74"/>
                    <a:pt x="124" y="74"/>
                    <a:pt x="123" y="75"/>
                  </a:cubicBezTo>
                  <a:cubicBezTo>
                    <a:pt x="123" y="75"/>
                    <a:pt x="123" y="75"/>
                    <a:pt x="123" y="75"/>
                  </a:cubicBezTo>
                  <a:cubicBezTo>
                    <a:pt x="123" y="75"/>
                    <a:pt x="123" y="75"/>
                    <a:pt x="122" y="76"/>
                  </a:cubicBezTo>
                  <a:cubicBezTo>
                    <a:pt x="122" y="76"/>
                    <a:pt x="122" y="76"/>
                    <a:pt x="122" y="76"/>
                  </a:cubicBezTo>
                  <a:cubicBezTo>
                    <a:pt x="122" y="76"/>
                    <a:pt x="122" y="76"/>
                    <a:pt x="121" y="76"/>
                  </a:cubicBezTo>
                  <a:cubicBezTo>
                    <a:pt x="121" y="77"/>
                    <a:pt x="121" y="77"/>
                    <a:pt x="121" y="77"/>
                  </a:cubicBezTo>
                  <a:cubicBezTo>
                    <a:pt x="120" y="77"/>
                    <a:pt x="120" y="77"/>
                    <a:pt x="120" y="77"/>
                  </a:cubicBezTo>
                  <a:cubicBezTo>
                    <a:pt x="120" y="78"/>
                    <a:pt x="120" y="78"/>
                    <a:pt x="120" y="78"/>
                  </a:cubicBezTo>
                  <a:cubicBezTo>
                    <a:pt x="119" y="78"/>
                    <a:pt x="119" y="78"/>
                    <a:pt x="119" y="78"/>
                  </a:cubicBezTo>
                  <a:cubicBezTo>
                    <a:pt x="119" y="78"/>
                    <a:pt x="119" y="78"/>
                    <a:pt x="119" y="78"/>
                  </a:cubicBezTo>
                  <a:cubicBezTo>
                    <a:pt x="119" y="78"/>
                    <a:pt x="118" y="79"/>
                    <a:pt x="118" y="79"/>
                  </a:cubicBezTo>
                  <a:cubicBezTo>
                    <a:pt x="118" y="79"/>
                    <a:pt x="118" y="79"/>
                    <a:pt x="117" y="79"/>
                  </a:cubicBezTo>
                  <a:cubicBezTo>
                    <a:pt x="117" y="79"/>
                    <a:pt x="117" y="79"/>
                    <a:pt x="117" y="79"/>
                  </a:cubicBezTo>
                  <a:cubicBezTo>
                    <a:pt x="112" y="85"/>
                    <a:pt x="106" y="90"/>
                    <a:pt x="101" y="95"/>
                  </a:cubicBezTo>
                  <a:cubicBezTo>
                    <a:pt x="99" y="98"/>
                    <a:pt x="96" y="100"/>
                    <a:pt x="94" y="102"/>
                  </a:cubicBezTo>
                  <a:cubicBezTo>
                    <a:pt x="94" y="104"/>
                    <a:pt x="94" y="105"/>
                    <a:pt x="94" y="106"/>
                  </a:cubicBezTo>
                  <a:cubicBezTo>
                    <a:pt x="93" y="107"/>
                    <a:pt x="94" y="111"/>
                    <a:pt x="93" y="113"/>
                  </a:cubicBezTo>
                  <a:cubicBezTo>
                    <a:pt x="93" y="113"/>
                    <a:pt x="93" y="113"/>
                    <a:pt x="93" y="113"/>
                  </a:cubicBezTo>
                  <a:cubicBezTo>
                    <a:pt x="93" y="114"/>
                    <a:pt x="93" y="115"/>
                    <a:pt x="93" y="116"/>
                  </a:cubicBezTo>
                  <a:cubicBezTo>
                    <a:pt x="93" y="116"/>
                    <a:pt x="92" y="116"/>
                    <a:pt x="92" y="116"/>
                  </a:cubicBezTo>
                  <a:cubicBezTo>
                    <a:pt x="92" y="118"/>
                    <a:pt x="92" y="119"/>
                    <a:pt x="92" y="120"/>
                  </a:cubicBezTo>
                  <a:cubicBezTo>
                    <a:pt x="92" y="120"/>
                    <a:pt x="92" y="120"/>
                    <a:pt x="92" y="120"/>
                  </a:cubicBezTo>
                  <a:cubicBezTo>
                    <a:pt x="92" y="123"/>
                    <a:pt x="91" y="126"/>
                    <a:pt x="91" y="130"/>
                  </a:cubicBezTo>
                  <a:cubicBezTo>
                    <a:pt x="82" y="129"/>
                    <a:pt x="73" y="128"/>
                    <a:pt x="64" y="127"/>
                  </a:cubicBezTo>
                  <a:cubicBezTo>
                    <a:pt x="64" y="125"/>
                    <a:pt x="63" y="123"/>
                    <a:pt x="62" y="121"/>
                  </a:cubicBezTo>
                  <a:cubicBezTo>
                    <a:pt x="62" y="121"/>
                    <a:pt x="62" y="120"/>
                    <a:pt x="62" y="120"/>
                  </a:cubicBezTo>
                  <a:cubicBezTo>
                    <a:pt x="61" y="117"/>
                    <a:pt x="61" y="115"/>
                    <a:pt x="60" y="113"/>
                  </a:cubicBezTo>
                  <a:cubicBezTo>
                    <a:pt x="60" y="112"/>
                    <a:pt x="60" y="112"/>
                    <a:pt x="60" y="111"/>
                  </a:cubicBezTo>
                  <a:cubicBezTo>
                    <a:pt x="60" y="111"/>
                    <a:pt x="60" y="111"/>
                    <a:pt x="60" y="111"/>
                  </a:cubicBezTo>
                  <a:cubicBezTo>
                    <a:pt x="60" y="111"/>
                    <a:pt x="60" y="110"/>
                    <a:pt x="60" y="110"/>
                  </a:cubicBezTo>
                  <a:cubicBezTo>
                    <a:pt x="60" y="110"/>
                    <a:pt x="60" y="110"/>
                    <a:pt x="59" y="110"/>
                  </a:cubicBezTo>
                  <a:cubicBezTo>
                    <a:pt x="59" y="109"/>
                    <a:pt x="59" y="109"/>
                    <a:pt x="59" y="108"/>
                  </a:cubicBezTo>
                  <a:cubicBezTo>
                    <a:pt x="59" y="107"/>
                    <a:pt x="58" y="106"/>
                    <a:pt x="58" y="104"/>
                  </a:cubicBezTo>
                  <a:cubicBezTo>
                    <a:pt x="58" y="104"/>
                    <a:pt x="58" y="104"/>
                    <a:pt x="58" y="104"/>
                  </a:cubicBezTo>
                  <a:cubicBezTo>
                    <a:pt x="58" y="104"/>
                    <a:pt x="57" y="103"/>
                    <a:pt x="57" y="103"/>
                  </a:cubicBezTo>
                  <a:cubicBezTo>
                    <a:pt x="57" y="103"/>
                    <a:pt x="57" y="103"/>
                    <a:pt x="57" y="103"/>
                  </a:cubicBezTo>
                  <a:cubicBezTo>
                    <a:pt x="57" y="103"/>
                    <a:pt x="57" y="102"/>
                    <a:pt x="57" y="102"/>
                  </a:cubicBezTo>
                  <a:cubicBezTo>
                    <a:pt x="56" y="102"/>
                    <a:pt x="56" y="102"/>
                    <a:pt x="56" y="102"/>
                  </a:cubicBezTo>
                  <a:cubicBezTo>
                    <a:pt x="56" y="102"/>
                    <a:pt x="56" y="101"/>
                    <a:pt x="56" y="101"/>
                  </a:cubicBezTo>
                  <a:cubicBezTo>
                    <a:pt x="56" y="101"/>
                    <a:pt x="55" y="101"/>
                    <a:pt x="55" y="100"/>
                  </a:cubicBezTo>
                  <a:cubicBezTo>
                    <a:pt x="55" y="100"/>
                    <a:pt x="55" y="100"/>
                    <a:pt x="55" y="100"/>
                  </a:cubicBezTo>
                  <a:cubicBezTo>
                    <a:pt x="55" y="100"/>
                    <a:pt x="54" y="99"/>
                    <a:pt x="54" y="99"/>
                  </a:cubicBezTo>
                  <a:cubicBezTo>
                    <a:pt x="54" y="99"/>
                    <a:pt x="54" y="99"/>
                    <a:pt x="54" y="98"/>
                  </a:cubicBezTo>
                  <a:cubicBezTo>
                    <a:pt x="54" y="98"/>
                    <a:pt x="54" y="98"/>
                    <a:pt x="53" y="98"/>
                  </a:cubicBezTo>
                  <a:cubicBezTo>
                    <a:pt x="53" y="98"/>
                    <a:pt x="53" y="98"/>
                    <a:pt x="53" y="98"/>
                  </a:cubicBezTo>
                  <a:cubicBezTo>
                    <a:pt x="53" y="97"/>
                    <a:pt x="53" y="97"/>
                    <a:pt x="53" y="97"/>
                  </a:cubicBezTo>
                  <a:cubicBezTo>
                    <a:pt x="53" y="97"/>
                    <a:pt x="53" y="97"/>
                    <a:pt x="53" y="97"/>
                  </a:cubicBezTo>
                  <a:cubicBezTo>
                    <a:pt x="53" y="96"/>
                    <a:pt x="52" y="96"/>
                    <a:pt x="52" y="96"/>
                  </a:cubicBezTo>
                  <a:cubicBezTo>
                    <a:pt x="52" y="96"/>
                    <a:pt x="52" y="96"/>
                    <a:pt x="52" y="95"/>
                  </a:cubicBezTo>
                  <a:cubicBezTo>
                    <a:pt x="52" y="95"/>
                    <a:pt x="52" y="95"/>
                    <a:pt x="51" y="95"/>
                  </a:cubicBezTo>
                  <a:cubicBezTo>
                    <a:pt x="51" y="95"/>
                    <a:pt x="51" y="95"/>
                    <a:pt x="51" y="94"/>
                  </a:cubicBezTo>
                  <a:cubicBezTo>
                    <a:pt x="51" y="94"/>
                    <a:pt x="51" y="94"/>
                    <a:pt x="50" y="94"/>
                  </a:cubicBezTo>
                  <a:cubicBezTo>
                    <a:pt x="50" y="93"/>
                    <a:pt x="50" y="93"/>
                    <a:pt x="50" y="93"/>
                  </a:cubicBezTo>
                  <a:cubicBezTo>
                    <a:pt x="50" y="93"/>
                    <a:pt x="50" y="93"/>
                    <a:pt x="50" y="93"/>
                  </a:cubicBezTo>
                  <a:cubicBezTo>
                    <a:pt x="50" y="92"/>
                    <a:pt x="50" y="92"/>
                    <a:pt x="50" y="92"/>
                  </a:cubicBezTo>
                  <a:cubicBezTo>
                    <a:pt x="49" y="92"/>
                    <a:pt x="49" y="92"/>
                    <a:pt x="49" y="92"/>
                  </a:cubicBezTo>
                  <a:cubicBezTo>
                    <a:pt x="49" y="92"/>
                    <a:pt x="49" y="91"/>
                    <a:pt x="49" y="91"/>
                  </a:cubicBezTo>
                  <a:cubicBezTo>
                    <a:pt x="49" y="91"/>
                    <a:pt x="48" y="91"/>
                    <a:pt x="48" y="91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48" y="89"/>
                    <a:pt x="48" y="89"/>
                    <a:pt x="48" y="89"/>
                  </a:cubicBezTo>
                  <a:cubicBezTo>
                    <a:pt x="47" y="89"/>
                    <a:pt x="47" y="88"/>
                    <a:pt x="46" y="88"/>
                  </a:cubicBezTo>
                  <a:cubicBezTo>
                    <a:pt x="46" y="88"/>
                    <a:pt x="46" y="88"/>
                    <a:pt x="46" y="87"/>
                  </a:cubicBezTo>
                  <a:cubicBezTo>
                    <a:pt x="46" y="87"/>
                    <a:pt x="46" y="87"/>
                    <a:pt x="46" y="87"/>
                  </a:cubicBezTo>
                  <a:cubicBezTo>
                    <a:pt x="46" y="87"/>
                    <a:pt x="46" y="86"/>
                    <a:pt x="45" y="86"/>
                  </a:cubicBezTo>
                  <a:cubicBezTo>
                    <a:pt x="45" y="86"/>
                    <a:pt x="45" y="86"/>
                    <a:pt x="45" y="86"/>
                  </a:cubicBezTo>
                  <a:cubicBezTo>
                    <a:pt x="45" y="86"/>
                    <a:pt x="45" y="86"/>
                    <a:pt x="45" y="85"/>
                  </a:cubicBezTo>
                  <a:cubicBezTo>
                    <a:pt x="45" y="85"/>
                    <a:pt x="45" y="85"/>
                    <a:pt x="44" y="85"/>
                  </a:cubicBezTo>
                  <a:cubicBezTo>
                    <a:pt x="44" y="85"/>
                    <a:pt x="44" y="84"/>
                    <a:pt x="44" y="84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4" y="84"/>
                    <a:pt x="44" y="83"/>
                    <a:pt x="44" y="83"/>
                  </a:cubicBezTo>
                  <a:cubicBezTo>
                    <a:pt x="43" y="83"/>
                    <a:pt x="43" y="83"/>
                    <a:pt x="43" y="83"/>
                  </a:cubicBezTo>
                  <a:cubicBezTo>
                    <a:pt x="43" y="83"/>
                    <a:pt x="43" y="82"/>
                    <a:pt x="43" y="82"/>
                  </a:cubicBezTo>
                  <a:cubicBezTo>
                    <a:pt x="43" y="82"/>
                    <a:pt x="42" y="82"/>
                    <a:pt x="42" y="81"/>
                  </a:cubicBezTo>
                  <a:cubicBezTo>
                    <a:pt x="42" y="81"/>
                    <a:pt x="42" y="81"/>
                    <a:pt x="42" y="81"/>
                  </a:cubicBezTo>
                  <a:cubicBezTo>
                    <a:pt x="42" y="81"/>
                    <a:pt x="41" y="81"/>
                    <a:pt x="41" y="80"/>
                  </a:cubicBezTo>
                  <a:cubicBezTo>
                    <a:pt x="41" y="80"/>
                    <a:pt x="41" y="80"/>
                    <a:pt x="41" y="79"/>
                  </a:cubicBezTo>
                  <a:cubicBezTo>
                    <a:pt x="41" y="79"/>
                    <a:pt x="41" y="79"/>
                    <a:pt x="41" y="79"/>
                  </a:cubicBezTo>
                  <a:cubicBezTo>
                    <a:pt x="41" y="79"/>
                    <a:pt x="41" y="79"/>
                    <a:pt x="41" y="79"/>
                  </a:cubicBezTo>
                  <a:cubicBezTo>
                    <a:pt x="40" y="79"/>
                    <a:pt x="40" y="78"/>
                    <a:pt x="40" y="78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40" y="78"/>
                    <a:pt x="39" y="77"/>
                    <a:pt x="39" y="77"/>
                  </a:cubicBezTo>
                  <a:cubicBezTo>
                    <a:pt x="39" y="77"/>
                    <a:pt x="39" y="77"/>
                    <a:pt x="39" y="77"/>
                  </a:cubicBezTo>
                  <a:cubicBezTo>
                    <a:pt x="39" y="76"/>
                    <a:pt x="38" y="76"/>
                    <a:pt x="38" y="76"/>
                  </a:cubicBezTo>
                  <a:cubicBezTo>
                    <a:pt x="37" y="75"/>
                    <a:pt x="37" y="74"/>
                    <a:pt x="36" y="73"/>
                  </a:cubicBezTo>
                  <a:cubicBezTo>
                    <a:pt x="33" y="73"/>
                    <a:pt x="31" y="75"/>
                    <a:pt x="28" y="76"/>
                  </a:cubicBezTo>
                  <a:cubicBezTo>
                    <a:pt x="28" y="74"/>
                    <a:pt x="26" y="72"/>
                    <a:pt x="25" y="70"/>
                  </a:cubicBezTo>
                  <a:cubicBezTo>
                    <a:pt x="25" y="70"/>
                    <a:pt x="25" y="70"/>
                    <a:pt x="25" y="70"/>
                  </a:cubicBezTo>
                  <a:cubicBezTo>
                    <a:pt x="25" y="70"/>
                    <a:pt x="25" y="70"/>
                    <a:pt x="25" y="70"/>
                  </a:cubicBezTo>
                  <a:cubicBezTo>
                    <a:pt x="25" y="69"/>
                    <a:pt x="25" y="69"/>
                    <a:pt x="25" y="69"/>
                  </a:cubicBezTo>
                  <a:cubicBezTo>
                    <a:pt x="25" y="69"/>
                    <a:pt x="25" y="69"/>
                    <a:pt x="25" y="69"/>
                  </a:cubicBezTo>
                  <a:cubicBezTo>
                    <a:pt x="25" y="69"/>
                    <a:pt x="25" y="68"/>
                    <a:pt x="25" y="68"/>
                  </a:cubicBezTo>
                  <a:cubicBezTo>
                    <a:pt x="25" y="68"/>
                    <a:pt x="25" y="68"/>
                    <a:pt x="24" y="68"/>
                  </a:cubicBezTo>
                  <a:cubicBezTo>
                    <a:pt x="24" y="68"/>
                    <a:pt x="24" y="68"/>
                    <a:pt x="24" y="67"/>
                  </a:cubicBezTo>
                  <a:cubicBezTo>
                    <a:pt x="24" y="67"/>
                    <a:pt x="24" y="67"/>
                    <a:pt x="24" y="67"/>
                  </a:cubicBezTo>
                  <a:cubicBezTo>
                    <a:pt x="24" y="67"/>
                    <a:pt x="24" y="67"/>
                    <a:pt x="24" y="67"/>
                  </a:cubicBezTo>
                  <a:cubicBezTo>
                    <a:pt x="24" y="67"/>
                    <a:pt x="24" y="67"/>
                    <a:pt x="24" y="67"/>
                  </a:cubicBezTo>
                  <a:cubicBezTo>
                    <a:pt x="24" y="67"/>
                    <a:pt x="24" y="66"/>
                    <a:pt x="24" y="66"/>
                  </a:cubicBezTo>
                  <a:cubicBezTo>
                    <a:pt x="24" y="66"/>
                    <a:pt x="23" y="66"/>
                    <a:pt x="23" y="66"/>
                  </a:cubicBezTo>
                  <a:cubicBezTo>
                    <a:pt x="23" y="65"/>
                    <a:pt x="23" y="64"/>
                    <a:pt x="22" y="64"/>
                  </a:cubicBezTo>
                  <a:cubicBezTo>
                    <a:pt x="22" y="64"/>
                    <a:pt x="22" y="63"/>
                    <a:pt x="22" y="63"/>
                  </a:cubicBezTo>
                  <a:cubicBezTo>
                    <a:pt x="22" y="63"/>
                    <a:pt x="21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0" y="61"/>
                    <a:pt x="20" y="61"/>
                    <a:pt x="20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60"/>
                    <a:pt x="20" y="59"/>
                    <a:pt x="20" y="59"/>
                  </a:cubicBezTo>
                  <a:cubicBezTo>
                    <a:pt x="19" y="59"/>
                    <a:pt x="19" y="59"/>
                    <a:pt x="19" y="59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19" y="58"/>
                    <a:pt x="19" y="58"/>
                    <a:pt x="18" y="58"/>
                  </a:cubicBezTo>
                  <a:cubicBezTo>
                    <a:pt x="18" y="58"/>
                    <a:pt x="18" y="57"/>
                    <a:pt x="18" y="57"/>
                  </a:cubicBezTo>
                  <a:cubicBezTo>
                    <a:pt x="18" y="57"/>
                    <a:pt x="18" y="57"/>
                    <a:pt x="17" y="57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7" y="56"/>
                    <a:pt x="17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4"/>
                    <a:pt x="16" y="54"/>
                    <a:pt x="16" y="54"/>
                  </a:cubicBezTo>
                  <a:cubicBezTo>
                    <a:pt x="16" y="54"/>
                    <a:pt x="16" y="54"/>
                    <a:pt x="16" y="53"/>
                  </a:cubicBezTo>
                  <a:cubicBezTo>
                    <a:pt x="15" y="53"/>
                    <a:pt x="15" y="53"/>
                    <a:pt x="14" y="52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4" y="51"/>
                    <a:pt x="13" y="51"/>
                    <a:pt x="13" y="51"/>
                  </a:cubicBezTo>
                  <a:cubicBezTo>
                    <a:pt x="13" y="50"/>
                    <a:pt x="13" y="50"/>
                    <a:pt x="13" y="50"/>
                  </a:cubicBezTo>
                  <a:cubicBezTo>
                    <a:pt x="12" y="50"/>
                    <a:pt x="12" y="49"/>
                    <a:pt x="11" y="49"/>
                  </a:cubicBezTo>
                  <a:cubicBezTo>
                    <a:pt x="11" y="49"/>
                    <a:pt x="11" y="48"/>
                    <a:pt x="11" y="48"/>
                  </a:cubicBezTo>
                  <a:cubicBezTo>
                    <a:pt x="11" y="48"/>
                    <a:pt x="10" y="47"/>
                    <a:pt x="10" y="47"/>
                  </a:cubicBezTo>
                  <a:cubicBezTo>
                    <a:pt x="10" y="47"/>
                    <a:pt x="10" y="46"/>
                    <a:pt x="10" y="46"/>
                  </a:cubicBezTo>
                  <a:cubicBezTo>
                    <a:pt x="9" y="46"/>
                    <a:pt x="9" y="45"/>
                    <a:pt x="8" y="45"/>
                  </a:cubicBezTo>
                  <a:cubicBezTo>
                    <a:pt x="8" y="45"/>
                    <a:pt x="8" y="45"/>
                    <a:pt x="8" y="44"/>
                  </a:cubicBezTo>
                  <a:cubicBezTo>
                    <a:pt x="8" y="44"/>
                    <a:pt x="7" y="43"/>
                    <a:pt x="7" y="43"/>
                  </a:cubicBezTo>
                  <a:cubicBezTo>
                    <a:pt x="7" y="43"/>
                    <a:pt x="7" y="43"/>
                    <a:pt x="7" y="42"/>
                  </a:cubicBezTo>
                  <a:cubicBezTo>
                    <a:pt x="6" y="42"/>
                    <a:pt x="6" y="42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0"/>
                    <a:pt x="4" y="40"/>
                    <a:pt x="4" y="39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3" y="38"/>
                    <a:pt x="3" y="38"/>
                    <a:pt x="2" y="38"/>
                  </a:cubicBezTo>
                  <a:cubicBezTo>
                    <a:pt x="2" y="38"/>
                    <a:pt x="2" y="37"/>
                    <a:pt x="2" y="37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1" y="36"/>
                    <a:pt x="1" y="35"/>
                    <a:pt x="0" y="34"/>
                  </a:cubicBezTo>
                  <a:cubicBezTo>
                    <a:pt x="3" y="34"/>
                    <a:pt x="7" y="36"/>
                    <a:pt x="9" y="36"/>
                  </a:cubicBezTo>
                  <a:cubicBezTo>
                    <a:pt x="12" y="35"/>
                    <a:pt x="13" y="33"/>
                    <a:pt x="16" y="33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2" y="30"/>
                    <a:pt x="7" y="28"/>
                    <a:pt x="3" y="26"/>
                  </a:cubicBezTo>
                  <a:cubicBezTo>
                    <a:pt x="3" y="24"/>
                    <a:pt x="3" y="23"/>
                    <a:pt x="3" y="21"/>
                  </a:cubicBezTo>
                  <a:cubicBezTo>
                    <a:pt x="4" y="19"/>
                    <a:pt x="4" y="17"/>
                    <a:pt x="4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5"/>
                    <a:pt x="5" y="14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2"/>
                    <a:pt x="6" y="12"/>
                  </a:cubicBezTo>
                  <a:cubicBezTo>
                    <a:pt x="6" y="12"/>
                    <a:pt x="7" y="12"/>
                    <a:pt x="7" y="12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1"/>
                    <a:pt x="7" y="11"/>
                    <a:pt x="8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10"/>
                    <a:pt x="8" y="10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"/>
                    <a:pt x="9" y="8"/>
                    <a:pt x="9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6"/>
                  </a:cubicBezTo>
                  <a:cubicBezTo>
                    <a:pt x="10" y="6"/>
                    <a:pt x="11" y="6"/>
                    <a:pt x="11" y="6"/>
                  </a:cubicBezTo>
                  <a:cubicBezTo>
                    <a:pt x="13" y="3"/>
                    <a:pt x="15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1" y="0"/>
                    <a:pt x="21" y="0"/>
                  </a:cubicBezTo>
                  <a:cubicBezTo>
                    <a:pt x="21" y="1"/>
                    <a:pt x="22" y="1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3" y="1"/>
                    <a:pt x="23" y="2"/>
                    <a:pt x="23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2"/>
                    <a:pt x="23" y="3"/>
                    <a:pt x="23" y="3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5" y="4"/>
                    <a:pt x="25" y="4"/>
                    <a:pt x="25" y="5"/>
                  </a:cubicBezTo>
                  <a:cubicBezTo>
                    <a:pt x="25" y="5"/>
                    <a:pt x="26" y="6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7" y="7"/>
                  </a:cubicBezTo>
                  <a:cubicBezTo>
                    <a:pt x="27" y="8"/>
                    <a:pt x="27" y="9"/>
                    <a:pt x="27" y="9"/>
                  </a:cubicBezTo>
                  <a:cubicBezTo>
                    <a:pt x="27" y="9"/>
                    <a:pt x="27" y="9"/>
                    <a:pt x="28" y="9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2"/>
                    <a:pt x="29" y="13"/>
                    <a:pt x="29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4"/>
                    <a:pt x="29" y="14"/>
                    <a:pt x="29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15"/>
                    <a:pt x="30" y="15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6"/>
                    <a:pt x="31" y="16"/>
                    <a:pt x="31" y="16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2" y="19"/>
                    <a:pt x="32" y="20"/>
                    <a:pt x="32" y="20"/>
                  </a:cubicBezTo>
                  <a:cubicBezTo>
                    <a:pt x="33" y="20"/>
                    <a:pt x="33" y="21"/>
                    <a:pt x="34" y="21"/>
                  </a:cubicBezTo>
                  <a:cubicBezTo>
                    <a:pt x="35" y="23"/>
                    <a:pt x="36" y="24"/>
                    <a:pt x="37" y="25"/>
                  </a:cubicBezTo>
                  <a:cubicBezTo>
                    <a:pt x="38" y="25"/>
                    <a:pt x="38" y="25"/>
                    <a:pt x="38" y="25"/>
                  </a:cubicBezTo>
                  <a:cubicBezTo>
                    <a:pt x="39" y="26"/>
                    <a:pt x="39" y="26"/>
                    <a:pt x="39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1" y="27"/>
                    <a:pt x="41" y="28"/>
                    <a:pt x="41" y="28"/>
                  </a:cubicBezTo>
                  <a:cubicBezTo>
                    <a:pt x="41" y="28"/>
                    <a:pt x="42" y="28"/>
                    <a:pt x="42" y="28"/>
                  </a:cubicBezTo>
                  <a:cubicBezTo>
                    <a:pt x="42" y="29"/>
                    <a:pt x="42" y="29"/>
                    <a:pt x="43" y="29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5" y="30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1"/>
                    <a:pt x="46" y="31"/>
                    <a:pt x="46" y="31"/>
                  </a:cubicBezTo>
                  <a:cubicBezTo>
                    <a:pt x="46" y="31"/>
                    <a:pt x="46" y="32"/>
                    <a:pt x="46" y="32"/>
                  </a:cubicBezTo>
                  <a:cubicBezTo>
                    <a:pt x="47" y="32"/>
                    <a:pt x="47" y="32"/>
                    <a:pt x="48" y="32"/>
                  </a:cubicBezTo>
                  <a:cubicBezTo>
                    <a:pt x="48" y="32"/>
                    <a:pt x="48" y="32"/>
                    <a:pt x="48" y="33"/>
                  </a:cubicBezTo>
                  <a:cubicBezTo>
                    <a:pt x="48" y="33"/>
                    <a:pt x="48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50" y="33"/>
                  </a:cubicBezTo>
                  <a:cubicBezTo>
                    <a:pt x="51" y="34"/>
                    <a:pt x="54" y="34"/>
                    <a:pt x="56" y="35"/>
                  </a:cubicBezTo>
                  <a:cubicBezTo>
                    <a:pt x="57" y="35"/>
                    <a:pt x="57" y="35"/>
                    <a:pt x="58" y="35"/>
                  </a:cubicBezTo>
                  <a:cubicBezTo>
                    <a:pt x="58" y="35"/>
                    <a:pt x="58" y="35"/>
                    <a:pt x="58" y="35"/>
                  </a:cubicBezTo>
                  <a:cubicBezTo>
                    <a:pt x="59" y="35"/>
                    <a:pt x="60" y="35"/>
                    <a:pt x="61" y="36"/>
                  </a:cubicBezTo>
                  <a:cubicBezTo>
                    <a:pt x="61" y="36"/>
                    <a:pt x="61" y="36"/>
                    <a:pt x="61" y="36"/>
                  </a:cubicBezTo>
                  <a:cubicBezTo>
                    <a:pt x="62" y="36"/>
                    <a:pt x="63" y="37"/>
                    <a:pt x="64" y="37"/>
                  </a:cubicBezTo>
                  <a:cubicBezTo>
                    <a:pt x="65" y="36"/>
                    <a:pt x="65" y="36"/>
                    <a:pt x="66" y="35"/>
                  </a:cubicBezTo>
                  <a:cubicBezTo>
                    <a:pt x="67" y="34"/>
                    <a:pt x="68" y="34"/>
                    <a:pt x="68" y="33"/>
                  </a:cubicBezTo>
                  <a:cubicBezTo>
                    <a:pt x="69" y="32"/>
                    <a:pt x="70" y="31"/>
                    <a:pt x="72" y="30"/>
                  </a:cubicBezTo>
                  <a:cubicBezTo>
                    <a:pt x="72" y="29"/>
                    <a:pt x="72" y="29"/>
                    <a:pt x="72" y="29"/>
                  </a:cubicBezTo>
                  <a:cubicBezTo>
                    <a:pt x="72" y="28"/>
                    <a:pt x="73" y="28"/>
                    <a:pt x="74" y="27"/>
                  </a:cubicBezTo>
                  <a:cubicBezTo>
                    <a:pt x="74" y="27"/>
                    <a:pt x="74" y="27"/>
                    <a:pt x="74" y="27"/>
                  </a:cubicBezTo>
                  <a:cubicBezTo>
                    <a:pt x="74" y="26"/>
                    <a:pt x="75" y="25"/>
                    <a:pt x="76" y="25"/>
                  </a:cubicBezTo>
                  <a:cubicBezTo>
                    <a:pt x="76" y="25"/>
                    <a:pt x="76" y="24"/>
                    <a:pt x="76" y="24"/>
                  </a:cubicBezTo>
                  <a:cubicBezTo>
                    <a:pt x="76" y="24"/>
                    <a:pt x="77" y="23"/>
                    <a:pt x="77" y="23"/>
                  </a:cubicBezTo>
                  <a:cubicBezTo>
                    <a:pt x="77" y="23"/>
                    <a:pt x="77" y="23"/>
                    <a:pt x="77" y="22"/>
                  </a:cubicBezTo>
                  <a:cubicBezTo>
                    <a:pt x="78" y="22"/>
                    <a:pt x="78" y="21"/>
                    <a:pt x="79" y="21"/>
                  </a:cubicBezTo>
                  <a:cubicBezTo>
                    <a:pt x="79" y="21"/>
                    <a:pt x="79" y="20"/>
                    <a:pt x="79" y="20"/>
                  </a:cubicBezTo>
                  <a:cubicBezTo>
                    <a:pt x="80" y="20"/>
                    <a:pt x="80" y="19"/>
                    <a:pt x="81" y="19"/>
                  </a:cubicBezTo>
                  <a:cubicBezTo>
                    <a:pt x="81" y="19"/>
                    <a:pt x="81" y="18"/>
                    <a:pt x="81" y="18"/>
                  </a:cubicBezTo>
                  <a:cubicBezTo>
                    <a:pt x="81" y="18"/>
                    <a:pt x="82" y="17"/>
                    <a:pt x="83" y="16"/>
                  </a:cubicBezTo>
                  <a:cubicBezTo>
                    <a:pt x="85" y="15"/>
                    <a:pt x="86" y="13"/>
                    <a:pt x="88" y="11"/>
                  </a:cubicBezTo>
                  <a:cubicBezTo>
                    <a:pt x="88" y="11"/>
                    <a:pt x="89" y="11"/>
                    <a:pt x="89" y="11"/>
                  </a:cubicBezTo>
                  <a:cubicBezTo>
                    <a:pt x="89" y="10"/>
                    <a:pt x="89" y="10"/>
                    <a:pt x="89" y="10"/>
                  </a:cubicBezTo>
                  <a:cubicBezTo>
                    <a:pt x="91" y="9"/>
                    <a:pt x="97" y="6"/>
                    <a:pt x="100" y="7"/>
                  </a:cubicBezTo>
                  <a:cubicBezTo>
                    <a:pt x="100" y="7"/>
                    <a:pt x="100" y="7"/>
                    <a:pt x="100" y="7"/>
                  </a:cubicBezTo>
                  <a:cubicBezTo>
                    <a:pt x="100" y="7"/>
                    <a:pt x="101" y="7"/>
                    <a:pt x="101" y="7"/>
                  </a:cubicBezTo>
                  <a:cubicBezTo>
                    <a:pt x="101" y="7"/>
                    <a:pt x="101" y="7"/>
                    <a:pt x="101" y="7"/>
                  </a:cubicBezTo>
                  <a:cubicBezTo>
                    <a:pt x="102" y="7"/>
                    <a:pt x="103" y="8"/>
                    <a:pt x="103" y="8"/>
                  </a:cubicBezTo>
                  <a:cubicBezTo>
                    <a:pt x="103" y="8"/>
                    <a:pt x="103" y="8"/>
                    <a:pt x="103" y="8"/>
                  </a:cubicBezTo>
                  <a:cubicBezTo>
                    <a:pt x="104" y="8"/>
                    <a:pt x="104" y="8"/>
                    <a:pt x="105" y="8"/>
                  </a:cubicBezTo>
                  <a:cubicBezTo>
                    <a:pt x="105" y="8"/>
                    <a:pt x="105" y="9"/>
                    <a:pt x="105" y="9"/>
                  </a:cubicBezTo>
                  <a:cubicBezTo>
                    <a:pt x="105" y="9"/>
                    <a:pt x="105" y="9"/>
                    <a:pt x="106" y="9"/>
                  </a:cubicBezTo>
                  <a:cubicBezTo>
                    <a:pt x="106" y="9"/>
                    <a:pt x="106" y="9"/>
                    <a:pt x="106" y="9"/>
                  </a:cubicBezTo>
                  <a:cubicBezTo>
                    <a:pt x="106" y="10"/>
                    <a:pt x="107" y="10"/>
                    <a:pt x="107" y="10"/>
                  </a:cubicBezTo>
                  <a:cubicBezTo>
                    <a:pt x="107" y="10"/>
                    <a:pt x="108" y="11"/>
                    <a:pt x="108" y="11"/>
                  </a:cubicBezTo>
                  <a:cubicBezTo>
                    <a:pt x="108" y="11"/>
                    <a:pt x="108" y="11"/>
                    <a:pt x="109" y="11"/>
                  </a:cubicBezTo>
                  <a:cubicBezTo>
                    <a:pt x="110" y="12"/>
                    <a:pt x="111" y="13"/>
                    <a:pt x="112" y="14"/>
                  </a:cubicBezTo>
                  <a:cubicBezTo>
                    <a:pt x="114" y="16"/>
                    <a:pt x="116" y="19"/>
                    <a:pt x="118" y="21"/>
                  </a:cubicBezTo>
                  <a:cubicBezTo>
                    <a:pt x="119" y="22"/>
                    <a:pt x="120" y="23"/>
                    <a:pt x="122" y="24"/>
                  </a:cubicBezTo>
                  <a:cubicBezTo>
                    <a:pt x="122" y="24"/>
                    <a:pt x="122" y="24"/>
                    <a:pt x="122" y="24"/>
                  </a:cubicBezTo>
                  <a:cubicBezTo>
                    <a:pt x="123" y="25"/>
                    <a:pt x="123" y="25"/>
                    <a:pt x="123" y="26"/>
                  </a:cubicBezTo>
                  <a:cubicBezTo>
                    <a:pt x="124" y="26"/>
                    <a:pt x="124" y="26"/>
                    <a:pt x="124" y="26"/>
                  </a:cubicBezTo>
                  <a:cubicBezTo>
                    <a:pt x="124" y="26"/>
                    <a:pt x="125" y="27"/>
                    <a:pt x="125" y="27"/>
                  </a:cubicBezTo>
                  <a:cubicBezTo>
                    <a:pt x="125" y="27"/>
                    <a:pt x="125" y="27"/>
                    <a:pt x="126" y="27"/>
                  </a:cubicBezTo>
                  <a:cubicBezTo>
                    <a:pt x="126" y="27"/>
                    <a:pt x="126" y="27"/>
                    <a:pt x="126" y="28"/>
                  </a:cubicBezTo>
                  <a:cubicBezTo>
                    <a:pt x="126" y="28"/>
                    <a:pt x="127" y="28"/>
                    <a:pt x="127" y="28"/>
                  </a:cubicBezTo>
                  <a:cubicBezTo>
                    <a:pt x="131" y="30"/>
                    <a:pt x="137" y="33"/>
                    <a:pt x="143" y="31"/>
                  </a:cubicBezTo>
                  <a:cubicBezTo>
                    <a:pt x="144" y="31"/>
                    <a:pt x="146" y="31"/>
                    <a:pt x="147" y="30"/>
                  </a:cubicBezTo>
                  <a:cubicBezTo>
                    <a:pt x="150" y="29"/>
                    <a:pt x="154" y="29"/>
                    <a:pt x="157" y="28"/>
                  </a:cubicBezTo>
                  <a:cubicBezTo>
                    <a:pt x="157" y="28"/>
                    <a:pt x="157" y="28"/>
                    <a:pt x="157" y="28"/>
                  </a:cubicBezTo>
                  <a:cubicBezTo>
                    <a:pt x="157" y="29"/>
                    <a:pt x="156" y="29"/>
                    <a:pt x="155" y="30"/>
                  </a:cubicBezTo>
                  <a:cubicBezTo>
                    <a:pt x="155" y="30"/>
                    <a:pt x="155" y="31"/>
                    <a:pt x="155" y="31"/>
                  </a:cubicBezTo>
                  <a:cubicBezTo>
                    <a:pt x="154" y="32"/>
                    <a:pt x="153" y="33"/>
                    <a:pt x="152" y="34"/>
                  </a:cubicBezTo>
                  <a:cubicBezTo>
                    <a:pt x="152" y="34"/>
                    <a:pt x="152" y="34"/>
                    <a:pt x="152" y="35"/>
                  </a:cubicBezTo>
                  <a:cubicBezTo>
                    <a:pt x="152" y="35"/>
                    <a:pt x="152" y="35"/>
                    <a:pt x="151" y="35"/>
                  </a:cubicBezTo>
                  <a:cubicBezTo>
                    <a:pt x="151" y="35"/>
                    <a:pt x="151" y="36"/>
                    <a:pt x="150" y="36"/>
                  </a:cubicBezTo>
                  <a:cubicBezTo>
                    <a:pt x="150" y="37"/>
                    <a:pt x="149" y="37"/>
                    <a:pt x="148" y="38"/>
                  </a:cubicBezTo>
                  <a:cubicBezTo>
                    <a:pt x="148" y="38"/>
                    <a:pt x="148" y="38"/>
                    <a:pt x="148" y="38"/>
                  </a:cubicBezTo>
                  <a:cubicBezTo>
                    <a:pt x="147" y="39"/>
                    <a:pt x="146" y="41"/>
                    <a:pt x="145" y="42"/>
                  </a:cubicBezTo>
                  <a:cubicBezTo>
                    <a:pt x="145" y="42"/>
                    <a:pt x="145" y="42"/>
                    <a:pt x="145" y="42"/>
                  </a:cubicBezTo>
                  <a:cubicBezTo>
                    <a:pt x="144" y="43"/>
                    <a:pt x="143" y="44"/>
                    <a:pt x="142" y="45"/>
                  </a:cubicBezTo>
                  <a:cubicBezTo>
                    <a:pt x="141" y="45"/>
                    <a:pt x="141" y="46"/>
                    <a:pt x="141" y="46"/>
                  </a:cubicBezTo>
                  <a:cubicBezTo>
                    <a:pt x="140" y="47"/>
                    <a:pt x="139" y="48"/>
                    <a:pt x="138" y="49"/>
                  </a:cubicBezTo>
                  <a:cubicBezTo>
                    <a:pt x="138" y="49"/>
                    <a:pt x="138" y="49"/>
                    <a:pt x="138" y="50"/>
                  </a:cubicBezTo>
                  <a:cubicBezTo>
                    <a:pt x="137" y="51"/>
                    <a:pt x="136" y="52"/>
                    <a:pt x="135" y="53"/>
                  </a:cubicBezTo>
                  <a:cubicBezTo>
                    <a:pt x="135" y="53"/>
                    <a:pt x="135" y="53"/>
                    <a:pt x="135" y="53"/>
                  </a:cubicBezTo>
                  <a:cubicBezTo>
                    <a:pt x="134" y="54"/>
                    <a:pt x="133" y="55"/>
                    <a:pt x="132" y="56"/>
                  </a:cubicBezTo>
                  <a:cubicBezTo>
                    <a:pt x="132" y="56"/>
                    <a:pt x="132" y="56"/>
                    <a:pt x="132" y="56"/>
                  </a:cubicBezTo>
                  <a:cubicBezTo>
                    <a:pt x="132" y="56"/>
                    <a:pt x="131" y="57"/>
                    <a:pt x="131" y="57"/>
                  </a:cubicBezTo>
                  <a:cubicBezTo>
                    <a:pt x="131" y="57"/>
                    <a:pt x="131" y="57"/>
                    <a:pt x="131" y="57"/>
                  </a:cubicBezTo>
                  <a:cubicBezTo>
                    <a:pt x="130" y="58"/>
                    <a:pt x="129" y="59"/>
                    <a:pt x="128" y="60"/>
                  </a:cubicBezTo>
                  <a:cubicBezTo>
                    <a:pt x="128" y="61"/>
                    <a:pt x="128" y="61"/>
                    <a:pt x="128" y="61"/>
                  </a:cubicBezTo>
                  <a:cubicBezTo>
                    <a:pt x="127" y="61"/>
                    <a:pt x="127" y="62"/>
                    <a:pt x="127" y="62"/>
                  </a:cubicBezTo>
                  <a:cubicBezTo>
                    <a:pt x="127" y="66"/>
                    <a:pt x="127" y="69"/>
                    <a:pt x="127" y="73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</a:ln>
            <a:effectLst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64800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4000" b="1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0000"/>
                </a:solidFill>
                <a:latin typeface="UKIJ Qolyazma" pitchFamily="18" charset="0"/>
                <a:cs typeface="UKIJ Qolyazma" pitchFamily="18" charset="0"/>
              </a:endParaRPr>
            </a:p>
          </p:txBody>
        </p:sp>
        <p:sp>
          <p:nvSpPr>
            <p:cNvPr id="92" name="Freeform 11">
              <a:extLst>
                <a:ext uri="{FF2B5EF4-FFF2-40B4-BE49-F238E27FC236}">
                  <a16:creationId xmlns:a16="http://schemas.microsoft.com/office/drawing/2014/main" id="{7BAC7217-9BD8-0C98-0E38-AD73D9808650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4818" y="1740317"/>
              <a:ext cx="783326" cy="498199"/>
            </a:xfrm>
            <a:custGeom>
              <a:avLst/>
              <a:gdLst>
                <a:gd name="T0" fmla="*/ 334 w 360"/>
                <a:gd name="T1" fmla="*/ 174 h 229"/>
                <a:gd name="T2" fmla="*/ 327 w 360"/>
                <a:gd name="T3" fmla="*/ 178 h 229"/>
                <a:gd name="T4" fmla="*/ 321 w 360"/>
                <a:gd name="T5" fmla="*/ 182 h 229"/>
                <a:gd name="T6" fmla="*/ 315 w 360"/>
                <a:gd name="T7" fmla="*/ 178 h 229"/>
                <a:gd name="T8" fmla="*/ 290 w 360"/>
                <a:gd name="T9" fmla="*/ 173 h 229"/>
                <a:gd name="T10" fmla="*/ 282 w 360"/>
                <a:gd name="T11" fmla="*/ 181 h 229"/>
                <a:gd name="T12" fmla="*/ 279 w 360"/>
                <a:gd name="T13" fmla="*/ 189 h 229"/>
                <a:gd name="T14" fmla="*/ 276 w 360"/>
                <a:gd name="T15" fmla="*/ 196 h 229"/>
                <a:gd name="T16" fmla="*/ 273 w 360"/>
                <a:gd name="T17" fmla="*/ 203 h 229"/>
                <a:gd name="T18" fmla="*/ 264 w 360"/>
                <a:gd name="T19" fmla="*/ 208 h 229"/>
                <a:gd name="T20" fmla="*/ 253 w 360"/>
                <a:gd name="T21" fmla="*/ 215 h 229"/>
                <a:gd name="T22" fmla="*/ 241 w 360"/>
                <a:gd name="T23" fmla="*/ 226 h 229"/>
                <a:gd name="T24" fmla="*/ 159 w 360"/>
                <a:gd name="T25" fmla="*/ 227 h 229"/>
                <a:gd name="T26" fmla="*/ 156 w 360"/>
                <a:gd name="T27" fmla="*/ 218 h 229"/>
                <a:gd name="T28" fmla="*/ 152 w 360"/>
                <a:gd name="T29" fmla="*/ 209 h 229"/>
                <a:gd name="T30" fmla="*/ 149 w 360"/>
                <a:gd name="T31" fmla="*/ 202 h 229"/>
                <a:gd name="T32" fmla="*/ 146 w 360"/>
                <a:gd name="T33" fmla="*/ 195 h 229"/>
                <a:gd name="T34" fmla="*/ 143 w 360"/>
                <a:gd name="T35" fmla="*/ 188 h 229"/>
                <a:gd name="T36" fmla="*/ 133 w 360"/>
                <a:gd name="T37" fmla="*/ 179 h 229"/>
                <a:gd name="T38" fmla="*/ 127 w 360"/>
                <a:gd name="T39" fmla="*/ 174 h 229"/>
                <a:gd name="T40" fmla="*/ 120 w 360"/>
                <a:gd name="T41" fmla="*/ 169 h 229"/>
                <a:gd name="T42" fmla="*/ 113 w 360"/>
                <a:gd name="T43" fmla="*/ 164 h 229"/>
                <a:gd name="T44" fmla="*/ 60 w 360"/>
                <a:gd name="T45" fmla="*/ 148 h 229"/>
                <a:gd name="T46" fmla="*/ 52 w 360"/>
                <a:gd name="T47" fmla="*/ 151 h 229"/>
                <a:gd name="T48" fmla="*/ 45 w 360"/>
                <a:gd name="T49" fmla="*/ 153 h 229"/>
                <a:gd name="T50" fmla="*/ 36 w 360"/>
                <a:gd name="T51" fmla="*/ 157 h 229"/>
                <a:gd name="T52" fmla="*/ 30 w 360"/>
                <a:gd name="T53" fmla="*/ 159 h 229"/>
                <a:gd name="T54" fmla="*/ 22 w 360"/>
                <a:gd name="T55" fmla="*/ 163 h 229"/>
                <a:gd name="T56" fmla="*/ 15 w 360"/>
                <a:gd name="T57" fmla="*/ 166 h 229"/>
                <a:gd name="T58" fmla="*/ 1 w 360"/>
                <a:gd name="T59" fmla="*/ 154 h 229"/>
                <a:gd name="T60" fmla="*/ 2 w 360"/>
                <a:gd name="T61" fmla="*/ 147 h 229"/>
                <a:gd name="T62" fmla="*/ 6 w 360"/>
                <a:gd name="T63" fmla="*/ 139 h 229"/>
                <a:gd name="T64" fmla="*/ 14 w 360"/>
                <a:gd name="T65" fmla="*/ 134 h 229"/>
                <a:gd name="T66" fmla="*/ 23 w 360"/>
                <a:gd name="T67" fmla="*/ 129 h 229"/>
                <a:gd name="T68" fmla="*/ 34 w 360"/>
                <a:gd name="T69" fmla="*/ 120 h 229"/>
                <a:gd name="T70" fmla="*/ 37 w 360"/>
                <a:gd name="T71" fmla="*/ 112 h 229"/>
                <a:gd name="T72" fmla="*/ 59 w 360"/>
                <a:gd name="T73" fmla="*/ 105 h 229"/>
                <a:gd name="T74" fmla="*/ 79 w 360"/>
                <a:gd name="T75" fmla="*/ 84 h 229"/>
                <a:gd name="T76" fmla="*/ 120 w 360"/>
                <a:gd name="T77" fmla="*/ 65 h 229"/>
                <a:gd name="T78" fmla="*/ 129 w 360"/>
                <a:gd name="T79" fmla="*/ 61 h 229"/>
                <a:gd name="T80" fmla="*/ 137 w 360"/>
                <a:gd name="T81" fmla="*/ 54 h 229"/>
                <a:gd name="T82" fmla="*/ 147 w 360"/>
                <a:gd name="T83" fmla="*/ 50 h 229"/>
                <a:gd name="T84" fmla="*/ 162 w 360"/>
                <a:gd name="T85" fmla="*/ 48 h 229"/>
                <a:gd name="T86" fmla="*/ 171 w 360"/>
                <a:gd name="T87" fmla="*/ 45 h 229"/>
                <a:gd name="T88" fmla="*/ 190 w 360"/>
                <a:gd name="T89" fmla="*/ 32 h 229"/>
                <a:gd name="T90" fmla="*/ 199 w 360"/>
                <a:gd name="T91" fmla="*/ 28 h 229"/>
                <a:gd name="T92" fmla="*/ 207 w 360"/>
                <a:gd name="T93" fmla="*/ 21 h 229"/>
                <a:gd name="T94" fmla="*/ 218 w 360"/>
                <a:gd name="T95" fmla="*/ 12 h 229"/>
                <a:gd name="T96" fmla="*/ 233 w 360"/>
                <a:gd name="T97" fmla="*/ 4 h 229"/>
                <a:gd name="T98" fmla="*/ 270 w 360"/>
                <a:gd name="T99" fmla="*/ 10 h 229"/>
                <a:gd name="T100" fmla="*/ 280 w 360"/>
                <a:gd name="T101" fmla="*/ 6 h 229"/>
                <a:gd name="T102" fmla="*/ 296 w 360"/>
                <a:gd name="T103" fmla="*/ 2 h 229"/>
                <a:gd name="T104" fmla="*/ 306 w 360"/>
                <a:gd name="T105" fmla="*/ 11 h 229"/>
                <a:gd name="T106" fmla="*/ 316 w 360"/>
                <a:gd name="T107" fmla="*/ 28 h 229"/>
                <a:gd name="T108" fmla="*/ 318 w 360"/>
                <a:gd name="T109" fmla="*/ 41 h 229"/>
                <a:gd name="T110" fmla="*/ 322 w 360"/>
                <a:gd name="T111" fmla="*/ 70 h 229"/>
                <a:gd name="T112" fmla="*/ 327 w 360"/>
                <a:gd name="T113" fmla="*/ 92 h 229"/>
                <a:gd name="T114" fmla="*/ 332 w 360"/>
                <a:gd name="T115" fmla="*/ 116 h 229"/>
                <a:gd name="T116" fmla="*/ 335 w 360"/>
                <a:gd name="T117" fmla="*/ 123 h 229"/>
                <a:gd name="T118" fmla="*/ 349 w 360"/>
                <a:gd name="T119" fmla="*/ 141 h 229"/>
                <a:gd name="T120" fmla="*/ 353 w 360"/>
                <a:gd name="T121" fmla="*/ 152 h 229"/>
                <a:gd name="T122" fmla="*/ 356 w 360"/>
                <a:gd name="T123" fmla="*/ 161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0" h="229">
                  <a:moveTo>
                    <a:pt x="360" y="171"/>
                  </a:moveTo>
                  <a:cubicBezTo>
                    <a:pt x="353" y="171"/>
                    <a:pt x="347" y="171"/>
                    <a:pt x="341" y="171"/>
                  </a:cubicBezTo>
                  <a:cubicBezTo>
                    <a:pt x="341" y="171"/>
                    <a:pt x="341" y="171"/>
                    <a:pt x="341" y="171"/>
                  </a:cubicBezTo>
                  <a:cubicBezTo>
                    <a:pt x="341" y="171"/>
                    <a:pt x="340" y="171"/>
                    <a:pt x="340" y="171"/>
                  </a:cubicBezTo>
                  <a:cubicBezTo>
                    <a:pt x="339" y="171"/>
                    <a:pt x="339" y="172"/>
                    <a:pt x="339" y="172"/>
                  </a:cubicBezTo>
                  <a:cubicBezTo>
                    <a:pt x="339" y="172"/>
                    <a:pt x="338" y="172"/>
                    <a:pt x="337" y="173"/>
                  </a:cubicBezTo>
                  <a:cubicBezTo>
                    <a:pt x="337" y="173"/>
                    <a:pt x="337" y="173"/>
                    <a:pt x="337" y="173"/>
                  </a:cubicBezTo>
                  <a:cubicBezTo>
                    <a:pt x="336" y="173"/>
                    <a:pt x="336" y="174"/>
                    <a:pt x="335" y="174"/>
                  </a:cubicBezTo>
                  <a:cubicBezTo>
                    <a:pt x="335" y="174"/>
                    <a:pt x="335" y="174"/>
                    <a:pt x="335" y="174"/>
                  </a:cubicBezTo>
                  <a:cubicBezTo>
                    <a:pt x="335" y="174"/>
                    <a:pt x="335" y="174"/>
                    <a:pt x="335" y="174"/>
                  </a:cubicBezTo>
                  <a:cubicBezTo>
                    <a:pt x="335" y="174"/>
                    <a:pt x="335" y="174"/>
                    <a:pt x="335" y="174"/>
                  </a:cubicBezTo>
                  <a:cubicBezTo>
                    <a:pt x="334" y="174"/>
                    <a:pt x="334" y="174"/>
                    <a:pt x="334" y="174"/>
                  </a:cubicBezTo>
                  <a:cubicBezTo>
                    <a:pt x="334" y="175"/>
                    <a:pt x="334" y="175"/>
                    <a:pt x="334" y="175"/>
                  </a:cubicBezTo>
                  <a:cubicBezTo>
                    <a:pt x="333" y="175"/>
                    <a:pt x="333" y="175"/>
                    <a:pt x="333" y="175"/>
                  </a:cubicBezTo>
                  <a:cubicBezTo>
                    <a:pt x="333" y="175"/>
                    <a:pt x="333" y="175"/>
                    <a:pt x="333" y="175"/>
                  </a:cubicBezTo>
                  <a:cubicBezTo>
                    <a:pt x="333" y="175"/>
                    <a:pt x="332" y="175"/>
                    <a:pt x="332" y="175"/>
                  </a:cubicBezTo>
                  <a:cubicBezTo>
                    <a:pt x="332" y="176"/>
                    <a:pt x="332" y="176"/>
                    <a:pt x="332" y="176"/>
                  </a:cubicBezTo>
                  <a:cubicBezTo>
                    <a:pt x="332" y="176"/>
                    <a:pt x="332" y="176"/>
                    <a:pt x="332" y="176"/>
                  </a:cubicBezTo>
                  <a:cubicBezTo>
                    <a:pt x="332" y="176"/>
                    <a:pt x="332" y="176"/>
                    <a:pt x="332" y="176"/>
                  </a:cubicBezTo>
                  <a:cubicBezTo>
                    <a:pt x="331" y="176"/>
                    <a:pt x="331" y="176"/>
                    <a:pt x="331" y="176"/>
                  </a:cubicBezTo>
                  <a:cubicBezTo>
                    <a:pt x="331" y="176"/>
                    <a:pt x="331" y="177"/>
                    <a:pt x="331" y="177"/>
                  </a:cubicBezTo>
                  <a:cubicBezTo>
                    <a:pt x="330" y="177"/>
                    <a:pt x="329" y="177"/>
                    <a:pt x="328" y="178"/>
                  </a:cubicBezTo>
                  <a:cubicBezTo>
                    <a:pt x="328" y="178"/>
                    <a:pt x="328" y="178"/>
                    <a:pt x="328" y="178"/>
                  </a:cubicBezTo>
                  <a:cubicBezTo>
                    <a:pt x="328" y="178"/>
                    <a:pt x="328" y="178"/>
                    <a:pt x="327" y="178"/>
                  </a:cubicBezTo>
                  <a:cubicBezTo>
                    <a:pt x="327" y="178"/>
                    <a:pt x="327" y="178"/>
                    <a:pt x="327" y="179"/>
                  </a:cubicBezTo>
                  <a:cubicBezTo>
                    <a:pt x="327" y="179"/>
                    <a:pt x="327" y="179"/>
                    <a:pt x="327" y="179"/>
                  </a:cubicBezTo>
                  <a:cubicBezTo>
                    <a:pt x="327" y="179"/>
                    <a:pt x="327" y="179"/>
                    <a:pt x="327" y="179"/>
                  </a:cubicBezTo>
                  <a:cubicBezTo>
                    <a:pt x="326" y="179"/>
                    <a:pt x="326" y="179"/>
                    <a:pt x="326" y="179"/>
                  </a:cubicBezTo>
                  <a:cubicBezTo>
                    <a:pt x="326" y="179"/>
                    <a:pt x="326" y="179"/>
                    <a:pt x="326" y="179"/>
                  </a:cubicBezTo>
                  <a:cubicBezTo>
                    <a:pt x="326" y="179"/>
                    <a:pt x="326" y="179"/>
                    <a:pt x="325" y="179"/>
                  </a:cubicBezTo>
                  <a:cubicBezTo>
                    <a:pt x="325" y="180"/>
                    <a:pt x="325" y="180"/>
                    <a:pt x="325" y="180"/>
                  </a:cubicBezTo>
                  <a:cubicBezTo>
                    <a:pt x="324" y="180"/>
                    <a:pt x="324" y="180"/>
                    <a:pt x="323" y="181"/>
                  </a:cubicBezTo>
                  <a:cubicBezTo>
                    <a:pt x="323" y="181"/>
                    <a:pt x="323" y="181"/>
                    <a:pt x="323" y="181"/>
                  </a:cubicBezTo>
                  <a:cubicBezTo>
                    <a:pt x="323" y="181"/>
                    <a:pt x="322" y="181"/>
                    <a:pt x="322" y="181"/>
                  </a:cubicBezTo>
                  <a:cubicBezTo>
                    <a:pt x="322" y="181"/>
                    <a:pt x="322" y="182"/>
                    <a:pt x="322" y="182"/>
                  </a:cubicBezTo>
                  <a:cubicBezTo>
                    <a:pt x="322" y="182"/>
                    <a:pt x="321" y="182"/>
                    <a:pt x="321" y="182"/>
                  </a:cubicBezTo>
                  <a:cubicBezTo>
                    <a:pt x="321" y="182"/>
                    <a:pt x="321" y="182"/>
                    <a:pt x="321" y="182"/>
                  </a:cubicBezTo>
                  <a:cubicBezTo>
                    <a:pt x="321" y="182"/>
                    <a:pt x="321" y="182"/>
                    <a:pt x="320" y="182"/>
                  </a:cubicBezTo>
                  <a:cubicBezTo>
                    <a:pt x="320" y="182"/>
                    <a:pt x="320" y="182"/>
                    <a:pt x="320" y="182"/>
                  </a:cubicBezTo>
                  <a:cubicBezTo>
                    <a:pt x="320" y="183"/>
                    <a:pt x="320" y="183"/>
                    <a:pt x="319" y="183"/>
                  </a:cubicBezTo>
                  <a:cubicBezTo>
                    <a:pt x="319" y="182"/>
                    <a:pt x="319" y="182"/>
                    <a:pt x="318" y="181"/>
                  </a:cubicBezTo>
                  <a:cubicBezTo>
                    <a:pt x="318" y="181"/>
                    <a:pt x="318" y="181"/>
                    <a:pt x="318" y="181"/>
                  </a:cubicBezTo>
                  <a:cubicBezTo>
                    <a:pt x="318" y="181"/>
                    <a:pt x="318" y="181"/>
                    <a:pt x="318" y="180"/>
                  </a:cubicBezTo>
                  <a:cubicBezTo>
                    <a:pt x="318" y="180"/>
                    <a:pt x="317" y="180"/>
                    <a:pt x="317" y="180"/>
                  </a:cubicBezTo>
                  <a:cubicBezTo>
                    <a:pt x="317" y="180"/>
                    <a:pt x="317" y="180"/>
                    <a:pt x="317" y="180"/>
                  </a:cubicBezTo>
                  <a:cubicBezTo>
                    <a:pt x="317" y="180"/>
                    <a:pt x="317" y="179"/>
                    <a:pt x="317" y="179"/>
                  </a:cubicBezTo>
                  <a:cubicBezTo>
                    <a:pt x="317" y="179"/>
                    <a:pt x="317" y="179"/>
                    <a:pt x="317" y="179"/>
                  </a:cubicBezTo>
                  <a:cubicBezTo>
                    <a:pt x="316" y="178"/>
                    <a:pt x="316" y="178"/>
                    <a:pt x="315" y="178"/>
                  </a:cubicBezTo>
                  <a:cubicBezTo>
                    <a:pt x="315" y="177"/>
                    <a:pt x="315" y="177"/>
                    <a:pt x="315" y="177"/>
                  </a:cubicBezTo>
                  <a:cubicBezTo>
                    <a:pt x="315" y="176"/>
                    <a:pt x="314" y="176"/>
                    <a:pt x="314" y="176"/>
                  </a:cubicBezTo>
                  <a:cubicBezTo>
                    <a:pt x="314" y="176"/>
                    <a:pt x="314" y="175"/>
                    <a:pt x="314" y="175"/>
                  </a:cubicBezTo>
                  <a:cubicBezTo>
                    <a:pt x="313" y="175"/>
                    <a:pt x="313" y="174"/>
                    <a:pt x="312" y="174"/>
                  </a:cubicBezTo>
                  <a:cubicBezTo>
                    <a:pt x="312" y="174"/>
                    <a:pt x="312" y="174"/>
                    <a:pt x="312" y="173"/>
                  </a:cubicBezTo>
                  <a:cubicBezTo>
                    <a:pt x="312" y="173"/>
                    <a:pt x="311" y="173"/>
                    <a:pt x="311" y="172"/>
                  </a:cubicBezTo>
                  <a:cubicBezTo>
                    <a:pt x="311" y="172"/>
                    <a:pt x="311" y="172"/>
                    <a:pt x="311" y="172"/>
                  </a:cubicBezTo>
                  <a:cubicBezTo>
                    <a:pt x="310" y="171"/>
                    <a:pt x="310" y="171"/>
                    <a:pt x="310" y="171"/>
                  </a:cubicBezTo>
                  <a:cubicBezTo>
                    <a:pt x="309" y="170"/>
                    <a:pt x="309" y="170"/>
                    <a:pt x="309" y="169"/>
                  </a:cubicBezTo>
                  <a:cubicBezTo>
                    <a:pt x="309" y="169"/>
                    <a:pt x="308" y="169"/>
                    <a:pt x="308" y="169"/>
                  </a:cubicBezTo>
                  <a:cubicBezTo>
                    <a:pt x="307" y="170"/>
                    <a:pt x="305" y="170"/>
                    <a:pt x="304" y="170"/>
                  </a:cubicBezTo>
                  <a:cubicBezTo>
                    <a:pt x="299" y="171"/>
                    <a:pt x="294" y="171"/>
                    <a:pt x="290" y="173"/>
                  </a:cubicBezTo>
                  <a:cubicBezTo>
                    <a:pt x="289" y="173"/>
                    <a:pt x="287" y="173"/>
                    <a:pt x="286" y="173"/>
                  </a:cubicBezTo>
                  <a:cubicBezTo>
                    <a:pt x="285" y="174"/>
                    <a:pt x="285" y="175"/>
                    <a:pt x="285" y="176"/>
                  </a:cubicBezTo>
                  <a:cubicBezTo>
                    <a:pt x="285" y="176"/>
                    <a:pt x="284" y="176"/>
                    <a:pt x="284" y="176"/>
                  </a:cubicBezTo>
                  <a:cubicBezTo>
                    <a:pt x="284" y="176"/>
                    <a:pt x="284" y="176"/>
                    <a:pt x="284" y="176"/>
                  </a:cubicBezTo>
                  <a:cubicBezTo>
                    <a:pt x="284" y="176"/>
                    <a:pt x="284" y="176"/>
                    <a:pt x="284" y="176"/>
                  </a:cubicBezTo>
                  <a:cubicBezTo>
                    <a:pt x="284" y="177"/>
                    <a:pt x="284" y="177"/>
                    <a:pt x="284" y="178"/>
                  </a:cubicBezTo>
                  <a:cubicBezTo>
                    <a:pt x="284" y="178"/>
                    <a:pt x="283" y="178"/>
                    <a:pt x="283" y="178"/>
                  </a:cubicBezTo>
                  <a:cubicBezTo>
                    <a:pt x="283" y="178"/>
                    <a:pt x="283" y="179"/>
                    <a:pt x="283" y="179"/>
                  </a:cubicBezTo>
                  <a:cubicBezTo>
                    <a:pt x="283" y="179"/>
                    <a:pt x="283" y="179"/>
                    <a:pt x="283" y="179"/>
                  </a:cubicBezTo>
                  <a:cubicBezTo>
                    <a:pt x="283" y="179"/>
                    <a:pt x="283" y="180"/>
                    <a:pt x="283" y="180"/>
                  </a:cubicBezTo>
                  <a:cubicBezTo>
                    <a:pt x="282" y="180"/>
                    <a:pt x="282" y="180"/>
                    <a:pt x="282" y="180"/>
                  </a:cubicBezTo>
                  <a:cubicBezTo>
                    <a:pt x="282" y="181"/>
                    <a:pt x="282" y="181"/>
                    <a:pt x="282" y="181"/>
                  </a:cubicBezTo>
                  <a:cubicBezTo>
                    <a:pt x="282" y="181"/>
                    <a:pt x="282" y="181"/>
                    <a:pt x="282" y="181"/>
                  </a:cubicBezTo>
                  <a:cubicBezTo>
                    <a:pt x="282" y="182"/>
                    <a:pt x="282" y="182"/>
                    <a:pt x="282" y="183"/>
                  </a:cubicBezTo>
                  <a:cubicBezTo>
                    <a:pt x="281" y="183"/>
                    <a:pt x="281" y="183"/>
                    <a:pt x="281" y="183"/>
                  </a:cubicBezTo>
                  <a:cubicBezTo>
                    <a:pt x="281" y="183"/>
                    <a:pt x="281" y="183"/>
                    <a:pt x="281" y="184"/>
                  </a:cubicBezTo>
                  <a:cubicBezTo>
                    <a:pt x="281" y="184"/>
                    <a:pt x="281" y="184"/>
                    <a:pt x="281" y="184"/>
                  </a:cubicBezTo>
                  <a:cubicBezTo>
                    <a:pt x="281" y="184"/>
                    <a:pt x="281" y="185"/>
                    <a:pt x="281" y="185"/>
                  </a:cubicBezTo>
                  <a:cubicBezTo>
                    <a:pt x="280" y="185"/>
                    <a:pt x="280" y="185"/>
                    <a:pt x="280" y="185"/>
                  </a:cubicBezTo>
                  <a:cubicBezTo>
                    <a:pt x="280" y="186"/>
                    <a:pt x="280" y="186"/>
                    <a:pt x="280" y="186"/>
                  </a:cubicBezTo>
                  <a:cubicBezTo>
                    <a:pt x="280" y="186"/>
                    <a:pt x="280" y="186"/>
                    <a:pt x="280" y="186"/>
                  </a:cubicBezTo>
                  <a:cubicBezTo>
                    <a:pt x="280" y="187"/>
                    <a:pt x="280" y="187"/>
                    <a:pt x="279" y="188"/>
                  </a:cubicBezTo>
                  <a:cubicBezTo>
                    <a:pt x="279" y="188"/>
                    <a:pt x="279" y="188"/>
                    <a:pt x="279" y="188"/>
                  </a:cubicBezTo>
                  <a:cubicBezTo>
                    <a:pt x="279" y="188"/>
                    <a:pt x="279" y="188"/>
                    <a:pt x="279" y="189"/>
                  </a:cubicBezTo>
                  <a:cubicBezTo>
                    <a:pt x="279" y="189"/>
                    <a:pt x="279" y="189"/>
                    <a:pt x="279" y="189"/>
                  </a:cubicBezTo>
                  <a:cubicBezTo>
                    <a:pt x="279" y="189"/>
                    <a:pt x="279" y="190"/>
                    <a:pt x="278" y="190"/>
                  </a:cubicBezTo>
                  <a:cubicBezTo>
                    <a:pt x="278" y="190"/>
                    <a:pt x="278" y="190"/>
                    <a:pt x="278" y="190"/>
                  </a:cubicBezTo>
                  <a:cubicBezTo>
                    <a:pt x="278" y="190"/>
                    <a:pt x="278" y="191"/>
                    <a:pt x="278" y="191"/>
                  </a:cubicBezTo>
                  <a:cubicBezTo>
                    <a:pt x="278" y="191"/>
                    <a:pt x="278" y="191"/>
                    <a:pt x="278" y="191"/>
                  </a:cubicBezTo>
                  <a:cubicBezTo>
                    <a:pt x="278" y="192"/>
                    <a:pt x="277" y="192"/>
                    <a:pt x="277" y="193"/>
                  </a:cubicBezTo>
                  <a:cubicBezTo>
                    <a:pt x="277" y="193"/>
                    <a:pt x="277" y="193"/>
                    <a:pt x="277" y="193"/>
                  </a:cubicBezTo>
                  <a:cubicBezTo>
                    <a:pt x="277" y="193"/>
                    <a:pt x="277" y="193"/>
                    <a:pt x="277" y="194"/>
                  </a:cubicBezTo>
                  <a:cubicBezTo>
                    <a:pt x="277" y="194"/>
                    <a:pt x="277" y="194"/>
                    <a:pt x="277" y="194"/>
                  </a:cubicBezTo>
                  <a:cubicBezTo>
                    <a:pt x="277" y="194"/>
                    <a:pt x="276" y="195"/>
                    <a:pt x="276" y="195"/>
                  </a:cubicBezTo>
                  <a:cubicBezTo>
                    <a:pt x="276" y="195"/>
                    <a:pt x="276" y="195"/>
                    <a:pt x="276" y="195"/>
                  </a:cubicBezTo>
                  <a:cubicBezTo>
                    <a:pt x="276" y="195"/>
                    <a:pt x="276" y="196"/>
                    <a:pt x="276" y="196"/>
                  </a:cubicBezTo>
                  <a:cubicBezTo>
                    <a:pt x="276" y="196"/>
                    <a:pt x="276" y="196"/>
                    <a:pt x="276" y="196"/>
                  </a:cubicBezTo>
                  <a:cubicBezTo>
                    <a:pt x="275" y="197"/>
                    <a:pt x="275" y="197"/>
                    <a:pt x="275" y="197"/>
                  </a:cubicBezTo>
                  <a:cubicBezTo>
                    <a:pt x="275" y="197"/>
                    <a:pt x="275" y="197"/>
                    <a:pt x="275" y="197"/>
                  </a:cubicBezTo>
                  <a:cubicBezTo>
                    <a:pt x="275" y="198"/>
                    <a:pt x="275" y="198"/>
                    <a:pt x="275" y="199"/>
                  </a:cubicBezTo>
                  <a:cubicBezTo>
                    <a:pt x="275" y="199"/>
                    <a:pt x="275" y="199"/>
                    <a:pt x="275" y="199"/>
                  </a:cubicBezTo>
                  <a:cubicBezTo>
                    <a:pt x="274" y="199"/>
                    <a:pt x="274" y="199"/>
                    <a:pt x="274" y="200"/>
                  </a:cubicBezTo>
                  <a:cubicBezTo>
                    <a:pt x="274" y="200"/>
                    <a:pt x="274" y="200"/>
                    <a:pt x="274" y="200"/>
                  </a:cubicBezTo>
                  <a:cubicBezTo>
                    <a:pt x="274" y="200"/>
                    <a:pt x="274" y="201"/>
                    <a:pt x="274" y="201"/>
                  </a:cubicBezTo>
                  <a:cubicBezTo>
                    <a:pt x="274" y="201"/>
                    <a:pt x="274" y="201"/>
                    <a:pt x="274" y="201"/>
                  </a:cubicBezTo>
                  <a:cubicBezTo>
                    <a:pt x="274" y="201"/>
                    <a:pt x="274" y="201"/>
                    <a:pt x="274" y="202"/>
                  </a:cubicBezTo>
                  <a:cubicBezTo>
                    <a:pt x="273" y="202"/>
                    <a:pt x="273" y="202"/>
                    <a:pt x="273" y="202"/>
                  </a:cubicBezTo>
                  <a:cubicBezTo>
                    <a:pt x="273" y="202"/>
                    <a:pt x="273" y="203"/>
                    <a:pt x="273" y="203"/>
                  </a:cubicBezTo>
                  <a:cubicBezTo>
                    <a:pt x="273" y="203"/>
                    <a:pt x="273" y="203"/>
                    <a:pt x="272" y="203"/>
                  </a:cubicBezTo>
                  <a:cubicBezTo>
                    <a:pt x="272" y="204"/>
                    <a:pt x="272" y="204"/>
                    <a:pt x="272" y="204"/>
                  </a:cubicBezTo>
                  <a:cubicBezTo>
                    <a:pt x="271" y="205"/>
                    <a:pt x="270" y="205"/>
                    <a:pt x="269" y="205"/>
                  </a:cubicBezTo>
                  <a:cubicBezTo>
                    <a:pt x="269" y="205"/>
                    <a:pt x="269" y="205"/>
                    <a:pt x="269" y="206"/>
                  </a:cubicBezTo>
                  <a:cubicBezTo>
                    <a:pt x="269" y="206"/>
                    <a:pt x="268" y="206"/>
                    <a:pt x="268" y="206"/>
                  </a:cubicBezTo>
                  <a:cubicBezTo>
                    <a:pt x="268" y="206"/>
                    <a:pt x="268" y="206"/>
                    <a:pt x="268" y="206"/>
                  </a:cubicBezTo>
                  <a:cubicBezTo>
                    <a:pt x="267" y="206"/>
                    <a:pt x="267" y="206"/>
                    <a:pt x="267" y="206"/>
                  </a:cubicBezTo>
                  <a:cubicBezTo>
                    <a:pt x="267" y="206"/>
                    <a:pt x="267" y="206"/>
                    <a:pt x="267" y="207"/>
                  </a:cubicBezTo>
                  <a:cubicBezTo>
                    <a:pt x="266" y="207"/>
                    <a:pt x="266" y="207"/>
                    <a:pt x="266" y="207"/>
                  </a:cubicBezTo>
                  <a:cubicBezTo>
                    <a:pt x="266" y="207"/>
                    <a:pt x="266" y="207"/>
                    <a:pt x="266" y="207"/>
                  </a:cubicBezTo>
                  <a:cubicBezTo>
                    <a:pt x="265" y="207"/>
                    <a:pt x="264" y="207"/>
                    <a:pt x="264" y="207"/>
                  </a:cubicBezTo>
                  <a:cubicBezTo>
                    <a:pt x="264" y="207"/>
                    <a:pt x="264" y="208"/>
                    <a:pt x="264" y="208"/>
                  </a:cubicBezTo>
                  <a:cubicBezTo>
                    <a:pt x="263" y="208"/>
                    <a:pt x="263" y="208"/>
                    <a:pt x="263" y="208"/>
                  </a:cubicBezTo>
                  <a:cubicBezTo>
                    <a:pt x="263" y="208"/>
                    <a:pt x="263" y="208"/>
                    <a:pt x="263" y="208"/>
                  </a:cubicBezTo>
                  <a:cubicBezTo>
                    <a:pt x="263" y="208"/>
                    <a:pt x="262" y="208"/>
                    <a:pt x="262" y="208"/>
                  </a:cubicBezTo>
                  <a:cubicBezTo>
                    <a:pt x="262" y="208"/>
                    <a:pt x="262" y="208"/>
                    <a:pt x="262" y="208"/>
                  </a:cubicBezTo>
                  <a:cubicBezTo>
                    <a:pt x="262" y="208"/>
                    <a:pt x="262" y="208"/>
                    <a:pt x="261" y="208"/>
                  </a:cubicBezTo>
                  <a:cubicBezTo>
                    <a:pt x="261" y="208"/>
                    <a:pt x="261" y="209"/>
                    <a:pt x="261" y="209"/>
                  </a:cubicBezTo>
                  <a:cubicBezTo>
                    <a:pt x="260" y="209"/>
                    <a:pt x="258" y="210"/>
                    <a:pt x="256" y="210"/>
                  </a:cubicBezTo>
                  <a:cubicBezTo>
                    <a:pt x="256" y="212"/>
                    <a:pt x="255" y="212"/>
                    <a:pt x="254" y="213"/>
                  </a:cubicBezTo>
                  <a:cubicBezTo>
                    <a:pt x="254" y="213"/>
                    <a:pt x="254" y="213"/>
                    <a:pt x="254" y="213"/>
                  </a:cubicBezTo>
                  <a:cubicBezTo>
                    <a:pt x="254" y="213"/>
                    <a:pt x="254" y="213"/>
                    <a:pt x="254" y="213"/>
                  </a:cubicBezTo>
                  <a:cubicBezTo>
                    <a:pt x="254" y="214"/>
                    <a:pt x="253" y="214"/>
                    <a:pt x="253" y="214"/>
                  </a:cubicBezTo>
                  <a:cubicBezTo>
                    <a:pt x="253" y="214"/>
                    <a:pt x="253" y="214"/>
                    <a:pt x="253" y="215"/>
                  </a:cubicBezTo>
                  <a:cubicBezTo>
                    <a:pt x="253" y="215"/>
                    <a:pt x="253" y="215"/>
                    <a:pt x="253" y="215"/>
                  </a:cubicBezTo>
                  <a:cubicBezTo>
                    <a:pt x="252" y="216"/>
                    <a:pt x="251" y="216"/>
                    <a:pt x="251" y="217"/>
                  </a:cubicBezTo>
                  <a:cubicBezTo>
                    <a:pt x="251" y="217"/>
                    <a:pt x="251" y="217"/>
                    <a:pt x="251" y="217"/>
                  </a:cubicBezTo>
                  <a:cubicBezTo>
                    <a:pt x="250" y="218"/>
                    <a:pt x="250" y="218"/>
                    <a:pt x="249" y="219"/>
                  </a:cubicBezTo>
                  <a:cubicBezTo>
                    <a:pt x="249" y="219"/>
                    <a:pt x="249" y="219"/>
                    <a:pt x="249" y="220"/>
                  </a:cubicBezTo>
                  <a:cubicBezTo>
                    <a:pt x="248" y="220"/>
                    <a:pt x="248" y="220"/>
                    <a:pt x="247" y="221"/>
                  </a:cubicBezTo>
                  <a:cubicBezTo>
                    <a:pt x="247" y="221"/>
                    <a:pt x="247" y="221"/>
                    <a:pt x="247" y="222"/>
                  </a:cubicBezTo>
                  <a:cubicBezTo>
                    <a:pt x="247" y="222"/>
                    <a:pt x="246" y="223"/>
                    <a:pt x="246" y="223"/>
                  </a:cubicBezTo>
                  <a:cubicBezTo>
                    <a:pt x="246" y="223"/>
                    <a:pt x="246" y="223"/>
                    <a:pt x="246" y="224"/>
                  </a:cubicBezTo>
                  <a:cubicBezTo>
                    <a:pt x="245" y="224"/>
                    <a:pt x="244" y="225"/>
                    <a:pt x="244" y="225"/>
                  </a:cubicBezTo>
                  <a:cubicBezTo>
                    <a:pt x="244" y="225"/>
                    <a:pt x="244" y="226"/>
                    <a:pt x="243" y="226"/>
                  </a:cubicBezTo>
                  <a:cubicBezTo>
                    <a:pt x="243" y="226"/>
                    <a:pt x="242" y="226"/>
                    <a:pt x="241" y="226"/>
                  </a:cubicBezTo>
                  <a:cubicBezTo>
                    <a:pt x="241" y="226"/>
                    <a:pt x="241" y="226"/>
                    <a:pt x="241" y="226"/>
                  </a:cubicBezTo>
                  <a:cubicBezTo>
                    <a:pt x="241" y="226"/>
                    <a:pt x="240" y="226"/>
                    <a:pt x="239" y="226"/>
                  </a:cubicBezTo>
                  <a:cubicBezTo>
                    <a:pt x="237" y="225"/>
                    <a:pt x="234" y="225"/>
                    <a:pt x="233" y="224"/>
                  </a:cubicBezTo>
                  <a:cubicBezTo>
                    <a:pt x="232" y="224"/>
                    <a:pt x="231" y="224"/>
                    <a:pt x="230" y="224"/>
                  </a:cubicBezTo>
                  <a:cubicBezTo>
                    <a:pt x="226" y="223"/>
                    <a:pt x="219" y="224"/>
                    <a:pt x="213" y="224"/>
                  </a:cubicBezTo>
                  <a:cubicBezTo>
                    <a:pt x="203" y="224"/>
                    <a:pt x="191" y="223"/>
                    <a:pt x="183" y="225"/>
                  </a:cubicBezTo>
                  <a:cubicBezTo>
                    <a:pt x="181" y="225"/>
                    <a:pt x="179" y="226"/>
                    <a:pt x="177" y="226"/>
                  </a:cubicBezTo>
                  <a:cubicBezTo>
                    <a:pt x="174" y="227"/>
                    <a:pt x="169" y="227"/>
                    <a:pt x="165" y="228"/>
                  </a:cubicBezTo>
                  <a:cubicBezTo>
                    <a:pt x="163" y="228"/>
                    <a:pt x="162" y="229"/>
                    <a:pt x="160" y="229"/>
                  </a:cubicBezTo>
                  <a:cubicBezTo>
                    <a:pt x="160" y="229"/>
                    <a:pt x="160" y="229"/>
                    <a:pt x="160" y="229"/>
                  </a:cubicBezTo>
                  <a:cubicBezTo>
                    <a:pt x="160" y="229"/>
                    <a:pt x="160" y="229"/>
                    <a:pt x="160" y="229"/>
                  </a:cubicBezTo>
                  <a:cubicBezTo>
                    <a:pt x="160" y="228"/>
                    <a:pt x="160" y="227"/>
                    <a:pt x="159" y="227"/>
                  </a:cubicBezTo>
                  <a:cubicBezTo>
                    <a:pt x="159" y="227"/>
                    <a:pt x="159" y="227"/>
                    <a:pt x="159" y="227"/>
                  </a:cubicBezTo>
                  <a:cubicBezTo>
                    <a:pt x="159" y="227"/>
                    <a:pt x="159" y="226"/>
                    <a:pt x="159" y="226"/>
                  </a:cubicBezTo>
                  <a:cubicBezTo>
                    <a:pt x="159" y="226"/>
                    <a:pt x="159" y="226"/>
                    <a:pt x="159" y="226"/>
                  </a:cubicBezTo>
                  <a:cubicBezTo>
                    <a:pt x="159" y="226"/>
                    <a:pt x="159" y="225"/>
                    <a:pt x="159" y="225"/>
                  </a:cubicBezTo>
                  <a:cubicBezTo>
                    <a:pt x="159" y="225"/>
                    <a:pt x="159" y="225"/>
                    <a:pt x="158" y="225"/>
                  </a:cubicBezTo>
                  <a:cubicBezTo>
                    <a:pt x="158" y="224"/>
                    <a:pt x="158" y="223"/>
                    <a:pt x="157" y="222"/>
                  </a:cubicBezTo>
                  <a:cubicBezTo>
                    <a:pt x="157" y="222"/>
                    <a:pt x="157" y="222"/>
                    <a:pt x="157" y="222"/>
                  </a:cubicBezTo>
                  <a:cubicBezTo>
                    <a:pt x="157" y="221"/>
                    <a:pt x="157" y="221"/>
                    <a:pt x="157" y="220"/>
                  </a:cubicBezTo>
                  <a:cubicBezTo>
                    <a:pt x="157" y="220"/>
                    <a:pt x="156" y="220"/>
                    <a:pt x="156" y="220"/>
                  </a:cubicBezTo>
                  <a:cubicBezTo>
                    <a:pt x="156" y="220"/>
                    <a:pt x="156" y="220"/>
                    <a:pt x="156" y="219"/>
                  </a:cubicBezTo>
                  <a:cubicBezTo>
                    <a:pt x="156" y="219"/>
                    <a:pt x="156" y="219"/>
                    <a:pt x="156" y="219"/>
                  </a:cubicBezTo>
                  <a:cubicBezTo>
                    <a:pt x="156" y="219"/>
                    <a:pt x="156" y="218"/>
                    <a:pt x="156" y="218"/>
                  </a:cubicBezTo>
                  <a:cubicBezTo>
                    <a:pt x="156" y="218"/>
                    <a:pt x="155" y="218"/>
                    <a:pt x="155" y="218"/>
                  </a:cubicBezTo>
                  <a:cubicBezTo>
                    <a:pt x="155" y="217"/>
                    <a:pt x="155" y="215"/>
                    <a:pt x="154" y="214"/>
                  </a:cubicBezTo>
                  <a:cubicBezTo>
                    <a:pt x="154" y="214"/>
                    <a:pt x="154" y="214"/>
                    <a:pt x="154" y="214"/>
                  </a:cubicBezTo>
                  <a:cubicBezTo>
                    <a:pt x="154" y="214"/>
                    <a:pt x="154" y="214"/>
                    <a:pt x="154" y="214"/>
                  </a:cubicBezTo>
                  <a:cubicBezTo>
                    <a:pt x="154" y="214"/>
                    <a:pt x="154" y="214"/>
                    <a:pt x="154" y="214"/>
                  </a:cubicBezTo>
                  <a:cubicBezTo>
                    <a:pt x="154" y="213"/>
                    <a:pt x="154" y="213"/>
                    <a:pt x="154" y="213"/>
                  </a:cubicBezTo>
                  <a:cubicBezTo>
                    <a:pt x="153" y="213"/>
                    <a:pt x="153" y="213"/>
                    <a:pt x="153" y="213"/>
                  </a:cubicBezTo>
                  <a:cubicBezTo>
                    <a:pt x="153" y="212"/>
                    <a:pt x="153" y="212"/>
                    <a:pt x="153" y="211"/>
                  </a:cubicBezTo>
                  <a:cubicBezTo>
                    <a:pt x="153" y="211"/>
                    <a:pt x="153" y="211"/>
                    <a:pt x="153" y="211"/>
                  </a:cubicBezTo>
                  <a:cubicBezTo>
                    <a:pt x="153" y="211"/>
                    <a:pt x="153" y="210"/>
                    <a:pt x="153" y="210"/>
                  </a:cubicBezTo>
                  <a:cubicBezTo>
                    <a:pt x="152" y="210"/>
                    <a:pt x="152" y="210"/>
                    <a:pt x="152" y="210"/>
                  </a:cubicBezTo>
                  <a:cubicBezTo>
                    <a:pt x="152" y="210"/>
                    <a:pt x="152" y="210"/>
                    <a:pt x="152" y="209"/>
                  </a:cubicBezTo>
                  <a:cubicBezTo>
                    <a:pt x="152" y="209"/>
                    <a:pt x="152" y="209"/>
                    <a:pt x="152" y="209"/>
                  </a:cubicBezTo>
                  <a:cubicBezTo>
                    <a:pt x="152" y="209"/>
                    <a:pt x="152" y="209"/>
                    <a:pt x="152" y="208"/>
                  </a:cubicBezTo>
                  <a:cubicBezTo>
                    <a:pt x="152" y="208"/>
                    <a:pt x="152" y="208"/>
                    <a:pt x="151" y="208"/>
                  </a:cubicBezTo>
                  <a:cubicBezTo>
                    <a:pt x="151" y="208"/>
                    <a:pt x="151" y="207"/>
                    <a:pt x="151" y="207"/>
                  </a:cubicBezTo>
                  <a:cubicBezTo>
                    <a:pt x="151" y="207"/>
                    <a:pt x="151" y="207"/>
                    <a:pt x="151" y="207"/>
                  </a:cubicBezTo>
                  <a:cubicBezTo>
                    <a:pt x="151" y="207"/>
                    <a:pt x="151" y="206"/>
                    <a:pt x="151" y="206"/>
                  </a:cubicBezTo>
                  <a:cubicBezTo>
                    <a:pt x="151" y="206"/>
                    <a:pt x="151" y="206"/>
                    <a:pt x="150" y="206"/>
                  </a:cubicBezTo>
                  <a:cubicBezTo>
                    <a:pt x="150" y="205"/>
                    <a:pt x="150" y="205"/>
                    <a:pt x="150" y="204"/>
                  </a:cubicBezTo>
                  <a:cubicBezTo>
                    <a:pt x="150" y="204"/>
                    <a:pt x="150" y="204"/>
                    <a:pt x="150" y="204"/>
                  </a:cubicBezTo>
                  <a:cubicBezTo>
                    <a:pt x="150" y="204"/>
                    <a:pt x="149" y="203"/>
                    <a:pt x="149" y="203"/>
                  </a:cubicBezTo>
                  <a:cubicBezTo>
                    <a:pt x="149" y="203"/>
                    <a:pt x="149" y="203"/>
                    <a:pt x="149" y="203"/>
                  </a:cubicBezTo>
                  <a:cubicBezTo>
                    <a:pt x="149" y="202"/>
                    <a:pt x="149" y="202"/>
                    <a:pt x="149" y="202"/>
                  </a:cubicBezTo>
                  <a:cubicBezTo>
                    <a:pt x="149" y="202"/>
                    <a:pt x="149" y="202"/>
                    <a:pt x="149" y="202"/>
                  </a:cubicBezTo>
                  <a:cubicBezTo>
                    <a:pt x="149" y="201"/>
                    <a:pt x="148" y="201"/>
                    <a:pt x="148" y="200"/>
                  </a:cubicBezTo>
                  <a:cubicBezTo>
                    <a:pt x="148" y="200"/>
                    <a:pt x="148" y="200"/>
                    <a:pt x="148" y="200"/>
                  </a:cubicBezTo>
                  <a:cubicBezTo>
                    <a:pt x="148" y="200"/>
                    <a:pt x="148" y="200"/>
                    <a:pt x="148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7" y="199"/>
                    <a:pt x="147" y="199"/>
                    <a:pt x="147" y="199"/>
                  </a:cubicBezTo>
                  <a:cubicBezTo>
                    <a:pt x="147" y="198"/>
                    <a:pt x="147" y="198"/>
                    <a:pt x="147" y="197"/>
                  </a:cubicBezTo>
                  <a:cubicBezTo>
                    <a:pt x="147" y="197"/>
                    <a:pt x="147" y="197"/>
                    <a:pt x="147" y="197"/>
                  </a:cubicBezTo>
                  <a:cubicBezTo>
                    <a:pt x="147" y="197"/>
                    <a:pt x="147" y="197"/>
                    <a:pt x="147" y="196"/>
                  </a:cubicBezTo>
                  <a:cubicBezTo>
                    <a:pt x="146" y="196"/>
                    <a:pt x="146" y="196"/>
                    <a:pt x="146" y="196"/>
                  </a:cubicBezTo>
                  <a:cubicBezTo>
                    <a:pt x="146" y="196"/>
                    <a:pt x="146" y="195"/>
                    <a:pt x="146" y="195"/>
                  </a:cubicBezTo>
                  <a:cubicBezTo>
                    <a:pt x="146" y="195"/>
                    <a:pt x="146" y="195"/>
                    <a:pt x="146" y="195"/>
                  </a:cubicBezTo>
                  <a:cubicBezTo>
                    <a:pt x="146" y="195"/>
                    <a:pt x="146" y="194"/>
                    <a:pt x="146" y="194"/>
                  </a:cubicBezTo>
                  <a:cubicBezTo>
                    <a:pt x="145" y="194"/>
                    <a:pt x="145" y="194"/>
                    <a:pt x="145" y="194"/>
                  </a:cubicBezTo>
                  <a:cubicBezTo>
                    <a:pt x="145" y="193"/>
                    <a:pt x="145" y="193"/>
                    <a:pt x="145" y="193"/>
                  </a:cubicBezTo>
                  <a:cubicBezTo>
                    <a:pt x="145" y="193"/>
                    <a:pt x="145" y="193"/>
                    <a:pt x="145" y="193"/>
                  </a:cubicBezTo>
                  <a:cubicBezTo>
                    <a:pt x="145" y="192"/>
                    <a:pt x="145" y="192"/>
                    <a:pt x="145" y="192"/>
                  </a:cubicBezTo>
                  <a:cubicBezTo>
                    <a:pt x="145" y="192"/>
                    <a:pt x="145" y="192"/>
                    <a:pt x="144" y="192"/>
                  </a:cubicBezTo>
                  <a:cubicBezTo>
                    <a:pt x="144" y="192"/>
                    <a:pt x="144" y="191"/>
                    <a:pt x="144" y="191"/>
                  </a:cubicBezTo>
                  <a:cubicBezTo>
                    <a:pt x="144" y="191"/>
                    <a:pt x="144" y="191"/>
                    <a:pt x="144" y="191"/>
                  </a:cubicBezTo>
                  <a:cubicBezTo>
                    <a:pt x="144" y="190"/>
                    <a:pt x="144" y="190"/>
                    <a:pt x="144" y="189"/>
                  </a:cubicBezTo>
                  <a:cubicBezTo>
                    <a:pt x="144" y="189"/>
                    <a:pt x="144" y="189"/>
                    <a:pt x="143" y="189"/>
                  </a:cubicBezTo>
                  <a:cubicBezTo>
                    <a:pt x="143" y="189"/>
                    <a:pt x="143" y="188"/>
                    <a:pt x="143" y="188"/>
                  </a:cubicBezTo>
                  <a:cubicBezTo>
                    <a:pt x="143" y="188"/>
                    <a:pt x="143" y="188"/>
                    <a:pt x="143" y="188"/>
                  </a:cubicBezTo>
                  <a:cubicBezTo>
                    <a:pt x="142" y="187"/>
                    <a:pt x="142" y="186"/>
                    <a:pt x="142" y="185"/>
                  </a:cubicBezTo>
                  <a:cubicBezTo>
                    <a:pt x="141" y="184"/>
                    <a:pt x="140" y="183"/>
                    <a:pt x="139" y="183"/>
                  </a:cubicBezTo>
                  <a:cubicBezTo>
                    <a:pt x="138" y="183"/>
                    <a:pt x="138" y="182"/>
                    <a:pt x="138" y="182"/>
                  </a:cubicBezTo>
                  <a:cubicBezTo>
                    <a:pt x="138" y="182"/>
                    <a:pt x="138" y="182"/>
                    <a:pt x="137" y="182"/>
                  </a:cubicBezTo>
                  <a:cubicBezTo>
                    <a:pt x="137" y="182"/>
                    <a:pt x="137" y="181"/>
                    <a:pt x="137" y="181"/>
                  </a:cubicBezTo>
                  <a:cubicBezTo>
                    <a:pt x="137" y="181"/>
                    <a:pt x="136" y="181"/>
                    <a:pt x="136" y="181"/>
                  </a:cubicBezTo>
                  <a:cubicBezTo>
                    <a:pt x="136" y="181"/>
                    <a:pt x="136" y="181"/>
                    <a:pt x="136" y="181"/>
                  </a:cubicBezTo>
                  <a:cubicBezTo>
                    <a:pt x="136" y="181"/>
                    <a:pt x="135" y="180"/>
                    <a:pt x="135" y="180"/>
                  </a:cubicBezTo>
                  <a:cubicBezTo>
                    <a:pt x="135" y="180"/>
                    <a:pt x="135" y="180"/>
                    <a:pt x="135" y="180"/>
                  </a:cubicBezTo>
                  <a:cubicBezTo>
                    <a:pt x="134" y="180"/>
                    <a:pt x="134" y="180"/>
                    <a:pt x="134" y="180"/>
                  </a:cubicBezTo>
                  <a:cubicBezTo>
                    <a:pt x="134" y="179"/>
                    <a:pt x="134" y="179"/>
                    <a:pt x="133" y="179"/>
                  </a:cubicBezTo>
                  <a:cubicBezTo>
                    <a:pt x="133" y="179"/>
                    <a:pt x="133" y="179"/>
                    <a:pt x="133" y="179"/>
                  </a:cubicBezTo>
                  <a:cubicBezTo>
                    <a:pt x="133" y="178"/>
                    <a:pt x="133" y="178"/>
                    <a:pt x="133" y="178"/>
                  </a:cubicBezTo>
                  <a:cubicBezTo>
                    <a:pt x="132" y="178"/>
                    <a:pt x="132" y="178"/>
                    <a:pt x="132" y="178"/>
                  </a:cubicBezTo>
                  <a:cubicBezTo>
                    <a:pt x="131" y="178"/>
                    <a:pt x="131" y="177"/>
                    <a:pt x="131" y="177"/>
                  </a:cubicBezTo>
                  <a:cubicBezTo>
                    <a:pt x="131" y="177"/>
                    <a:pt x="131" y="177"/>
                    <a:pt x="130" y="177"/>
                  </a:cubicBezTo>
                  <a:cubicBezTo>
                    <a:pt x="130" y="177"/>
                    <a:pt x="130" y="176"/>
                    <a:pt x="130" y="176"/>
                  </a:cubicBezTo>
                  <a:cubicBezTo>
                    <a:pt x="130" y="176"/>
                    <a:pt x="129" y="176"/>
                    <a:pt x="129" y="176"/>
                  </a:cubicBezTo>
                  <a:cubicBezTo>
                    <a:pt x="129" y="176"/>
                    <a:pt x="129" y="176"/>
                    <a:pt x="129" y="175"/>
                  </a:cubicBezTo>
                  <a:cubicBezTo>
                    <a:pt x="128" y="175"/>
                    <a:pt x="128" y="175"/>
                    <a:pt x="128" y="175"/>
                  </a:cubicBezTo>
                  <a:cubicBezTo>
                    <a:pt x="128" y="175"/>
                    <a:pt x="128" y="175"/>
                    <a:pt x="128" y="175"/>
                  </a:cubicBezTo>
                  <a:cubicBezTo>
                    <a:pt x="127" y="175"/>
                    <a:pt x="127" y="175"/>
                    <a:pt x="127" y="175"/>
                  </a:cubicBezTo>
                  <a:cubicBezTo>
                    <a:pt x="127" y="175"/>
                    <a:pt x="127" y="174"/>
                    <a:pt x="127" y="174"/>
                  </a:cubicBezTo>
                  <a:cubicBezTo>
                    <a:pt x="126" y="174"/>
                    <a:pt x="126" y="174"/>
                    <a:pt x="126" y="174"/>
                  </a:cubicBezTo>
                  <a:cubicBezTo>
                    <a:pt x="126" y="174"/>
                    <a:pt x="125" y="173"/>
                    <a:pt x="125" y="173"/>
                  </a:cubicBezTo>
                  <a:cubicBezTo>
                    <a:pt x="125" y="173"/>
                    <a:pt x="125" y="173"/>
                    <a:pt x="125" y="173"/>
                  </a:cubicBezTo>
                  <a:cubicBezTo>
                    <a:pt x="124" y="173"/>
                    <a:pt x="124" y="173"/>
                    <a:pt x="124" y="172"/>
                  </a:cubicBezTo>
                  <a:cubicBezTo>
                    <a:pt x="124" y="172"/>
                    <a:pt x="124" y="172"/>
                    <a:pt x="123" y="172"/>
                  </a:cubicBezTo>
                  <a:cubicBezTo>
                    <a:pt x="123" y="172"/>
                    <a:pt x="123" y="172"/>
                    <a:pt x="123" y="172"/>
                  </a:cubicBezTo>
                  <a:cubicBezTo>
                    <a:pt x="123" y="172"/>
                    <a:pt x="123" y="172"/>
                    <a:pt x="122" y="172"/>
                  </a:cubicBezTo>
                  <a:cubicBezTo>
                    <a:pt x="122" y="171"/>
                    <a:pt x="122" y="171"/>
                    <a:pt x="122" y="171"/>
                  </a:cubicBezTo>
                  <a:cubicBezTo>
                    <a:pt x="121" y="171"/>
                    <a:pt x="121" y="171"/>
                    <a:pt x="121" y="171"/>
                  </a:cubicBezTo>
                  <a:cubicBezTo>
                    <a:pt x="121" y="170"/>
                    <a:pt x="121" y="170"/>
                    <a:pt x="121" y="170"/>
                  </a:cubicBezTo>
                  <a:cubicBezTo>
                    <a:pt x="121" y="170"/>
                    <a:pt x="120" y="170"/>
                    <a:pt x="120" y="170"/>
                  </a:cubicBezTo>
                  <a:cubicBezTo>
                    <a:pt x="120" y="170"/>
                    <a:pt x="120" y="169"/>
                    <a:pt x="120" y="169"/>
                  </a:cubicBezTo>
                  <a:cubicBezTo>
                    <a:pt x="119" y="169"/>
                    <a:pt x="119" y="169"/>
                    <a:pt x="119" y="169"/>
                  </a:cubicBezTo>
                  <a:cubicBezTo>
                    <a:pt x="119" y="169"/>
                    <a:pt x="118" y="168"/>
                    <a:pt x="118" y="168"/>
                  </a:cubicBezTo>
                  <a:cubicBezTo>
                    <a:pt x="118" y="168"/>
                    <a:pt x="118" y="168"/>
                    <a:pt x="118" y="168"/>
                  </a:cubicBezTo>
                  <a:cubicBezTo>
                    <a:pt x="117" y="168"/>
                    <a:pt x="117" y="168"/>
                    <a:pt x="117" y="167"/>
                  </a:cubicBezTo>
                  <a:cubicBezTo>
                    <a:pt x="117" y="167"/>
                    <a:pt x="116" y="167"/>
                    <a:pt x="116" y="167"/>
                  </a:cubicBezTo>
                  <a:cubicBezTo>
                    <a:pt x="116" y="167"/>
                    <a:pt x="116" y="167"/>
                    <a:pt x="116" y="167"/>
                  </a:cubicBezTo>
                  <a:cubicBezTo>
                    <a:pt x="116" y="167"/>
                    <a:pt x="116" y="167"/>
                    <a:pt x="115" y="167"/>
                  </a:cubicBezTo>
                  <a:cubicBezTo>
                    <a:pt x="115" y="166"/>
                    <a:pt x="115" y="166"/>
                    <a:pt x="115" y="166"/>
                  </a:cubicBezTo>
                  <a:cubicBezTo>
                    <a:pt x="115" y="166"/>
                    <a:pt x="115" y="166"/>
                    <a:pt x="114" y="166"/>
                  </a:cubicBezTo>
                  <a:cubicBezTo>
                    <a:pt x="114" y="166"/>
                    <a:pt x="114" y="165"/>
                    <a:pt x="114" y="165"/>
                  </a:cubicBezTo>
                  <a:cubicBezTo>
                    <a:pt x="113" y="165"/>
                    <a:pt x="113" y="165"/>
                    <a:pt x="113" y="165"/>
                  </a:cubicBezTo>
                  <a:cubicBezTo>
                    <a:pt x="113" y="165"/>
                    <a:pt x="113" y="164"/>
                    <a:pt x="113" y="164"/>
                  </a:cubicBezTo>
                  <a:cubicBezTo>
                    <a:pt x="111" y="164"/>
                    <a:pt x="109" y="164"/>
                    <a:pt x="107" y="163"/>
                  </a:cubicBezTo>
                  <a:cubicBezTo>
                    <a:pt x="103" y="162"/>
                    <a:pt x="99" y="161"/>
                    <a:pt x="95" y="160"/>
                  </a:cubicBezTo>
                  <a:cubicBezTo>
                    <a:pt x="87" y="159"/>
                    <a:pt x="79" y="158"/>
                    <a:pt x="71" y="157"/>
                  </a:cubicBezTo>
                  <a:cubicBezTo>
                    <a:pt x="71" y="156"/>
                    <a:pt x="71" y="156"/>
                    <a:pt x="71" y="156"/>
                  </a:cubicBezTo>
                  <a:cubicBezTo>
                    <a:pt x="71" y="156"/>
                    <a:pt x="71" y="156"/>
                    <a:pt x="70" y="156"/>
                  </a:cubicBezTo>
                  <a:cubicBezTo>
                    <a:pt x="70" y="155"/>
                    <a:pt x="69" y="154"/>
                    <a:pt x="68" y="153"/>
                  </a:cubicBezTo>
                  <a:cubicBezTo>
                    <a:pt x="68" y="153"/>
                    <a:pt x="67" y="153"/>
                    <a:pt x="67" y="153"/>
                  </a:cubicBezTo>
                  <a:cubicBezTo>
                    <a:pt x="66" y="152"/>
                    <a:pt x="65" y="151"/>
                    <a:pt x="64" y="150"/>
                  </a:cubicBezTo>
                  <a:cubicBezTo>
                    <a:pt x="63" y="150"/>
                    <a:pt x="63" y="150"/>
                    <a:pt x="63" y="150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62" y="148"/>
                    <a:pt x="62" y="148"/>
                    <a:pt x="60" y="147"/>
                  </a:cubicBezTo>
                  <a:cubicBezTo>
                    <a:pt x="60" y="148"/>
                    <a:pt x="60" y="148"/>
                    <a:pt x="60" y="148"/>
                  </a:cubicBezTo>
                  <a:cubicBezTo>
                    <a:pt x="59" y="148"/>
                    <a:pt x="59" y="148"/>
                    <a:pt x="58" y="148"/>
                  </a:cubicBezTo>
                  <a:cubicBezTo>
                    <a:pt x="58" y="148"/>
                    <a:pt x="58" y="148"/>
                    <a:pt x="58" y="149"/>
                  </a:cubicBezTo>
                  <a:cubicBezTo>
                    <a:pt x="58" y="149"/>
                    <a:pt x="58" y="149"/>
                    <a:pt x="57" y="149"/>
                  </a:cubicBezTo>
                  <a:cubicBezTo>
                    <a:pt x="57" y="149"/>
                    <a:pt x="57" y="149"/>
                    <a:pt x="57" y="149"/>
                  </a:cubicBezTo>
                  <a:cubicBezTo>
                    <a:pt x="57" y="149"/>
                    <a:pt x="57" y="149"/>
                    <a:pt x="56" y="149"/>
                  </a:cubicBezTo>
                  <a:cubicBezTo>
                    <a:pt x="56" y="149"/>
                    <a:pt x="56" y="149"/>
                    <a:pt x="56" y="149"/>
                  </a:cubicBezTo>
                  <a:cubicBezTo>
                    <a:pt x="56" y="149"/>
                    <a:pt x="56" y="149"/>
                    <a:pt x="55" y="149"/>
                  </a:cubicBezTo>
                  <a:cubicBezTo>
                    <a:pt x="55" y="149"/>
                    <a:pt x="55" y="149"/>
                    <a:pt x="55" y="150"/>
                  </a:cubicBezTo>
                  <a:cubicBezTo>
                    <a:pt x="55" y="150"/>
                    <a:pt x="54" y="150"/>
                    <a:pt x="53" y="150"/>
                  </a:cubicBezTo>
                  <a:cubicBezTo>
                    <a:pt x="53" y="150"/>
                    <a:pt x="53" y="150"/>
                    <a:pt x="53" y="150"/>
                  </a:cubicBezTo>
                  <a:cubicBezTo>
                    <a:pt x="53" y="150"/>
                    <a:pt x="53" y="150"/>
                    <a:pt x="52" y="150"/>
                  </a:cubicBezTo>
                  <a:cubicBezTo>
                    <a:pt x="52" y="150"/>
                    <a:pt x="52" y="150"/>
                    <a:pt x="52" y="151"/>
                  </a:cubicBezTo>
                  <a:cubicBezTo>
                    <a:pt x="52" y="151"/>
                    <a:pt x="52" y="151"/>
                    <a:pt x="51" y="151"/>
                  </a:cubicBezTo>
                  <a:cubicBezTo>
                    <a:pt x="51" y="151"/>
                    <a:pt x="51" y="151"/>
                    <a:pt x="51" y="151"/>
                  </a:cubicBezTo>
                  <a:cubicBezTo>
                    <a:pt x="51" y="151"/>
                    <a:pt x="50" y="151"/>
                    <a:pt x="49" y="151"/>
                  </a:cubicBezTo>
                  <a:cubicBezTo>
                    <a:pt x="49" y="151"/>
                    <a:pt x="49" y="152"/>
                    <a:pt x="49" y="152"/>
                  </a:cubicBezTo>
                  <a:cubicBezTo>
                    <a:pt x="49" y="152"/>
                    <a:pt x="49" y="152"/>
                    <a:pt x="49" y="152"/>
                  </a:cubicBezTo>
                  <a:cubicBezTo>
                    <a:pt x="49" y="152"/>
                    <a:pt x="49" y="152"/>
                    <a:pt x="49" y="152"/>
                  </a:cubicBezTo>
                  <a:cubicBezTo>
                    <a:pt x="48" y="152"/>
                    <a:pt x="48" y="152"/>
                    <a:pt x="48" y="152"/>
                  </a:cubicBezTo>
                  <a:cubicBezTo>
                    <a:pt x="48" y="152"/>
                    <a:pt x="48" y="152"/>
                    <a:pt x="48" y="152"/>
                  </a:cubicBezTo>
                  <a:cubicBezTo>
                    <a:pt x="47" y="152"/>
                    <a:pt x="47" y="152"/>
                    <a:pt x="47" y="152"/>
                  </a:cubicBezTo>
                  <a:cubicBezTo>
                    <a:pt x="47" y="152"/>
                    <a:pt x="47" y="153"/>
                    <a:pt x="47" y="153"/>
                  </a:cubicBezTo>
                  <a:cubicBezTo>
                    <a:pt x="46" y="153"/>
                    <a:pt x="46" y="153"/>
                    <a:pt x="45" y="153"/>
                  </a:cubicBezTo>
                  <a:cubicBezTo>
                    <a:pt x="45" y="153"/>
                    <a:pt x="45" y="153"/>
                    <a:pt x="45" y="153"/>
                  </a:cubicBezTo>
                  <a:cubicBezTo>
                    <a:pt x="45" y="153"/>
                    <a:pt x="45" y="153"/>
                    <a:pt x="44" y="153"/>
                  </a:cubicBezTo>
                  <a:cubicBezTo>
                    <a:pt x="44" y="153"/>
                    <a:pt x="44" y="153"/>
                    <a:pt x="44" y="153"/>
                  </a:cubicBezTo>
                  <a:cubicBezTo>
                    <a:pt x="44" y="153"/>
                    <a:pt x="44" y="153"/>
                    <a:pt x="44" y="153"/>
                  </a:cubicBezTo>
                  <a:cubicBezTo>
                    <a:pt x="44" y="154"/>
                    <a:pt x="44" y="154"/>
                    <a:pt x="44" y="154"/>
                  </a:cubicBezTo>
                  <a:cubicBezTo>
                    <a:pt x="43" y="154"/>
                    <a:pt x="42" y="154"/>
                    <a:pt x="41" y="154"/>
                  </a:cubicBezTo>
                  <a:cubicBezTo>
                    <a:pt x="41" y="155"/>
                    <a:pt x="41" y="155"/>
                    <a:pt x="41" y="155"/>
                  </a:cubicBezTo>
                  <a:cubicBezTo>
                    <a:pt x="40" y="155"/>
                    <a:pt x="40" y="155"/>
                    <a:pt x="40" y="155"/>
                  </a:cubicBezTo>
                  <a:cubicBezTo>
                    <a:pt x="40" y="155"/>
                    <a:pt x="40" y="155"/>
                    <a:pt x="40" y="155"/>
                  </a:cubicBezTo>
                  <a:cubicBezTo>
                    <a:pt x="39" y="155"/>
                    <a:pt x="38" y="155"/>
                    <a:pt x="38" y="156"/>
                  </a:cubicBezTo>
                  <a:cubicBezTo>
                    <a:pt x="38" y="156"/>
                    <a:pt x="38" y="156"/>
                    <a:pt x="38" y="156"/>
                  </a:cubicBezTo>
                  <a:cubicBezTo>
                    <a:pt x="37" y="156"/>
                    <a:pt x="37" y="156"/>
                    <a:pt x="36" y="156"/>
                  </a:cubicBezTo>
                  <a:cubicBezTo>
                    <a:pt x="36" y="156"/>
                    <a:pt x="36" y="156"/>
                    <a:pt x="36" y="157"/>
                  </a:cubicBezTo>
                  <a:cubicBezTo>
                    <a:pt x="36" y="157"/>
                    <a:pt x="36" y="157"/>
                    <a:pt x="35" y="157"/>
                  </a:cubicBezTo>
                  <a:cubicBezTo>
                    <a:pt x="35" y="157"/>
                    <a:pt x="35" y="157"/>
                    <a:pt x="35" y="157"/>
                  </a:cubicBezTo>
                  <a:cubicBezTo>
                    <a:pt x="35" y="157"/>
                    <a:pt x="34" y="157"/>
                    <a:pt x="34" y="157"/>
                  </a:cubicBezTo>
                  <a:cubicBezTo>
                    <a:pt x="34" y="157"/>
                    <a:pt x="34" y="157"/>
                    <a:pt x="34" y="158"/>
                  </a:cubicBezTo>
                  <a:cubicBezTo>
                    <a:pt x="34" y="158"/>
                    <a:pt x="33" y="158"/>
                    <a:pt x="33" y="158"/>
                  </a:cubicBezTo>
                  <a:cubicBezTo>
                    <a:pt x="33" y="158"/>
                    <a:pt x="33" y="158"/>
                    <a:pt x="33" y="158"/>
                  </a:cubicBezTo>
                  <a:cubicBezTo>
                    <a:pt x="32" y="158"/>
                    <a:pt x="32" y="158"/>
                    <a:pt x="31" y="158"/>
                  </a:cubicBezTo>
                  <a:cubicBezTo>
                    <a:pt x="31" y="158"/>
                    <a:pt x="31" y="159"/>
                    <a:pt x="31" y="159"/>
                  </a:cubicBezTo>
                  <a:cubicBezTo>
                    <a:pt x="31" y="159"/>
                    <a:pt x="31" y="159"/>
                    <a:pt x="31" y="159"/>
                  </a:cubicBezTo>
                  <a:cubicBezTo>
                    <a:pt x="31" y="159"/>
                    <a:pt x="31" y="159"/>
                    <a:pt x="31" y="159"/>
                  </a:cubicBezTo>
                  <a:cubicBezTo>
                    <a:pt x="30" y="159"/>
                    <a:pt x="30" y="159"/>
                    <a:pt x="30" y="159"/>
                  </a:cubicBezTo>
                  <a:cubicBezTo>
                    <a:pt x="30" y="159"/>
                    <a:pt x="30" y="159"/>
                    <a:pt x="30" y="159"/>
                  </a:cubicBezTo>
                  <a:cubicBezTo>
                    <a:pt x="29" y="159"/>
                    <a:pt x="29" y="160"/>
                    <a:pt x="28" y="160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28" y="160"/>
                    <a:pt x="28" y="160"/>
                    <a:pt x="27" y="160"/>
                  </a:cubicBezTo>
                  <a:cubicBezTo>
                    <a:pt x="27" y="160"/>
                    <a:pt x="27" y="160"/>
                    <a:pt x="27" y="160"/>
                  </a:cubicBezTo>
                  <a:cubicBezTo>
                    <a:pt x="27" y="161"/>
                    <a:pt x="26" y="161"/>
                    <a:pt x="26" y="161"/>
                  </a:cubicBezTo>
                  <a:cubicBezTo>
                    <a:pt x="26" y="161"/>
                    <a:pt x="26" y="161"/>
                    <a:pt x="26" y="161"/>
                  </a:cubicBezTo>
                  <a:cubicBezTo>
                    <a:pt x="26" y="161"/>
                    <a:pt x="25" y="161"/>
                    <a:pt x="25" y="161"/>
                  </a:cubicBezTo>
                  <a:cubicBezTo>
                    <a:pt x="25" y="161"/>
                    <a:pt x="25" y="161"/>
                    <a:pt x="25" y="161"/>
                  </a:cubicBezTo>
                  <a:cubicBezTo>
                    <a:pt x="24" y="162"/>
                    <a:pt x="24" y="162"/>
                    <a:pt x="23" y="162"/>
                  </a:cubicBezTo>
                  <a:cubicBezTo>
                    <a:pt x="23" y="162"/>
                    <a:pt x="23" y="162"/>
                    <a:pt x="23" y="162"/>
                  </a:cubicBezTo>
                  <a:cubicBezTo>
                    <a:pt x="23" y="162"/>
                    <a:pt x="23" y="162"/>
                    <a:pt x="22" y="162"/>
                  </a:cubicBezTo>
                  <a:cubicBezTo>
                    <a:pt x="22" y="162"/>
                    <a:pt x="22" y="162"/>
                    <a:pt x="22" y="163"/>
                  </a:cubicBezTo>
                  <a:cubicBezTo>
                    <a:pt x="22" y="163"/>
                    <a:pt x="22" y="163"/>
                    <a:pt x="22" y="163"/>
                  </a:cubicBezTo>
                  <a:cubicBezTo>
                    <a:pt x="22" y="163"/>
                    <a:pt x="22" y="163"/>
                    <a:pt x="22" y="163"/>
                  </a:cubicBezTo>
                  <a:cubicBezTo>
                    <a:pt x="21" y="163"/>
                    <a:pt x="21" y="163"/>
                    <a:pt x="20" y="163"/>
                  </a:cubicBezTo>
                  <a:cubicBezTo>
                    <a:pt x="20" y="163"/>
                    <a:pt x="20" y="163"/>
                    <a:pt x="20" y="164"/>
                  </a:cubicBezTo>
                  <a:cubicBezTo>
                    <a:pt x="20" y="164"/>
                    <a:pt x="20" y="164"/>
                    <a:pt x="19" y="164"/>
                  </a:cubicBezTo>
                  <a:cubicBezTo>
                    <a:pt x="19" y="164"/>
                    <a:pt x="19" y="164"/>
                    <a:pt x="19" y="164"/>
                  </a:cubicBezTo>
                  <a:cubicBezTo>
                    <a:pt x="19" y="164"/>
                    <a:pt x="18" y="164"/>
                    <a:pt x="18" y="164"/>
                  </a:cubicBezTo>
                  <a:cubicBezTo>
                    <a:pt x="18" y="164"/>
                    <a:pt x="18" y="164"/>
                    <a:pt x="18" y="165"/>
                  </a:cubicBezTo>
                  <a:cubicBezTo>
                    <a:pt x="18" y="165"/>
                    <a:pt x="17" y="165"/>
                    <a:pt x="17" y="165"/>
                  </a:cubicBezTo>
                  <a:cubicBezTo>
                    <a:pt x="17" y="165"/>
                    <a:pt x="17" y="165"/>
                    <a:pt x="17" y="165"/>
                  </a:cubicBezTo>
                  <a:cubicBezTo>
                    <a:pt x="16" y="165"/>
                    <a:pt x="16" y="165"/>
                    <a:pt x="15" y="165"/>
                  </a:cubicBezTo>
                  <a:cubicBezTo>
                    <a:pt x="15" y="165"/>
                    <a:pt x="15" y="166"/>
                    <a:pt x="15" y="166"/>
                  </a:cubicBezTo>
                  <a:cubicBezTo>
                    <a:pt x="15" y="166"/>
                    <a:pt x="15" y="166"/>
                    <a:pt x="14" y="166"/>
                  </a:cubicBezTo>
                  <a:cubicBezTo>
                    <a:pt x="13" y="166"/>
                    <a:pt x="13" y="167"/>
                    <a:pt x="12" y="167"/>
                  </a:cubicBezTo>
                  <a:cubicBezTo>
                    <a:pt x="11" y="166"/>
                    <a:pt x="10" y="165"/>
                    <a:pt x="9" y="164"/>
                  </a:cubicBezTo>
                  <a:cubicBezTo>
                    <a:pt x="9" y="163"/>
                    <a:pt x="9" y="163"/>
                    <a:pt x="8" y="163"/>
                  </a:cubicBezTo>
                  <a:cubicBezTo>
                    <a:pt x="8" y="163"/>
                    <a:pt x="8" y="162"/>
                    <a:pt x="8" y="162"/>
                  </a:cubicBezTo>
                  <a:cubicBezTo>
                    <a:pt x="8" y="161"/>
                    <a:pt x="7" y="161"/>
                    <a:pt x="6" y="160"/>
                  </a:cubicBezTo>
                  <a:cubicBezTo>
                    <a:pt x="6" y="160"/>
                    <a:pt x="6" y="160"/>
                    <a:pt x="6" y="159"/>
                  </a:cubicBezTo>
                  <a:cubicBezTo>
                    <a:pt x="5" y="159"/>
                    <a:pt x="4" y="158"/>
                    <a:pt x="4" y="157"/>
                  </a:cubicBezTo>
                  <a:cubicBezTo>
                    <a:pt x="4" y="157"/>
                    <a:pt x="4" y="157"/>
                    <a:pt x="4" y="157"/>
                  </a:cubicBezTo>
                  <a:cubicBezTo>
                    <a:pt x="3" y="156"/>
                    <a:pt x="3" y="156"/>
                    <a:pt x="3" y="156"/>
                  </a:cubicBezTo>
                  <a:cubicBezTo>
                    <a:pt x="2" y="156"/>
                    <a:pt x="2" y="155"/>
                    <a:pt x="2" y="155"/>
                  </a:cubicBezTo>
                  <a:cubicBezTo>
                    <a:pt x="2" y="155"/>
                    <a:pt x="1" y="155"/>
                    <a:pt x="1" y="154"/>
                  </a:cubicBezTo>
                  <a:cubicBezTo>
                    <a:pt x="1" y="154"/>
                    <a:pt x="1" y="154"/>
                    <a:pt x="1" y="154"/>
                  </a:cubicBezTo>
                  <a:cubicBezTo>
                    <a:pt x="1" y="154"/>
                    <a:pt x="1" y="154"/>
                    <a:pt x="1" y="154"/>
                  </a:cubicBezTo>
                  <a:cubicBezTo>
                    <a:pt x="0" y="153"/>
                    <a:pt x="0" y="153"/>
                    <a:pt x="0" y="152"/>
                  </a:cubicBezTo>
                  <a:cubicBezTo>
                    <a:pt x="0" y="152"/>
                    <a:pt x="0" y="152"/>
                    <a:pt x="0" y="152"/>
                  </a:cubicBezTo>
                  <a:cubicBezTo>
                    <a:pt x="0" y="152"/>
                    <a:pt x="1" y="151"/>
                    <a:pt x="1" y="150"/>
                  </a:cubicBezTo>
                  <a:cubicBezTo>
                    <a:pt x="1" y="150"/>
                    <a:pt x="1" y="150"/>
                    <a:pt x="1" y="150"/>
                  </a:cubicBezTo>
                  <a:cubicBezTo>
                    <a:pt x="1" y="150"/>
                    <a:pt x="1" y="150"/>
                    <a:pt x="1" y="149"/>
                  </a:cubicBezTo>
                  <a:cubicBezTo>
                    <a:pt x="1" y="149"/>
                    <a:pt x="1" y="149"/>
                    <a:pt x="1" y="149"/>
                  </a:cubicBezTo>
                  <a:cubicBezTo>
                    <a:pt x="1" y="149"/>
                    <a:pt x="1" y="149"/>
                    <a:pt x="1" y="148"/>
                  </a:cubicBezTo>
                  <a:cubicBezTo>
                    <a:pt x="2" y="148"/>
                    <a:pt x="2" y="148"/>
                    <a:pt x="2" y="148"/>
                  </a:cubicBezTo>
                  <a:cubicBezTo>
                    <a:pt x="2" y="148"/>
                    <a:pt x="2" y="147"/>
                    <a:pt x="2" y="147"/>
                  </a:cubicBezTo>
                  <a:cubicBezTo>
                    <a:pt x="2" y="147"/>
                    <a:pt x="2" y="147"/>
                    <a:pt x="2" y="147"/>
                  </a:cubicBezTo>
                  <a:cubicBezTo>
                    <a:pt x="2" y="147"/>
                    <a:pt x="2" y="146"/>
                    <a:pt x="2" y="146"/>
                  </a:cubicBezTo>
                  <a:cubicBezTo>
                    <a:pt x="2" y="146"/>
                    <a:pt x="2" y="146"/>
                    <a:pt x="2" y="146"/>
                  </a:cubicBezTo>
                  <a:cubicBezTo>
                    <a:pt x="2" y="146"/>
                    <a:pt x="2" y="145"/>
                    <a:pt x="2" y="145"/>
                  </a:cubicBezTo>
                  <a:cubicBezTo>
                    <a:pt x="3" y="145"/>
                    <a:pt x="3" y="145"/>
                    <a:pt x="3" y="145"/>
                  </a:cubicBezTo>
                  <a:cubicBezTo>
                    <a:pt x="3" y="145"/>
                    <a:pt x="3" y="144"/>
                    <a:pt x="3" y="144"/>
                  </a:cubicBezTo>
                  <a:cubicBezTo>
                    <a:pt x="3" y="144"/>
                    <a:pt x="3" y="144"/>
                    <a:pt x="3" y="144"/>
                  </a:cubicBezTo>
                  <a:cubicBezTo>
                    <a:pt x="3" y="144"/>
                    <a:pt x="3" y="143"/>
                    <a:pt x="3" y="143"/>
                  </a:cubicBezTo>
                  <a:cubicBezTo>
                    <a:pt x="3" y="143"/>
                    <a:pt x="3" y="143"/>
                    <a:pt x="4" y="143"/>
                  </a:cubicBezTo>
                  <a:cubicBezTo>
                    <a:pt x="4" y="142"/>
                    <a:pt x="4" y="141"/>
                    <a:pt x="4" y="140"/>
                  </a:cubicBezTo>
                  <a:cubicBezTo>
                    <a:pt x="4" y="140"/>
                    <a:pt x="4" y="140"/>
                    <a:pt x="5" y="140"/>
                  </a:cubicBezTo>
                  <a:cubicBezTo>
                    <a:pt x="5" y="140"/>
                    <a:pt x="5" y="140"/>
                    <a:pt x="5" y="139"/>
                  </a:cubicBezTo>
                  <a:cubicBezTo>
                    <a:pt x="5" y="139"/>
                    <a:pt x="5" y="139"/>
                    <a:pt x="6" y="139"/>
                  </a:cubicBezTo>
                  <a:cubicBezTo>
                    <a:pt x="6" y="139"/>
                    <a:pt x="6" y="139"/>
                    <a:pt x="6" y="139"/>
                  </a:cubicBezTo>
                  <a:cubicBezTo>
                    <a:pt x="6" y="139"/>
                    <a:pt x="7" y="138"/>
                    <a:pt x="7" y="138"/>
                  </a:cubicBezTo>
                  <a:cubicBezTo>
                    <a:pt x="7" y="138"/>
                    <a:pt x="7" y="138"/>
                    <a:pt x="7" y="138"/>
                  </a:cubicBezTo>
                  <a:cubicBezTo>
                    <a:pt x="7" y="138"/>
                    <a:pt x="8" y="138"/>
                    <a:pt x="8" y="138"/>
                  </a:cubicBezTo>
                  <a:cubicBezTo>
                    <a:pt x="9" y="137"/>
                    <a:pt x="9" y="137"/>
                    <a:pt x="9" y="137"/>
                  </a:cubicBezTo>
                  <a:cubicBezTo>
                    <a:pt x="9" y="137"/>
                    <a:pt x="10" y="137"/>
                    <a:pt x="10" y="137"/>
                  </a:cubicBezTo>
                  <a:cubicBezTo>
                    <a:pt x="10" y="136"/>
                    <a:pt x="10" y="136"/>
                    <a:pt x="11" y="136"/>
                  </a:cubicBezTo>
                  <a:cubicBezTo>
                    <a:pt x="11" y="136"/>
                    <a:pt x="11" y="136"/>
                    <a:pt x="12" y="136"/>
                  </a:cubicBezTo>
                  <a:cubicBezTo>
                    <a:pt x="12" y="135"/>
                    <a:pt x="12" y="135"/>
                    <a:pt x="12" y="135"/>
                  </a:cubicBezTo>
                  <a:cubicBezTo>
                    <a:pt x="12" y="135"/>
                    <a:pt x="13" y="135"/>
                    <a:pt x="13" y="135"/>
                  </a:cubicBezTo>
                  <a:cubicBezTo>
                    <a:pt x="13" y="135"/>
                    <a:pt x="13" y="134"/>
                    <a:pt x="13" y="134"/>
                  </a:cubicBezTo>
                  <a:cubicBezTo>
                    <a:pt x="14" y="134"/>
                    <a:pt x="14" y="134"/>
                    <a:pt x="14" y="134"/>
                  </a:cubicBezTo>
                  <a:cubicBezTo>
                    <a:pt x="14" y="134"/>
                    <a:pt x="14" y="134"/>
                    <a:pt x="14" y="134"/>
                  </a:cubicBezTo>
                  <a:cubicBezTo>
                    <a:pt x="14" y="134"/>
                    <a:pt x="14" y="134"/>
                    <a:pt x="15" y="134"/>
                  </a:cubicBezTo>
                  <a:cubicBezTo>
                    <a:pt x="15" y="134"/>
                    <a:pt x="15" y="133"/>
                    <a:pt x="15" y="133"/>
                  </a:cubicBezTo>
                  <a:cubicBezTo>
                    <a:pt x="16" y="133"/>
                    <a:pt x="16" y="133"/>
                    <a:pt x="16" y="133"/>
                  </a:cubicBezTo>
                  <a:cubicBezTo>
                    <a:pt x="17" y="133"/>
                    <a:pt x="17" y="132"/>
                    <a:pt x="17" y="132"/>
                  </a:cubicBezTo>
                  <a:cubicBezTo>
                    <a:pt x="17" y="132"/>
                    <a:pt x="17" y="132"/>
                    <a:pt x="18" y="132"/>
                  </a:cubicBezTo>
                  <a:cubicBezTo>
                    <a:pt x="18" y="132"/>
                    <a:pt x="18" y="132"/>
                    <a:pt x="18" y="131"/>
                  </a:cubicBezTo>
                  <a:cubicBezTo>
                    <a:pt x="18" y="131"/>
                    <a:pt x="19" y="131"/>
                    <a:pt x="19" y="131"/>
                  </a:cubicBezTo>
                  <a:cubicBezTo>
                    <a:pt x="19" y="131"/>
                    <a:pt x="19" y="131"/>
                    <a:pt x="20" y="130"/>
                  </a:cubicBezTo>
                  <a:cubicBezTo>
                    <a:pt x="20" y="130"/>
                    <a:pt x="21" y="130"/>
                    <a:pt x="21" y="130"/>
                  </a:cubicBezTo>
                  <a:cubicBezTo>
                    <a:pt x="21" y="130"/>
                    <a:pt x="21" y="130"/>
                    <a:pt x="21" y="129"/>
                  </a:cubicBezTo>
                  <a:cubicBezTo>
                    <a:pt x="22" y="129"/>
                    <a:pt x="22" y="129"/>
                    <a:pt x="23" y="129"/>
                  </a:cubicBezTo>
                  <a:cubicBezTo>
                    <a:pt x="23" y="129"/>
                    <a:pt x="23" y="129"/>
                    <a:pt x="23" y="129"/>
                  </a:cubicBezTo>
                  <a:cubicBezTo>
                    <a:pt x="23" y="128"/>
                    <a:pt x="23" y="128"/>
                    <a:pt x="24" y="128"/>
                  </a:cubicBezTo>
                  <a:cubicBezTo>
                    <a:pt x="24" y="128"/>
                    <a:pt x="24" y="128"/>
                    <a:pt x="24" y="128"/>
                  </a:cubicBezTo>
                  <a:cubicBezTo>
                    <a:pt x="25" y="127"/>
                    <a:pt x="25" y="127"/>
                    <a:pt x="26" y="127"/>
                  </a:cubicBezTo>
                  <a:cubicBezTo>
                    <a:pt x="26" y="127"/>
                    <a:pt x="26" y="127"/>
                    <a:pt x="26" y="126"/>
                  </a:cubicBezTo>
                  <a:cubicBezTo>
                    <a:pt x="26" y="126"/>
                    <a:pt x="27" y="126"/>
                    <a:pt x="27" y="126"/>
                  </a:cubicBezTo>
                  <a:cubicBezTo>
                    <a:pt x="27" y="126"/>
                    <a:pt x="28" y="126"/>
                    <a:pt x="28" y="125"/>
                  </a:cubicBezTo>
                  <a:cubicBezTo>
                    <a:pt x="28" y="125"/>
                    <a:pt x="28" y="125"/>
                    <a:pt x="28" y="125"/>
                  </a:cubicBezTo>
                  <a:cubicBezTo>
                    <a:pt x="28" y="125"/>
                    <a:pt x="29" y="125"/>
                    <a:pt x="29" y="125"/>
                  </a:cubicBezTo>
                  <a:cubicBezTo>
                    <a:pt x="29" y="125"/>
                    <a:pt x="29" y="125"/>
                    <a:pt x="29" y="125"/>
                  </a:cubicBezTo>
                  <a:cubicBezTo>
                    <a:pt x="30" y="124"/>
                    <a:pt x="31" y="124"/>
                    <a:pt x="32" y="123"/>
                  </a:cubicBezTo>
                  <a:cubicBezTo>
                    <a:pt x="32" y="122"/>
                    <a:pt x="33" y="121"/>
                    <a:pt x="34" y="120"/>
                  </a:cubicBezTo>
                  <a:cubicBezTo>
                    <a:pt x="34" y="120"/>
                    <a:pt x="34" y="119"/>
                    <a:pt x="34" y="119"/>
                  </a:cubicBezTo>
                  <a:cubicBezTo>
                    <a:pt x="34" y="119"/>
                    <a:pt x="34" y="119"/>
                    <a:pt x="34" y="119"/>
                  </a:cubicBezTo>
                  <a:cubicBezTo>
                    <a:pt x="34" y="119"/>
                    <a:pt x="34" y="118"/>
                    <a:pt x="34" y="118"/>
                  </a:cubicBezTo>
                  <a:cubicBezTo>
                    <a:pt x="34" y="118"/>
                    <a:pt x="34" y="118"/>
                    <a:pt x="34" y="118"/>
                  </a:cubicBezTo>
                  <a:cubicBezTo>
                    <a:pt x="35" y="117"/>
                    <a:pt x="35" y="117"/>
                    <a:pt x="35" y="116"/>
                  </a:cubicBezTo>
                  <a:cubicBezTo>
                    <a:pt x="35" y="116"/>
                    <a:pt x="35" y="116"/>
                    <a:pt x="35" y="116"/>
                  </a:cubicBezTo>
                  <a:cubicBezTo>
                    <a:pt x="35" y="116"/>
                    <a:pt x="35" y="116"/>
                    <a:pt x="35" y="115"/>
                  </a:cubicBezTo>
                  <a:cubicBezTo>
                    <a:pt x="35" y="115"/>
                    <a:pt x="36" y="115"/>
                    <a:pt x="36" y="115"/>
                  </a:cubicBezTo>
                  <a:cubicBezTo>
                    <a:pt x="36" y="115"/>
                    <a:pt x="36" y="114"/>
                    <a:pt x="36" y="114"/>
                  </a:cubicBezTo>
                  <a:cubicBezTo>
                    <a:pt x="36" y="114"/>
                    <a:pt x="36" y="114"/>
                    <a:pt x="36" y="114"/>
                  </a:cubicBezTo>
                  <a:cubicBezTo>
                    <a:pt x="37" y="113"/>
                    <a:pt x="37" y="113"/>
                    <a:pt x="37" y="112"/>
                  </a:cubicBezTo>
                  <a:cubicBezTo>
                    <a:pt x="37" y="112"/>
                    <a:pt x="37" y="112"/>
                    <a:pt x="37" y="112"/>
                  </a:cubicBezTo>
                  <a:cubicBezTo>
                    <a:pt x="37" y="112"/>
                    <a:pt x="37" y="112"/>
                    <a:pt x="37" y="111"/>
                  </a:cubicBezTo>
                  <a:cubicBezTo>
                    <a:pt x="37" y="111"/>
                    <a:pt x="37" y="111"/>
                    <a:pt x="37" y="111"/>
                  </a:cubicBezTo>
                  <a:cubicBezTo>
                    <a:pt x="37" y="111"/>
                    <a:pt x="37" y="111"/>
                    <a:pt x="37" y="111"/>
                  </a:cubicBezTo>
                  <a:cubicBezTo>
                    <a:pt x="38" y="111"/>
                    <a:pt x="38" y="111"/>
                    <a:pt x="38" y="111"/>
                  </a:cubicBezTo>
                  <a:cubicBezTo>
                    <a:pt x="38" y="111"/>
                    <a:pt x="38" y="110"/>
                    <a:pt x="38" y="110"/>
                  </a:cubicBezTo>
                  <a:cubicBezTo>
                    <a:pt x="38" y="110"/>
                    <a:pt x="38" y="110"/>
                    <a:pt x="38" y="110"/>
                  </a:cubicBezTo>
                  <a:cubicBezTo>
                    <a:pt x="38" y="110"/>
                    <a:pt x="38" y="110"/>
                    <a:pt x="38" y="109"/>
                  </a:cubicBezTo>
                  <a:cubicBezTo>
                    <a:pt x="38" y="109"/>
                    <a:pt x="38" y="109"/>
                    <a:pt x="38" y="109"/>
                  </a:cubicBezTo>
                  <a:cubicBezTo>
                    <a:pt x="38" y="109"/>
                    <a:pt x="38" y="109"/>
                    <a:pt x="38" y="109"/>
                  </a:cubicBezTo>
                  <a:cubicBezTo>
                    <a:pt x="39" y="109"/>
                    <a:pt x="39" y="109"/>
                    <a:pt x="39" y="109"/>
                  </a:cubicBezTo>
                  <a:cubicBezTo>
                    <a:pt x="39" y="108"/>
                    <a:pt x="40" y="107"/>
                    <a:pt x="40" y="106"/>
                  </a:cubicBezTo>
                  <a:cubicBezTo>
                    <a:pt x="46" y="106"/>
                    <a:pt x="53" y="106"/>
                    <a:pt x="59" y="105"/>
                  </a:cubicBezTo>
                  <a:cubicBezTo>
                    <a:pt x="60" y="104"/>
                    <a:pt x="61" y="103"/>
                    <a:pt x="62" y="102"/>
                  </a:cubicBezTo>
                  <a:cubicBezTo>
                    <a:pt x="63" y="102"/>
                    <a:pt x="63" y="102"/>
                    <a:pt x="63" y="102"/>
                  </a:cubicBezTo>
                  <a:cubicBezTo>
                    <a:pt x="63" y="101"/>
                    <a:pt x="63" y="101"/>
                    <a:pt x="63" y="101"/>
                  </a:cubicBezTo>
                  <a:cubicBezTo>
                    <a:pt x="64" y="100"/>
                    <a:pt x="65" y="99"/>
                    <a:pt x="66" y="98"/>
                  </a:cubicBezTo>
                  <a:cubicBezTo>
                    <a:pt x="66" y="98"/>
                    <a:pt x="66" y="98"/>
                    <a:pt x="66" y="97"/>
                  </a:cubicBezTo>
                  <a:cubicBezTo>
                    <a:pt x="67" y="97"/>
                    <a:pt x="68" y="96"/>
                    <a:pt x="69" y="95"/>
                  </a:cubicBezTo>
                  <a:cubicBezTo>
                    <a:pt x="69" y="94"/>
                    <a:pt x="69" y="94"/>
                    <a:pt x="69" y="94"/>
                  </a:cubicBezTo>
                  <a:cubicBezTo>
                    <a:pt x="70" y="93"/>
                    <a:pt x="72" y="92"/>
                    <a:pt x="73" y="91"/>
                  </a:cubicBezTo>
                  <a:cubicBezTo>
                    <a:pt x="73" y="91"/>
                    <a:pt x="73" y="90"/>
                    <a:pt x="73" y="90"/>
                  </a:cubicBezTo>
                  <a:cubicBezTo>
                    <a:pt x="74" y="89"/>
                    <a:pt x="75" y="88"/>
                    <a:pt x="76" y="87"/>
                  </a:cubicBezTo>
                  <a:cubicBezTo>
                    <a:pt x="76" y="87"/>
                    <a:pt x="76" y="87"/>
                    <a:pt x="76" y="87"/>
                  </a:cubicBezTo>
                  <a:cubicBezTo>
                    <a:pt x="77" y="86"/>
                    <a:pt x="78" y="85"/>
                    <a:pt x="79" y="84"/>
                  </a:cubicBezTo>
                  <a:cubicBezTo>
                    <a:pt x="83" y="78"/>
                    <a:pt x="88" y="74"/>
                    <a:pt x="92" y="68"/>
                  </a:cubicBezTo>
                  <a:cubicBezTo>
                    <a:pt x="92" y="68"/>
                    <a:pt x="93" y="67"/>
                    <a:pt x="94" y="67"/>
                  </a:cubicBezTo>
                  <a:cubicBezTo>
                    <a:pt x="94" y="66"/>
                    <a:pt x="94" y="66"/>
                    <a:pt x="94" y="66"/>
                  </a:cubicBezTo>
                  <a:cubicBezTo>
                    <a:pt x="94" y="65"/>
                    <a:pt x="95" y="65"/>
                    <a:pt x="96" y="64"/>
                  </a:cubicBezTo>
                  <a:cubicBezTo>
                    <a:pt x="96" y="64"/>
                    <a:pt x="96" y="64"/>
                    <a:pt x="96" y="64"/>
                  </a:cubicBezTo>
                  <a:cubicBezTo>
                    <a:pt x="96" y="63"/>
                    <a:pt x="97" y="63"/>
                    <a:pt x="97" y="63"/>
                  </a:cubicBezTo>
                  <a:cubicBezTo>
                    <a:pt x="98" y="62"/>
                    <a:pt x="99" y="61"/>
                    <a:pt x="99" y="60"/>
                  </a:cubicBezTo>
                  <a:cubicBezTo>
                    <a:pt x="99" y="60"/>
                    <a:pt x="100" y="60"/>
                    <a:pt x="100" y="60"/>
                  </a:cubicBezTo>
                  <a:cubicBezTo>
                    <a:pt x="100" y="60"/>
                    <a:pt x="100" y="60"/>
                    <a:pt x="100" y="60"/>
                  </a:cubicBezTo>
                  <a:cubicBezTo>
                    <a:pt x="102" y="62"/>
                    <a:pt x="104" y="64"/>
                    <a:pt x="107" y="65"/>
                  </a:cubicBezTo>
                  <a:cubicBezTo>
                    <a:pt x="108" y="65"/>
                    <a:pt x="109" y="65"/>
                    <a:pt x="109" y="65"/>
                  </a:cubicBezTo>
                  <a:cubicBezTo>
                    <a:pt x="113" y="66"/>
                    <a:pt x="117" y="66"/>
                    <a:pt x="120" y="65"/>
                  </a:cubicBezTo>
                  <a:cubicBezTo>
                    <a:pt x="121" y="64"/>
                    <a:pt x="122" y="64"/>
                    <a:pt x="122" y="64"/>
                  </a:cubicBezTo>
                  <a:cubicBezTo>
                    <a:pt x="122" y="64"/>
                    <a:pt x="122" y="64"/>
                    <a:pt x="122" y="64"/>
                  </a:cubicBez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4" y="64"/>
                    <a:pt x="124" y="64"/>
                  </a:cubicBezTo>
                  <a:cubicBezTo>
                    <a:pt x="124" y="63"/>
                    <a:pt x="124" y="63"/>
                    <a:pt x="124" y="63"/>
                  </a:cubicBezTo>
                  <a:cubicBezTo>
                    <a:pt x="125" y="63"/>
                    <a:pt x="126" y="63"/>
                    <a:pt x="126" y="62"/>
                  </a:cubicBezTo>
                  <a:cubicBezTo>
                    <a:pt x="126" y="62"/>
                    <a:pt x="126" y="62"/>
                    <a:pt x="126" y="62"/>
                  </a:cubicBezTo>
                  <a:cubicBezTo>
                    <a:pt x="127" y="62"/>
                    <a:pt x="127" y="62"/>
                    <a:pt x="127" y="62"/>
                  </a:cubicBezTo>
                  <a:cubicBezTo>
                    <a:pt x="127" y="62"/>
                    <a:pt x="127" y="62"/>
                    <a:pt x="127" y="62"/>
                  </a:cubicBezTo>
                  <a:cubicBezTo>
                    <a:pt x="127" y="62"/>
                    <a:pt x="128" y="62"/>
                    <a:pt x="128" y="61"/>
                  </a:cubicBezTo>
                  <a:cubicBezTo>
                    <a:pt x="128" y="61"/>
                    <a:pt x="129" y="61"/>
                    <a:pt x="129" y="61"/>
                  </a:cubicBezTo>
                  <a:cubicBezTo>
                    <a:pt x="129" y="61"/>
                    <a:pt x="129" y="61"/>
                    <a:pt x="129" y="61"/>
                  </a:cubicBezTo>
                  <a:cubicBezTo>
                    <a:pt x="129" y="61"/>
                    <a:pt x="129" y="60"/>
                    <a:pt x="129" y="60"/>
                  </a:cubicBezTo>
                  <a:cubicBezTo>
                    <a:pt x="130" y="60"/>
                    <a:pt x="130" y="60"/>
                    <a:pt x="130" y="60"/>
                  </a:cubicBezTo>
                  <a:cubicBezTo>
                    <a:pt x="131" y="60"/>
                    <a:pt x="131" y="60"/>
                    <a:pt x="131" y="59"/>
                  </a:cubicBezTo>
                  <a:cubicBezTo>
                    <a:pt x="131" y="59"/>
                    <a:pt x="131" y="59"/>
                    <a:pt x="132" y="59"/>
                  </a:cubicBezTo>
                  <a:cubicBezTo>
                    <a:pt x="132" y="59"/>
                    <a:pt x="132" y="59"/>
                    <a:pt x="132" y="59"/>
                  </a:cubicBezTo>
                  <a:cubicBezTo>
                    <a:pt x="132" y="59"/>
                    <a:pt x="132" y="59"/>
                    <a:pt x="133" y="59"/>
                  </a:cubicBezTo>
                  <a:cubicBezTo>
                    <a:pt x="133" y="58"/>
                    <a:pt x="133" y="58"/>
                    <a:pt x="133" y="58"/>
                  </a:cubicBezTo>
                  <a:cubicBezTo>
                    <a:pt x="133" y="58"/>
                    <a:pt x="134" y="58"/>
                    <a:pt x="134" y="58"/>
                  </a:cubicBezTo>
                  <a:cubicBezTo>
                    <a:pt x="135" y="57"/>
                    <a:pt x="135" y="56"/>
                    <a:pt x="136" y="55"/>
                  </a:cubicBezTo>
                  <a:cubicBezTo>
                    <a:pt x="136" y="55"/>
                    <a:pt x="136" y="55"/>
                    <a:pt x="136" y="55"/>
                  </a:cubicBezTo>
                  <a:cubicBezTo>
                    <a:pt x="137" y="55"/>
                    <a:pt x="137" y="55"/>
                    <a:pt x="137" y="54"/>
                  </a:cubicBezTo>
                  <a:cubicBezTo>
                    <a:pt x="138" y="54"/>
                    <a:pt x="138" y="54"/>
                    <a:pt x="138" y="54"/>
                  </a:cubicBezTo>
                  <a:cubicBezTo>
                    <a:pt x="138" y="54"/>
                    <a:pt x="138" y="54"/>
                    <a:pt x="139" y="53"/>
                  </a:cubicBezTo>
                  <a:cubicBezTo>
                    <a:pt x="139" y="53"/>
                    <a:pt x="139" y="53"/>
                    <a:pt x="140" y="53"/>
                  </a:cubicBezTo>
                  <a:cubicBezTo>
                    <a:pt x="140" y="53"/>
                    <a:pt x="140" y="53"/>
                    <a:pt x="140" y="53"/>
                  </a:cubicBezTo>
                  <a:cubicBezTo>
                    <a:pt x="140" y="53"/>
                    <a:pt x="141" y="52"/>
                    <a:pt x="141" y="52"/>
                  </a:cubicBezTo>
                  <a:cubicBezTo>
                    <a:pt x="141" y="52"/>
                    <a:pt x="141" y="52"/>
                    <a:pt x="141" y="52"/>
                  </a:cubicBezTo>
                  <a:cubicBezTo>
                    <a:pt x="142" y="52"/>
                    <a:pt x="142" y="52"/>
                    <a:pt x="142" y="52"/>
                  </a:cubicBezTo>
                  <a:cubicBezTo>
                    <a:pt x="142" y="52"/>
                    <a:pt x="142" y="52"/>
                    <a:pt x="142" y="52"/>
                  </a:cubicBezTo>
                  <a:cubicBezTo>
                    <a:pt x="143" y="52"/>
                    <a:pt x="143" y="52"/>
                    <a:pt x="143" y="52"/>
                  </a:cubicBezTo>
                  <a:cubicBezTo>
                    <a:pt x="143" y="52"/>
                    <a:pt x="143" y="51"/>
                    <a:pt x="143" y="51"/>
                  </a:cubicBezTo>
                  <a:cubicBezTo>
                    <a:pt x="144" y="51"/>
                    <a:pt x="146" y="51"/>
                    <a:pt x="147" y="51"/>
                  </a:cubicBezTo>
                  <a:cubicBezTo>
                    <a:pt x="147" y="50"/>
                    <a:pt x="147" y="50"/>
                    <a:pt x="147" y="50"/>
                  </a:cubicBezTo>
                  <a:cubicBezTo>
                    <a:pt x="148" y="50"/>
                    <a:pt x="148" y="50"/>
                    <a:pt x="149" y="50"/>
                  </a:cubicBezTo>
                  <a:cubicBezTo>
                    <a:pt x="149" y="50"/>
                    <a:pt x="149" y="50"/>
                    <a:pt x="149" y="50"/>
                  </a:cubicBezTo>
                  <a:cubicBezTo>
                    <a:pt x="150" y="50"/>
                    <a:pt x="150" y="50"/>
                    <a:pt x="151" y="50"/>
                  </a:cubicBezTo>
                  <a:cubicBezTo>
                    <a:pt x="151" y="50"/>
                    <a:pt x="151" y="50"/>
                    <a:pt x="151" y="50"/>
                  </a:cubicBezTo>
                  <a:cubicBezTo>
                    <a:pt x="152" y="50"/>
                    <a:pt x="153" y="50"/>
                    <a:pt x="154" y="50"/>
                  </a:cubicBezTo>
                  <a:cubicBezTo>
                    <a:pt x="154" y="49"/>
                    <a:pt x="154" y="49"/>
                    <a:pt x="154" y="49"/>
                  </a:cubicBezTo>
                  <a:cubicBezTo>
                    <a:pt x="155" y="49"/>
                    <a:pt x="156" y="49"/>
                    <a:pt x="157" y="49"/>
                  </a:cubicBezTo>
                  <a:cubicBezTo>
                    <a:pt x="157" y="49"/>
                    <a:pt x="157" y="49"/>
                    <a:pt x="157" y="49"/>
                  </a:cubicBezTo>
                  <a:cubicBezTo>
                    <a:pt x="158" y="49"/>
                    <a:pt x="159" y="49"/>
                    <a:pt x="160" y="49"/>
                  </a:cubicBezTo>
                  <a:cubicBezTo>
                    <a:pt x="160" y="49"/>
                    <a:pt x="160" y="49"/>
                    <a:pt x="160" y="48"/>
                  </a:cubicBezTo>
                  <a:cubicBezTo>
                    <a:pt x="161" y="48"/>
                    <a:pt x="161" y="48"/>
                    <a:pt x="162" y="48"/>
                  </a:cubicBezTo>
                  <a:cubicBezTo>
                    <a:pt x="162" y="48"/>
                    <a:pt x="162" y="48"/>
                    <a:pt x="162" y="48"/>
                  </a:cubicBezTo>
                  <a:cubicBezTo>
                    <a:pt x="163" y="48"/>
                    <a:pt x="163" y="48"/>
                    <a:pt x="164" y="48"/>
                  </a:cubicBezTo>
                  <a:cubicBezTo>
                    <a:pt x="164" y="48"/>
                    <a:pt x="164" y="48"/>
                    <a:pt x="164" y="48"/>
                  </a:cubicBezTo>
                  <a:cubicBezTo>
                    <a:pt x="164" y="48"/>
                    <a:pt x="165" y="48"/>
                    <a:pt x="165" y="48"/>
                  </a:cubicBezTo>
                  <a:cubicBezTo>
                    <a:pt x="165" y="48"/>
                    <a:pt x="165" y="48"/>
                    <a:pt x="165" y="47"/>
                  </a:cubicBezTo>
                  <a:cubicBezTo>
                    <a:pt x="165" y="47"/>
                    <a:pt x="166" y="47"/>
                    <a:pt x="166" y="47"/>
                  </a:cubicBezTo>
                  <a:cubicBezTo>
                    <a:pt x="166" y="47"/>
                    <a:pt x="166" y="47"/>
                    <a:pt x="166" y="47"/>
                  </a:cubicBezTo>
                  <a:cubicBezTo>
                    <a:pt x="167" y="47"/>
                    <a:pt x="167" y="47"/>
                    <a:pt x="168" y="47"/>
                  </a:cubicBezTo>
                  <a:cubicBezTo>
                    <a:pt x="168" y="47"/>
                    <a:pt x="168" y="47"/>
                    <a:pt x="168" y="46"/>
                  </a:cubicBezTo>
                  <a:cubicBezTo>
                    <a:pt x="168" y="46"/>
                    <a:pt x="169" y="46"/>
                    <a:pt x="169" y="46"/>
                  </a:cubicBezTo>
                  <a:cubicBezTo>
                    <a:pt x="169" y="46"/>
                    <a:pt x="169" y="46"/>
                    <a:pt x="169" y="46"/>
                  </a:cubicBezTo>
                  <a:cubicBezTo>
                    <a:pt x="170" y="46"/>
                    <a:pt x="170" y="45"/>
                    <a:pt x="171" y="45"/>
                  </a:cubicBezTo>
                  <a:cubicBezTo>
                    <a:pt x="171" y="45"/>
                    <a:pt x="171" y="45"/>
                    <a:pt x="171" y="45"/>
                  </a:cubicBezTo>
                  <a:cubicBezTo>
                    <a:pt x="172" y="45"/>
                    <a:pt x="172" y="44"/>
                    <a:pt x="172" y="44"/>
                  </a:cubicBezTo>
                  <a:cubicBezTo>
                    <a:pt x="173" y="44"/>
                    <a:pt x="173" y="44"/>
                    <a:pt x="173" y="43"/>
                  </a:cubicBezTo>
                  <a:cubicBezTo>
                    <a:pt x="173" y="43"/>
                    <a:pt x="174" y="43"/>
                    <a:pt x="174" y="43"/>
                  </a:cubicBezTo>
                  <a:cubicBezTo>
                    <a:pt x="174" y="43"/>
                    <a:pt x="175" y="42"/>
                    <a:pt x="176" y="41"/>
                  </a:cubicBezTo>
                  <a:cubicBezTo>
                    <a:pt x="176" y="41"/>
                    <a:pt x="176" y="41"/>
                    <a:pt x="176" y="41"/>
                  </a:cubicBezTo>
                  <a:cubicBezTo>
                    <a:pt x="177" y="40"/>
                    <a:pt x="177" y="40"/>
                    <a:pt x="178" y="39"/>
                  </a:cubicBezTo>
                  <a:cubicBezTo>
                    <a:pt x="179" y="38"/>
                    <a:pt x="181" y="37"/>
                    <a:pt x="182" y="36"/>
                  </a:cubicBezTo>
                  <a:cubicBezTo>
                    <a:pt x="182" y="36"/>
                    <a:pt x="182" y="35"/>
                    <a:pt x="183" y="35"/>
                  </a:cubicBezTo>
                  <a:cubicBezTo>
                    <a:pt x="183" y="35"/>
                    <a:pt x="183" y="35"/>
                    <a:pt x="183" y="35"/>
                  </a:cubicBezTo>
                  <a:cubicBezTo>
                    <a:pt x="183" y="35"/>
                    <a:pt x="184" y="35"/>
                    <a:pt x="184" y="35"/>
                  </a:cubicBezTo>
                  <a:cubicBezTo>
                    <a:pt x="185" y="34"/>
                    <a:pt x="187" y="33"/>
                    <a:pt x="189" y="32"/>
                  </a:cubicBezTo>
                  <a:cubicBezTo>
                    <a:pt x="190" y="32"/>
                    <a:pt x="190" y="32"/>
                    <a:pt x="190" y="32"/>
                  </a:cubicBezTo>
                  <a:cubicBezTo>
                    <a:pt x="190" y="32"/>
                    <a:pt x="190" y="32"/>
                    <a:pt x="190" y="32"/>
                  </a:cubicBezTo>
                  <a:cubicBezTo>
                    <a:pt x="191" y="32"/>
                    <a:pt x="191" y="32"/>
                    <a:pt x="191" y="32"/>
                  </a:cubicBezTo>
                  <a:cubicBezTo>
                    <a:pt x="191" y="32"/>
                    <a:pt x="191" y="31"/>
                    <a:pt x="191" y="31"/>
                  </a:cubicBezTo>
                  <a:cubicBezTo>
                    <a:pt x="191" y="31"/>
                    <a:pt x="192" y="31"/>
                    <a:pt x="192" y="31"/>
                  </a:cubicBezTo>
                  <a:cubicBezTo>
                    <a:pt x="192" y="31"/>
                    <a:pt x="192" y="31"/>
                    <a:pt x="192" y="31"/>
                  </a:cubicBezTo>
                  <a:cubicBezTo>
                    <a:pt x="193" y="31"/>
                    <a:pt x="193" y="31"/>
                    <a:pt x="194" y="30"/>
                  </a:cubicBezTo>
                  <a:cubicBezTo>
                    <a:pt x="194" y="30"/>
                    <a:pt x="194" y="30"/>
                    <a:pt x="194" y="30"/>
                  </a:cubicBezTo>
                  <a:cubicBezTo>
                    <a:pt x="194" y="30"/>
                    <a:pt x="195" y="30"/>
                    <a:pt x="195" y="30"/>
                  </a:cubicBezTo>
                  <a:cubicBezTo>
                    <a:pt x="195" y="30"/>
                    <a:pt x="195" y="30"/>
                    <a:pt x="195" y="30"/>
                  </a:cubicBezTo>
                  <a:cubicBezTo>
                    <a:pt x="196" y="29"/>
                    <a:pt x="196" y="29"/>
                    <a:pt x="197" y="29"/>
                  </a:cubicBezTo>
                  <a:cubicBezTo>
                    <a:pt x="197" y="29"/>
                    <a:pt x="197" y="28"/>
                    <a:pt x="197" y="28"/>
                  </a:cubicBezTo>
                  <a:cubicBezTo>
                    <a:pt x="198" y="28"/>
                    <a:pt x="198" y="28"/>
                    <a:pt x="199" y="28"/>
                  </a:cubicBezTo>
                  <a:cubicBezTo>
                    <a:pt x="199" y="28"/>
                    <a:pt x="199" y="27"/>
                    <a:pt x="199" y="27"/>
                  </a:cubicBezTo>
                  <a:cubicBezTo>
                    <a:pt x="199" y="27"/>
                    <a:pt x="199" y="27"/>
                    <a:pt x="200" y="27"/>
                  </a:cubicBezTo>
                  <a:cubicBezTo>
                    <a:pt x="200" y="27"/>
                    <a:pt x="200" y="26"/>
                    <a:pt x="200" y="26"/>
                  </a:cubicBezTo>
                  <a:cubicBezTo>
                    <a:pt x="201" y="26"/>
                    <a:pt x="201" y="26"/>
                    <a:pt x="201" y="26"/>
                  </a:cubicBezTo>
                  <a:cubicBezTo>
                    <a:pt x="201" y="26"/>
                    <a:pt x="201" y="26"/>
                    <a:pt x="201" y="25"/>
                  </a:cubicBezTo>
                  <a:cubicBezTo>
                    <a:pt x="202" y="25"/>
                    <a:pt x="202" y="25"/>
                    <a:pt x="202" y="25"/>
                  </a:cubicBezTo>
                  <a:cubicBezTo>
                    <a:pt x="202" y="25"/>
                    <a:pt x="203" y="25"/>
                    <a:pt x="203" y="24"/>
                  </a:cubicBezTo>
                  <a:cubicBezTo>
                    <a:pt x="203" y="24"/>
                    <a:pt x="203" y="24"/>
                    <a:pt x="204" y="24"/>
                  </a:cubicBezTo>
                  <a:cubicBezTo>
                    <a:pt x="204" y="24"/>
                    <a:pt x="204" y="23"/>
                    <a:pt x="205" y="23"/>
                  </a:cubicBezTo>
                  <a:cubicBezTo>
                    <a:pt x="205" y="23"/>
                    <a:pt x="205" y="23"/>
                    <a:pt x="205" y="23"/>
                  </a:cubicBezTo>
                  <a:cubicBezTo>
                    <a:pt x="206" y="22"/>
                    <a:pt x="206" y="22"/>
                    <a:pt x="207" y="21"/>
                  </a:cubicBezTo>
                  <a:cubicBezTo>
                    <a:pt x="207" y="21"/>
                    <a:pt x="207" y="21"/>
                    <a:pt x="207" y="21"/>
                  </a:cubicBezTo>
                  <a:cubicBezTo>
                    <a:pt x="208" y="20"/>
                    <a:pt x="209" y="20"/>
                    <a:pt x="210" y="19"/>
                  </a:cubicBezTo>
                  <a:cubicBezTo>
                    <a:pt x="210" y="19"/>
                    <a:pt x="210" y="19"/>
                    <a:pt x="210" y="19"/>
                  </a:cubicBezTo>
                  <a:cubicBezTo>
                    <a:pt x="211" y="18"/>
                    <a:pt x="211" y="17"/>
                    <a:pt x="212" y="17"/>
                  </a:cubicBezTo>
                  <a:cubicBezTo>
                    <a:pt x="212" y="17"/>
                    <a:pt x="212" y="17"/>
                    <a:pt x="213" y="17"/>
                  </a:cubicBezTo>
                  <a:cubicBezTo>
                    <a:pt x="213" y="17"/>
                    <a:pt x="213" y="16"/>
                    <a:pt x="213" y="16"/>
                  </a:cubicBezTo>
                  <a:cubicBezTo>
                    <a:pt x="213" y="16"/>
                    <a:pt x="213" y="16"/>
                    <a:pt x="214" y="16"/>
                  </a:cubicBezTo>
                  <a:cubicBezTo>
                    <a:pt x="214" y="15"/>
                    <a:pt x="214" y="15"/>
                    <a:pt x="214" y="15"/>
                  </a:cubicBezTo>
                  <a:cubicBezTo>
                    <a:pt x="215" y="15"/>
                    <a:pt x="215" y="15"/>
                    <a:pt x="215" y="15"/>
                  </a:cubicBezTo>
                  <a:cubicBezTo>
                    <a:pt x="215" y="14"/>
                    <a:pt x="216" y="14"/>
                    <a:pt x="216" y="13"/>
                  </a:cubicBezTo>
                  <a:cubicBezTo>
                    <a:pt x="216" y="13"/>
                    <a:pt x="217" y="13"/>
                    <a:pt x="217" y="13"/>
                  </a:cubicBezTo>
                  <a:cubicBezTo>
                    <a:pt x="217" y="13"/>
                    <a:pt x="217" y="13"/>
                    <a:pt x="217" y="12"/>
                  </a:cubicBezTo>
                  <a:cubicBezTo>
                    <a:pt x="217" y="12"/>
                    <a:pt x="217" y="12"/>
                    <a:pt x="218" y="12"/>
                  </a:cubicBezTo>
                  <a:cubicBezTo>
                    <a:pt x="218" y="12"/>
                    <a:pt x="218" y="12"/>
                    <a:pt x="218" y="12"/>
                  </a:cubicBezTo>
                  <a:cubicBezTo>
                    <a:pt x="218" y="12"/>
                    <a:pt x="218" y="12"/>
                    <a:pt x="219" y="12"/>
                  </a:cubicBezTo>
                  <a:cubicBezTo>
                    <a:pt x="219" y="11"/>
                    <a:pt x="219" y="11"/>
                    <a:pt x="219" y="11"/>
                  </a:cubicBezTo>
                  <a:cubicBezTo>
                    <a:pt x="220" y="11"/>
                    <a:pt x="220" y="11"/>
                    <a:pt x="220" y="11"/>
                  </a:cubicBezTo>
                  <a:cubicBezTo>
                    <a:pt x="220" y="10"/>
                    <a:pt x="220" y="10"/>
                    <a:pt x="220" y="10"/>
                  </a:cubicBezTo>
                  <a:cubicBezTo>
                    <a:pt x="221" y="10"/>
                    <a:pt x="221" y="10"/>
                    <a:pt x="221" y="10"/>
                  </a:cubicBezTo>
                  <a:cubicBezTo>
                    <a:pt x="221" y="10"/>
                    <a:pt x="221" y="9"/>
                    <a:pt x="221" y="9"/>
                  </a:cubicBezTo>
                  <a:cubicBezTo>
                    <a:pt x="222" y="9"/>
                    <a:pt x="222" y="9"/>
                    <a:pt x="222" y="9"/>
                  </a:cubicBezTo>
                  <a:cubicBezTo>
                    <a:pt x="222" y="9"/>
                    <a:pt x="222" y="9"/>
                    <a:pt x="222" y="9"/>
                  </a:cubicBezTo>
                  <a:cubicBezTo>
                    <a:pt x="223" y="9"/>
                    <a:pt x="223" y="8"/>
                    <a:pt x="224" y="8"/>
                  </a:cubicBezTo>
                  <a:cubicBezTo>
                    <a:pt x="224" y="8"/>
                    <a:pt x="224" y="8"/>
                    <a:pt x="224" y="8"/>
                  </a:cubicBezTo>
                  <a:cubicBezTo>
                    <a:pt x="227" y="6"/>
                    <a:pt x="230" y="5"/>
                    <a:pt x="233" y="4"/>
                  </a:cubicBezTo>
                  <a:cubicBezTo>
                    <a:pt x="233" y="4"/>
                    <a:pt x="234" y="4"/>
                    <a:pt x="234" y="4"/>
                  </a:cubicBezTo>
                  <a:cubicBezTo>
                    <a:pt x="234" y="4"/>
                    <a:pt x="234" y="4"/>
                    <a:pt x="234" y="4"/>
                  </a:cubicBezTo>
                  <a:cubicBezTo>
                    <a:pt x="236" y="3"/>
                    <a:pt x="241" y="4"/>
                    <a:pt x="242" y="5"/>
                  </a:cubicBezTo>
                  <a:cubicBezTo>
                    <a:pt x="243" y="5"/>
                    <a:pt x="244" y="5"/>
                    <a:pt x="246" y="5"/>
                  </a:cubicBezTo>
                  <a:cubicBezTo>
                    <a:pt x="250" y="7"/>
                    <a:pt x="255" y="8"/>
                    <a:pt x="259" y="9"/>
                  </a:cubicBezTo>
                  <a:cubicBezTo>
                    <a:pt x="260" y="9"/>
                    <a:pt x="260" y="9"/>
                    <a:pt x="261" y="9"/>
                  </a:cubicBezTo>
                  <a:cubicBezTo>
                    <a:pt x="262" y="9"/>
                    <a:pt x="265" y="10"/>
                    <a:pt x="267" y="10"/>
                  </a:cubicBezTo>
                  <a:cubicBezTo>
                    <a:pt x="267" y="10"/>
                    <a:pt x="267" y="10"/>
                    <a:pt x="267" y="10"/>
                  </a:cubicBezTo>
                  <a:cubicBezTo>
                    <a:pt x="267" y="10"/>
                    <a:pt x="267" y="9"/>
                    <a:pt x="267" y="9"/>
                  </a:cubicBezTo>
                  <a:cubicBezTo>
                    <a:pt x="268" y="9"/>
                    <a:pt x="269" y="9"/>
                    <a:pt x="270" y="9"/>
                  </a:cubicBezTo>
                  <a:cubicBezTo>
                    <a:pt x="270" y="9"/>
                    <a:pt x="270" y="10"/>
                    <a:pt x="270" y="10"/>
                  </a:cubicBezTo>
                  <a:cubicBezTo>
                    <a:pt x="270" y="10"/>
                    <a:pt x="270" y="10"/>
                    <a:pt x="270" y="10"/>
                  </a:cubicBezTo>
                  <a:cubicBezTo>
                    <a:pt x="270" y="10"/>
                    <a:pt x="270" y="10"/>
                    <a:pt x="270" y="10"/>
                  </a:cubicBezTo>
                  <a:cubicBezTo>
                    <a:pt x="272" y="10"/>
                    <a:pt x="273" y="10"/>
                    <a:pt x="274" y="9"/>
                  </a:cubicBezTo>
                  <a:cubicBezTo>
                    <a:pt x="274" y="9"/>
                    <a:pt x="274" y="9"/>
                    <a:pt x="275" y="9"/>
                  </a:cubicBezTo>
                  <a:cubicBezTo>
                    <a:pt x="275" y="9"/>
                    <a:pt x="275" y="9"/>
                    <a:pt x="275" y="9"/>
                  </a:cubicBezTo>
                  <a:cubicBezTo>
                    <a:pt x="275" y="9"/>
                    <a:pt x="275" y="9"/>
                    <a:pt x="275" y="9"/>
                  </a:cubicBezTo>
                  <a:cubicBezTo>
                    <a:pt x="275" y="9"/>
                    <a:pt x="275" y="9"/>
                    <a:pt x="275" y="9"/>
                  </a:cubicBezTo>
                  <a:cubicBezTo>
                    <a:pt x="275" y="9"/>
                    <a:pt x="276" y="9"/>
                    <a:pt x="276" y="9"/>
                  </a:cubicBezTo>
                  <a:cubicBezTo>
                    <a:pt x="276" y="8"/>
                    <a:pt x="276" y="8"/>
                    <a:pt x="276" y="8"/>
                  </a:cubicBezTo>
                  <a:cubicBezTo>
                    <a:pt x="277" y="8"/>
                    <a:pt x="277" y="8"/>
                    <a:pt x="278" y="8"/>
                  </a:cubicBezTo>
                  <a:cubicBezTo>
                    <a:pt x="278" y="7"/>
                    <a:pt x="278" y="7"/>
                    <a:pt x="278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80" y="6"/>
                    <a:pt x="280" y="6"/>
                    <a:pt x="280" y="6"/>
                  </a:cubicBezTo>
                  <a:cubicBezTo>
                    <a:pt x="280" y="6"/>
                    <a:pt x="280" y="6"/>
                    <a:pt x="281" y="6"/>
                  </a:cubicBezTo>
                  <a:cubicBezTo>
                    <a:pt x="281" y="6"/>
                    <a:pt x="281" y="5"/>
                    <a:pt x="281" y="5"/>
                  </a:cubicBezTo>
                  <a:cubicBezTo>
                    <a:pt x="281" y="5"/>
                    <a:pt x="282" y="5"/>
                    <a:pt x="282" y="5"/>
                  </a:cubicBezTo>
                  <a:cubicBezTo>
                    <a:pt x="282" y="5"/>
                    <a:pt x="282" y="4"/>
                    <a:pt x="283" y="4"/>
                  </a:cubicBezTo>
                  <a:cubicBezTo>
                    <a:pt x="283" y="4"/>
                    <a:pt x="284" y="4"/>
                    <a:pt x="284" y="4"/>
                  </a:cubicBezTo>
                  <a:cubicBezTo>
                    <a:pt x="284" y="4"/>
                    <a:pt x="284" y="3"/>
                    <a:pt x="284" y="3"/>
                  </a:cubicBezTo>
                  <a:cubicBezTo>
                    <a:pt x="286" y="3"/>
                    <a:pt x="291" y="0"/>
                    <a:pt x="294" y="1"/>
                  </a:cubicBezTo>
                  <a:cubicBezTo>
                    <a:pt x="294" y="1"/>
                    <a:pt x="294" y="2"/>
                    <a:pt x="294" y="2"/>
                  </a:cubicBezTo>
                  <a:cubicBezTo>
                    <a:pt x="294" y="2"/>
                    <a:pt x="295" y="2"/>
                    <a:pt x="295" y="2"/>
                  </a:cubicBezTo>
                  <a:cubicBezTo>
                    <a:pt x="295" y="2"/>
                    <a:pt x="295" y="2"/>
                    <a:pt x="295" y="2"/>
                  </a:cubicBezTo>
                  <a:cubicBezTo>
                    <a:pt x="296" y="2"/>
                    <a:pt x="296" y="2"/>
                    <a:pt x="296" y="2"/>
                  </a:cubicBezTo>
                  <a:cubicBezTo>
                    <a:pt x="296" y="2"/>
                    <a:pt x="296" y="2"/>
                    <a:pt x="296" y="2"/>
                  </a:cubicBezTo>
                  <a:cubicBezTo>
                    <a:pt x="296" y="2"/>
                    <a:pt x="297" y="2"/>
                    <a:pt x="297" y="2"/>
                  </a:cubicBezTo>
                  <a:cubicBezTo>
                    <a:pt x="297" y="2"/>
                    <a:pt x="297" y="3"/>
                    <a:pt x="297" y="3"/>
                  </a:cubicBezTo>
                  <a:cubicBezTo>
                    <a:pt x="297" y="3"/>
                    <a:pt x="297" y="3"/>
                    <a:pt x="298" y="3"/>
                  </a:cubicBezTo>
                  <a:cubicBezTo>
                    <a:pt x="298" y="3"/>
                    <a:pt x="298" y="3"/>
                    <a:pt x="298" y="3"/>
                  </a:cubicBezTo>
                  <a:cubicBezTo>
                    <a:pt x="298" y="3"/>
                    <a:pt x="298" y="3"/>
                    <a:pt x="299" y="3"/>
                  </a:cubicBezTo>
                  <a:cubicBezTo>
                    <a:pt x="299" y="4"/>
                    <a:pt x="299" y="4"/>
                    <a:pt x="299" y="4"/>
                  </a:cubicBezTo>
                  <a:cubicBezTo>
                    <a:pt x="299" y="4"/>
                    <a:pt x="300" y="4"/>
                    <a:pt x="300" y="4"/>
                  </a:cubicBezTo>
                  <a:cubicBezTo>
                    <a:pt x="300" y="4"/>
                    <a:pt x="300" y="5"/>
                    <a:pt x="300" y="5"/>
                  </a:cubicBezTo>
                  <a:cubicBezTo>
                    <a:pt x="301" y="5"/>
                    <a:pt x="301" y="5"/>
                    <a:pt x="301" y="5"/>
                  </a:cubicBezTo>
                  <a:cubicBezTo>
                    <a:pt x="302" y="6"/>
                    <a:pt x="302" y="6"/>
                    <a:pt x="303" y="7"/>
                  </a:cubicBezTo>
                  <a:cubicBezTo>
                    <a:pt x="304" y="8"/>
                    <a:pt x="305" y="9"/>
                    <a:pt x="306" y="10"/>
                  </a:cubicBezTo>
                  <a:cubicBezTo>
                    <a:pt x="306" y="10"/>
                    <a:pt x="306" y="10"/>
                    <a:pt x="306" y="11"/>
                  </a:cubicBezTo>
                  <a:cubicBezTo>
                    <a:pt x="307" y="11"/>
                    <a:pt x="307" y="12"/>
                    <a:pt x="308" y="12"/>
                  </a:cubicBezTo>
                  <a:cubicBezTo>
                    <a:pt x="308" y="13"/>
                    <a:pt x="308" y="13"/>
                    <a:pt x="308" y="13"/>
                  </a:cubicBezTo>
                  <a:cubicBezTo>
                    <a:pt x="309" y="14"/>
                    <a:pt x="309" y="14"/>
                    <a:pt x="310" y="14"/>
                  </a:cubicBezTo>
                  <a:cubicBezTo>
                    <a:pt x="310" y="14"/>
                    <a:pt x="310" y="15"/>
                    <a:pt x="310" y="15"/>
                  </a:cubicBezTo>
                  <a:cubicBezTo>
                    <a:pt x="310" y="15"/>
                    <a:pt x="310" y="16"/>
                    <a:pt x="311" y="16"/>
                  </a:cubicBezTo>
                  <a:cubicBezTo>
                    <a:pt x="311" y="16"/>
                    <a:pt x="311" y="16"/>
                    <a:pt x="311" y="17"/>
                  </a:cubicBezTo>
                  <a:cubicBezTo>
                    <a:pt x="311" y="17"/>
                    <a:pt x="311" y="17"/>
                    <a:pt x="312" y="17"/>
                  </a:cubicBezTo>
                  <a:cubicBezTo>
                    <a:pt x="312" y="17"/>
                    <a:pt x="312" y="18"/>
                    <a:pt x="312" y="18"/>
                  </a:cubicBezTo>
                  <a:cubicBezTo>
                    <a:pt x="312" y="18"/>
                    <a:pt x="312" y="18"/>
                    <a:pt x="312" y="18"/>
                  </a:cubicBezTo>
                  <a:cubicBezTo>
                    <a:pt x="313" y="21"/>
                    <a:pt x="315" y="24"/>
                    <a:pt x="316" y="26"/>
                  </a:cubicBezTo>
                  <a:cubicBezTo>
                    <a:pt x="316" y="27"/>
                    <a:pt x="316" y="27"/>
                    <a:pt x="316" y="28"/>
                  </a:cubicBezTo>
                  <a:cubicBezTo>
                    <a:pt x="316" y="28"/>
                    <a:pt x="316" y="28"/>
                    <a:pt x="316" y="28"/>
                  </a:cubicBezTo>
                  <a:cubicBezTo>
                    <a:pt x="316" y="28"/>
                    <a:pt x="316" y="29"/>
                    <a:pt x="316" y="29"/>
                  </a:cubicBezTo>
                  <a:cubicBezTo>
                    <a:pt x="316" y="29"/>
                    <a:pt x="316" y="29"/>
                    <a:pt x="317" y="29"/>
                  </a:cubicBezTo>
                  <a:cubicBezTo>
                    <a:pt x="317" y="30"/>
                    <a:pt x="317" y="30"/>
                    <a:pt x="317" y="31"/>
                  </a:cubicBezTo>
                  <a:cubicBezTo>
                    <a:pt x="317" y="31"/>
                    <a:pt x="317" y="31"/>
                    <a:pt x="317" y="31"/>
                  </a:cubicBezTo>
                  <a:cubicBezTo>
                    <a:pt x="317" y="31"/>
                    <a:pt x="317" y="32"/>
                    <a:pt x="317" y="33"/>
                  </a:cubicBezTo>
                  <a:cubicBezTo>
                    <a:pt x="317" y="33"/>
                    <a:pt x="317" y="33"/>
                    <a:pt x="317" y="33"/>
                  </a:cubicBezTo>
                  <a:cubicBezTo>
                    <a:pt x="317" y="33"/>
                    <a:pt x="317" y="34"/>
                    <a:pt x="317" y="35"/>
                  </a:cubicBezTo>
                  <a:cubicBezTo>
                    <a:pt x="317" y="35"/>
                    <a:pt x="317" y="35"/>
                    <a:pt x="318" y="35"/>
                  </a:cubicBezTo>
                  <a:cubicBezTo>
                    <a:pt x="318" y="36"/>
                    <a:pt x="318" y="37"/>
                    <a:pt x="318" y="38"/>
                  </a:cubicBezTo>
                  <a:cubicBezTo>
                    <a:pt x="318" y="38"/>
                    <a:pt x="318" y="38"/>
                    <a:pt x="318" y="38"/>
                  </a:cubicBezTo>
                  <a:cubicBezTo>
                    <a:pt x="318" y="39"/>
                    <a:pt x="318" y="40"/>
                    <a:pt x="318" y="41"/>
                  </a:cubicBezTo>
                  <a:cubicBezTo>
                    <a:pt x="318" y="41"/>
                    <a:pt x="318" y="41"/>
                    <a:pt x="318" y="41"/>
                  </a:cubicBezTo>
                  <a:cubicBezTo>
                    <a:pt x="318" y="49"/>
                    <a:pt x="319" y="57"/>
                    <a:pt x="319" y="64"/>
                  </a:cubicBezTo>
                  <a:cubicBezTo>
                    <a:pt x="319" y="64"/>
                    <a:pt x="319" y="64"/>
                    <a:pt x="319" y="64"/>
                  </a:cubicBezTo>
                  <a:cubicBezTo>
                    <a:pt x="319" y="64"/>
                    <a:pt x="319" y="65"/>
                    <a:pt x="319" y="65"/>
                  </a:cubicBezTo>
                  <a:cubicBezTo>
                    <a:pt x="319" y="65"/>
                    <a:pt x="319" y="65"/>
                    <a:pt x="320" y="65"/>
                  </a:cubicBezTo>
                  <a:cubicBezTo>
                    <a:pt x="320" y="66"/>
                    <a:pt x="320" y="66"/>
                    <a:pt x="320" y="67"/>
                  </a:cubicBezTo>
                  <a:cubicBezTo>
                    <a:pt x="320" y="67"/>
                    <a:pt x="320" y="67"/>
                    <a:pt x="320" y="67"/>
                  </a:cubicBezTo>
                  <a:cubicBezTo>
                    <a:pt x="320" y="67"/>
                    <a:pt x="321" y="68"/>
                    <a:pt x="321" y="68"/>
                  </a:cubicBezTo>
                  <a:cubicBezTo>
                    <a:pt x="321" y="68"/>
                    <a:pt x="321" y="68"/>
                    <a:pt x="321" y="68"/>
                  </a:cubicBezTo>
                  <a:cubicBezTo>
                    <a:pt x="321" y="68"/>
                    <a:pt x="321" y="69"/>
                    <a:pt x="321" y="69"/>
                  </a:cubicBezTo>
                  <a:cubicBezTo>
                    <a:pt x="321" y="69"/>
                    <a:pt x="321" y="69"/>
                    <a:pt x="321" y="69"/>
                  </a:cubicBezTo>
                  <a:cubicBezTo>
                    <a:pt x="321" y="69"/>
                    <a:pt x="321" y="70"/>
                    <a:pt x="321" y="70"/>
                  </a:cubicBezTo>
                  <a:cubicBezTo>
                    <a:pt x="322" y="70"/>
                    <a:pt x="322" y="70"/>
                    <a:pt x="322" y="70"/>
                  </a:cubicBezTo>
                  <a:cubicBezTo>
                    <a:pt x="323" y="74"/>
                    <a:pt x="324" y="77"/>
                    <a:pt x="325" y="81"/>
                  </a:cubicBezTo>
                  <a:cubicBezTo>
                    <a:pt x="325" y="82"/>
                    <a:pt x="325" y="82"/>
                    <a:pt x="325" y="83"/>
                  </a:cubicBezTo>
                  <a:cubicBezTo>
                    <a:pt x="325" y="83"/>
                    <a:pt x="325" y="83"/>
                    <a:pt x="325" y="83"/>
                  </a:cubicBezTo>
                  <a:cubicBezTo>
                    <a:pt x="325" y="83"/>
                    <a:pt x="325" y="84"/>
                    <a:pt x="325" y="85"/>
                  </a:cubicBezTo>
                  <a:cubicBezTo>
                    <a:pt x="325" y="85"/>
                    <a:pt x="326" y="85"/>
                    <a:pt x="326" y="85"/>
                  </a:cubicBezTo>
                  <a:cubicBezTo>
                    <a:pt x="326" y="85"/>
                    <a:pt x="326" y="86"/>
                    <a:pt x="326" y="86"/>
                  </a:cubicBezTo>
                  <a:cubicBezTo>
                    <a:pt x="326" y="86"/>
                    <a:pt x="326" y="86"/>
                    <a:pt x="326" y="86"/>
                  </a:cubicBezTo>
                  <a:cubicBezTo>
                    <a:pt x="326" y="87"/>
                    <a:pt x="326" y="88"/>
                    <a:pt x="326" y="88"/>
                  </a:cubicBezTo>
                  <a:cubicBezTo>
                    <a:pt x="326" y="88"/>
                    <a:pt x="326" y="88"/>
                    <a:pt x="326" y="88"/>
                  </a:cubicBezTo>
                  <a:cubicBezTo>
                    <a:pt x="326" y="89"/>
                    <a:pt x="326" y="90"/>
                    <a:pt x="326" y="90"/>
                  </a:cubicBezTo>
                  <a:cubicBezTo>
                    <a:pt x="326" y="90"/>
                    <a:pt x="327" y="90"/>
                    <a:pt x="327" y="90"/>
                  </a:cubicBezTo>
                  <a:cubicBezTo>
                    <a:pt x="327" y="91"/>
                    <a:pt x="327" y="92"/>
                    <a:pt x="327" y="92"/>
                  </a:cubicBezTo>
                  <a:cubicBezTo>
                    <a:pt x="327" y="92"/>
                    <a:pt x="327" y="92"/>
                    <a:pt x="327" y="92"/>
                  </a:cubicBezTo>
                  <a:cubicBezTo>
                    <a:pt x="327" y="93"/>
                    <a:pt x="327" y="94"/>
                    <a:pt x="327" y="94"/>
                  </a:cubicBezTo>
                  <a:cubicBezTo>
                    <a:pt x="327" y="94"/>
                    <a:pt x="327" y="94"/>
                    <a:pt x="327" y="94"/>
                  </a:cubicBezTo>
                  <a:cubicBezTo>
                    <a:pt x="327" y="96"/>
                    <a:pt x="328" y="97"/>
                    <a:pt x="328" y="98"/>
                  </a:cubicBezTo>
                  <a:cubicBezTo>
                    <a:pt x="329" y="102"/>
                    <a:pt x="329" y="107"/>
                    <a:pt x="331" y="111"/>
                  </a:cubicBezTo>
                  <a:cubicBezTo>
                    <a:pt x="331" y="112"/>
                    <a:pt x="331" y="112"/>
                    <a:pt x="331" y="112"/>
                  </a:cubicBezTo>
                  <a:cubicBezTo>
                    <a:pt x="331" y="112"/>
                    <a:pt x="331" y="112"/>
                    <a:pt x="331" y="112"/>
                  </a:cubicBezTo>
                  <a:cubicBezTo>
                    <a:pt x="331" y="113"/>
                    <a:pt x="331" y="113"/>
                    <a:pt x="331" y="114"/>
                  </a:cubicBezTo>
                  <a:cubicBezTo>
                    <a:pt x="331" y="114"/>
                    <a:pt x="331" y="114"/>
                    <a:pt x="332" y="114"/>
                  </a:cubicBezTo>
                  <a:cubicBezTo>
                    <a:pt x="332" y="114"/>
                    <a:pt x="332" y="114"/>
                    <a:pt x="332" y="115"/>
                  </a:cubicBezTo>
                  <a:cubicBezTo>
                    <a:pt x="332" y="115"/>
                    <a:pt x="332" y="115"/>
                    <a:pt x="332" y="115"/>
                  </a:cubicBezTo>
                  <a:cubicBezTo>
                    <a:pt x="332" y="115"/>
                    <a:pt x="332" y="116"/>
                    <a:pt x="332" y="116"/>
                  </a:cubicBezTo>
                  <a:cubicBezTo>
                    <a:pt x="332" y="116"/>
                    <a:pt x="332" y="116"/>
                    <a:pt x="332" y="116"/>
                  </a:cubicBezTo>
                  <a:cubicBezTo>
                    <a:pt x="332" y="116"/>
                    <a:pt x="332" y="116"/>
                    <a:pt x="332" y="117"/>
                  </a:cubicBezTo>
                  <a:cubicBezTo>
                    <a:pt x="332" y="117"/>
                    <a:pt x="332" y="117"/>
                    <a:pt x="333" y="117"/>
                  </a:cubicBezTo>
                  <a:cubicBezTo>
                    <a:pt x="333" y="117"/>
                    <a:pt x="333" y="117"/>
                    <a:pt x="333" y="118"/>
                  </a:cubicBezTo>
                  <a:cubicBezTo>
                    <a:pt x="333" y="118"/>
                    <a:pt x="333" y="118"/>
                    <a:pt x="333" y="118"/>
                  </a:cubicBezTo>
                  <a:cubicBezTo>
                    <a:pt x="333" y="118"/>
                    <a:pt x="333" y="118"/>
                    <a:pt x="333" y="119"/>
                  </a:cubicBezTo>
                  <a:cubicBezTo>
                    <a:pt x="333" y="119"/>
                    <a:pt x="333" y="119"/>
                    <a:pt x="333" y="119"/>
                  </a:cubicBezTo>
                  <a:cubicBezTo>
                    <a:pt x="334" y="119"/>
                    <a:pt x="334" y="120"/>
                    <a:pt x="334" y="121"/>
                  </a:cubicBezTo>
                  <a:cubicBezTo>
                    <a:pt x="334" y="121"/>
                    <a:pt x="334" y="121"/>
                    <a:pt x="334" y="121"/>
                  </a:cubicBezTo>
                  <a:cubicBezTo>
                    <a:pt x="334" y="121"/>
                    <a:pt x="334" y="121"/>
                    <a:pt x="334" y="122"/>
                  </a:cubicBezTo>
                  <a:cubicBezTo>
                    <a:pt x="335" y="122"/>
                    <a:pt x="335" y="122"/>
                    <a:pt x="335" y="122"/>
                  </a:cubicBezTo>
                  <a:cubicBezTo>
                    <a:pt x="335" y="122"/>
                    <a:pt x="335" y="123"/>
                    <a:pt x="335" y="123"/>
                  </a:cubicBezTo>
                  <a:cubicBezTo>
                    <a:pt x="336" y="124"/>
                    <a:pt x="336" y="124"/>
                    <a:pt x="336" y="124"/>
                  </a:cubicBezTo>
                  <a:cubicBezTo>
                    <a:pt x="336" y="124"/>
                    <a:pt x="336" y="125"/>
                    <a:pt x="336" y="125"/>
                  </a:cubicBezTo>
                  <a:cubicBezTo>
                    <a:pt x="337" y="125"/>
                    <a:pt x="337" y="125"/>
                    <a:pt x="337" y="125"/>
                  </a:cubicBezTo>
                  <a:cubicBezTo>
                    <a:pt x="337" y="125"/>
                    <a:pt x="337" y="126"/>
                    <a:pt x="337" y="126"/>
                  </a:cubicBezTo>
                  <a:cubicBezTo>
                    <a:pt x="338" y="126"/>
                    <a:pt x="338" y="126"/>
                    <a:pt x="338" y="126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39" y="127"/>
                    <a:pt x="339" y="128"/>
                    <a:pt x="339" y="128"/>
                  </a:cubicBezTo>
                  <a:cubicBezTo>
                    <a:pt x="339" y="128"/>
                    <a:pt x="339" y="129"/>
                    <a:pt x="340" y="129"/>
                  </a:cubicBezTo>
                  <a:cubicBezTo>
                    <a:pt x="340" y="130"/>
                    <a:pt x="341" y="130"/>
                    <a:pt x="342" y="131"/>
                  </a:cubicBezTo>
                  <a:cubicBezTo>
                    <a:pt x="342" y="131"/>
                    <a:pt x="342" y="131"/>
                    <a:pt x="342" y="131"/>
                  </a:cubicBezTo>
                  <a:cubicBezTo>
                    <a:pt x="344" y="133"/>
                    <a:pt x="346" y="135"/>
                    <a:pt x="348" y="137"/>
                  </a:cubicBezTo>
                  <a:cubicBezTo>
                    <a:pt x="348" y="138"/>
                    <a:pt x="348" y="140"/>
                    <a:pt x="349" y="141"/>
                  </a:cubicBezTo>
                  <a:cubicBezTo>
                    <a:pt x="349" y="141"/>
                    <a:pt x="349" y="141"/>
                    <a:pt x="349" y="141"/>
                  </a:cubicBezTo>
                  <a:cubicBezTo>
                    <a:pt x="349" y="141"/>
                    <a:pt x="349" y="141"/>
                    <a:pt x="349" y="142"/>
                  </a:cubicBezTo>
                  <a:cubicBezTo>
                    <a:pt x="349" y="142"/>
                    <a:pt x="349" y="142"/>
                    <a:pt x="349" y="142"/>
                  </a:cubicBezTo>
                  <a:cubicBezTo>
                    <a:pt x="350" y="142"/>
                    <a:pt x="350" y="143"/>
                    <a:pt x="350" y="144"/>
                  </a:cubicBezTo>
                  <a:cubicBezTo>
                    <a:pt x="350" y="144"/>
                    <a:pt x="350" y="144"/>
                    <a:pt x="350" y="144"/>
                  </a:cubicBezTo>
                  <a:cubicBezTo>
                    <a:pt x="350" y="145"/>
                    <a:pt x="351" y="146"/>
                    <a:pt x="351" y="147"/>
                  </a:cubicBezTo>
                  <a:cubicBezTo>
                    <a:pt x="351" y="147"/>
                    <a:pt x="351" y="147"/>
                    <a:pt x="351" y="147"/>
                  </a:cubicBezTo>
                  <a:cubicBezTo>
                    <a:pt x="351" y="147"/>
                    <a:pt x="351" y="147"/>
                    <a:pt x="351" y="147"/>
                  </a:cubicBezTo>
                  <a:cubicBezTo>
                    <a:pt x="351" y="147"/>
                    <a:pt x="351" y="147"/>
                    <a:pt x="352" y="147"/>
                  </a:cubicBezTo>
                  <a:cubicBezTo>
                    <a:pt x="352" y="148"/>
                    <a:pt x="352" y="148"/>
                    <a:pt x="352" y="149"/>
                  </a:cubicBezTo>
                  <a:cubicBezTo>
                    <a:pt x="352" y="149"/>
                    <a:pt x="352" y="149"/>
                    <a:pt x="352" y="149"/>
                  </a:cubicBezTo>
                  <a:cubicBezTo>
                    <a:pt x="352" y="150"/>
                    <a:pt x="352" y="151"/>
                    <a:pt x="353" y="152"/>
                  </a:cubicBezTo>
                  <a:cubicBezTo>
                    <a:pt x="353" y="152"/>
                    <a:pt x="353" y="152"/>
                    <a:pt x="353" y="152"/>
                  </a:cubicBezTo>
                  <a:cubicBezTo>
                    <a:pt x="353" y="152"/>
                    <a:pt x="353" y="152"/>
                    <a:pt x="353" y="152"/>
                  </a:cubicBezTo>
                  <a:cubicBezTo>
                    <a:pt x="353" y="152"/>
                    <a:pt x="353" y="152"/>
                    <a:pt x="353" y="152"/>
                  </a:cubicBezTo>
                  <a:cubicBezTo>
                    <a:pt x="353" y="153"/>
                    <a:pt x="353" y="154"/>
                    <a:pt x="354" y="154"/>
                  </a:cubicBezTo>
                  <a:cubicBezTo>
                    <a:pt x="354" y="154"/>
                    <a:pt x="354" y="154"/>
                    <a:pt x="354" y="154"/>
                  </a:cubicBezTo>
                  <a:cubicBezTo>
                    <a:pt x="354" y="155"/>
                    <a:pt x="354" y="156"/>
                    <a:pt x="354" y="157"/>
                  </a:cubicBezTo>
                  <a:cubicBezTo>
                    <a:pt x="354" y="157"/>
                    <a:pt x="355" y="157"/>
                    <a:pt x="355" y="157"/>
                  </a:cubicBezTo>
                  <a:cubicBezTo>
                    <a:pt x="355" y="157"/>
                    <a:pt x="355" y="157"/>
                    <a:pt x="355" y="157"/>
                  </a:cubicBezTo>
                  <a:cubicBezTo>
                    <a:pt x="355" y="157"/>
                    <a:pt x="355" y="157"/>
                    <a:pt x="355" y="157"/>
                  </a:cubicBezTo>
                  <a:cubicBezTo>
                    <a:pt x="355" y="158"/>
                    <a:pt x="355" y="158"/>
                    <a:pt x="355" y="158"/>
                  </a:cubicBezTo>
                  <a:cubicBezTo>
                    <a:pt x="355" y="158"/>
                    <a:pt x="355" y="158"/>
                    <a:pt x="355" y="158"/>
                  </a:cubicBezTo>
                  <a:cubicBezTo>
                    <a:pt x="356" y="159"/>
                    <a:pt x="356" y="160"/>
                    <a:pt x="356" y="161"/>
                  </a:cubicBezTo>
                  <a:cubicBezTo>
                    <a:pt x="356" y="161"/>
                    <a:pt x="356" y="161"/>
                    <a:pt x="356" y="161"/>
                  </a:cubicBezTo>
                  <a:cubicBezTo>
                    <a:pt x="356" y="162"/>
                    <a:pt x="356" y="162"/>
                    <a:pt x="356" y="162"/>
                  </a:cubicBezTo>
                  <a:cubicBezTo>
                    <a:pt x="357" y="162"/>
                    <a:pt x="357" y="162"/>
                    <a:pt x="357" y="162"/>
                  </a:cubicBezTo>
                  <a:cubicBezTo>
                    <a:pt x="357" y="163"/>
                    <a:pt x="357" y="164"/>
                    <a:pt x="357" y="165"/>
                  </a:cubicBezTo>
                  <a:cubicBezTo>
                    <a:pt x="358" y="167"/>
                    <a:pt x="359" y="169"/>
                    <a:pt x="360" y="171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</a:ln>
            <a:effectLst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64800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4000" b="1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0000"/>
                </a:solidFill>
                <a:latin typeface="UKIJ Qolyazma" pitchFamily="18" charset="0"/>
                <a:cs typeface="UKIJ Qolyazma" pitchFamily="18" charset="0"/>
              </a:endParaRPr>
            </a:p>
          </p:txBody>
        </p:sp>
        <p:sp>
          <p:nvSpPr>
            <p:cNvPr id="93" name="Freeform 13">
              <a:extLst>
                <a:ext uri="{FF2B5EF4-FFF2-40B4-BE49-F238E27FC236}">
                  <a16:creationId xmlns:a16="http://schemas.microsoft.com/office/drawing/2014/main" id="{76046907-8BF7-CED2-8066-50F8D08296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9720" y="1781491"/>
              <a:ext cx="543490" cy="898611"/>
            </a:xfrm>
            <a:custGeom>
              <a:avLst/>
              <a:gdLst>
                <a:gd name="T0" fmla="*/ 245 w 250"/>
                <a:gd name="T1" fmla="*/ 55 h 413"/>
                <a:gd name="T2" fmla="*/ 248 w 250"/>
                <a:gd name="T3" fmla="*/ 68 h 413"/>
                <a:gd name="T4" fmla="*/ 250 w 250"/>
                <a:gd name="T5" fmla="*/ 90 h 413"/>
                <a:gd name="T6" fmla="*/ 247 w 250"/>
                <a:gd name="T7" fmla="*/ 97 h 413"/>
                <a:gd name="T8" fmla="*/ 244 w 250"/>
                <a:gd name="T9" fmla="*/ 103 h 413"/>
                <a:gd name="T10" fmla="*/ 229 w 250"/>
                <a:gd name="T11" fmla="*/ 120 h 413"/>
                <a:gd name="T12" fmla="*/ 223 w 250"/>
                <a:gd name="T13" fmla="*/ 128 h 413"/>
                <a:gd name="T14" fmla="*/ 219 w 250"/>
                <a:gd name="T15" fmla="*/ 147 h 413"/>
                <a:gd name="T16" fmla="*/ 223 w 250"/>
                <a:gd name="T17" fmla="*/ 164 h 413"/>
                <a:gd name="T18" fmla="*/ 227 w 250"/>
                <a:gd name="T19" fmla="*/ 179 h 413"/>
                <a:gd name="T20" fmla="*/ 227 w 250"/>
                <a:gd name="T21" fmla="*/ 192 h 413"/>
                <a:gd name="T22" fmla="*/ 213 w 250"/>
                <a:gd name="T23" fmla="*/ 284 h 413"/>
                <a:gd name="T24" fmla="*/ 211 w 250"/>
                <a:gd name="T25" fmla="*/ 300 h 413"/>
                <a:gd name="T26" fmla="*/ 205 w 250"/>
                <a:gd name="T27" fmla="*/ 311 h 413"/>
                <a:gd name="T28" fmla="*/ 192 w 250"/>
                <a:gd name="T29" fmla="*/ 324 h 413"/>
                <a:gd name="T30" fmla="*/ 185 w 250"/>
                <a:gd name="T31" fmla="*/ 329 h 413"/>
                <a:gd name="T32" fmla="*/ 172 w 250"/>
                <a:gd name="T33" fmla="*/ 336 h 413"/>
                <a:gd name="T34" fmla="*/ 133 w 250"/>
                <a:gd name="T35" fmla="*/ 373 h 413"/>
                <a:gd name="T36" fmla="*/ 115 w 250"/>
                <a:gd name="T37" fmla="*/ 389 h 413"/>
                <a:gd name="T38" fmla="*/ 93 w 250"/>
                <a:gd name="T39" fmla="*/ 409 h 413"/>
                <a:gd name="T40" fmla="*/ 85 w 250"/>
                <a:gd name="T41" fmla="*/ 387 h 413"/>
                <a:gd name="T42" fmla="*/ 83 w 250"/>
                <a:gd name="T43" fmla="*/ 379 h 413"/>
                <a:gd name="T44" fmla="*/ 79 w 250"/>
                <a:gd name="T45" fmla="*/ 370 h 413"/>
                <a:gd name="T46" fmla="*/ 77 w 250"/>
                <a:gd name="T47" fmla="*/ 361 h 413"/>
                <a:gd name="T48" fmla="*/ 71 w 250"/>
                <a:gd name="T49" fmla="*/ 352 h 413"/>
                <a:gd name="T50" fmla="*/ 67 w 250"/>
                <a:gd name="T51" fmla="*/ 343 h 413"/>
                <a:gd name="T52" fmla="*/ 63 w 250"/>
                <a:gd name="T53" fmla="*/ 334 h 413"/>
                <a:gd name="T54" fmla="*/ 53 w 250"/>
                <a:gd name="T55" fmla="*/ 298 h 413"/>
                <a:gd name="T56" fmla="*/ 37 w 250"/>
                <a:gd name="T57" fmla="*/ 288 h 413"/>
                <a:gd name="T58" fmla="*/ 28 w 250"/>
                <a:gd name="T59" fmla="*/ 279 h 413"/>
                <a:gd name="T60" fmla="*/ 25 w 250"/>
                <a:gd name="T61" fmla="*/ 273 h 413"/>
                <a:gd name="T62" fmla="*/ 22 w 250"/>
                <a:gd name="T63" fmla="*/ 267 h 413"/>
                <a:gd name="T64" fmla="*/ 20 w 250"/>
                <a:gd name="T65" fmla="*/ 262 h 413"/>
                <a:gd name="T66" fmla="*/ 15 w 250"/>
                <a:gd name="T67" fmla="*/ 252 h 413"/>
                <a:gd name="T68" fmla="*/ 12 w 250"/>
                <a:gd name="T69" fmla="*/ 239 h 413"/>
                <a:gd name="T70" fmla="*/ 16 w 250"/>
                <a:gd name="T71" fmla="*/ 221 h 413"/>
                <a:gd name="T72" fmla="*/ 8 w 250"/>
                <a:gd name="T73" fmla="*/ 216 h 413"/>
                <a:gd name="T74" fmla="*/ 4 w 250"/>
                <a:gd name="T75" fmla="*/ 197 h 413"/>
                <a:gd name="T76" fmla="*/ 14 w 250"/>
                <a:gd name="T77" fmla="*/ 185 h 413"/>
                <a:gd name="T78" fmla="*/ 32 w 250"/>
                <a:gd name="T79" fmla="*/ 169 h 413"/>
                <a:gd name="T80" fmla="*/ 46 w 250"/>
                <a:gd name="T81" fmla="*/ 154 h 413"/>
                <a:gd name="T82" fmla="*/ 49 w 250"/>
                <a:gd name="T83" fmla="*/ 148 h 413"/>
                <a:gd name="T84" fmla="*/ 52 w 250"/>
                <a:gd name="T85" fmla="*/ 141 h 413"/>
                <a:gd name="T86" fmla="*/ 61 w 250"/>
                <a:gd name="T87" fmla="*/ 106 h 413"/>
                <a:gd name="T88" fmla="*/ 65 w 250"/>
                <a:gd name="T89" fmla="*/ 96 h 413"/>
                <a:gd name="T90" fmla="*/ 69 w 250"/>
                <a:gd name="T91" fmla="*/ 86 h 413"/>
                <a:gd name="T92" fmla="*/ 81 w 250"/>
                <a:gd name="T93" fmla="*/ 73 h 413"/>
                <a:gd name="T94" fmla="*/ 96 w 250"/>
                <a:gd name="T95" fmla="*/ 69 h 413"/>
                <a:gd name="T96" fmla="*/ 124 w 250"/>
                <a:gd name="T97" fmla="*/ 64 h 413"/>
                <a:gd name="T98" fmla="*/ 141 w 250"/>
                <a:gd name="T99" fmla="*/ 61 h 413"/>
                <a:gd name="T100" fmla="*/ 157 w 250"/>
                <a:gd name="T101" fmla="*/ 59 h 413"/>
                <a:gd name="T102" fmla="*/ 166 w 250"/>
                <a:gd name="T103" fmla="*/ 55 h 413"/>
                <a:gd name="T104" fmla="*/ 175 w 250"/>
                <a:gd name="T105" fmla="*/ 51 h 413"/>
                <a:gd name="T106" fmla="*/ 186 w 250"/>
                <a:gd name="T107" fmla="*/ 41 h 413"/>
                <a:gd name="T108" fmla="*/ 201 w 250"/>
                <a:gd name="T109" fmla="*/ 32 h 413"/>
                <a:gd name="T110" fmla="*/ 213 w 250"/>
                <a:gd name="T111" fmla="*/ 26 h 413"/>
                <a:gd name="T112" fmla="*/ 222 w 250"/>
                <a:gd name="T113" fmla="*/ 18 h 413"/>
                <a:gd name="T114" fmla="*/ 233 w 250"/>
                <a:gd name="T115" fmla="*/ 8 h 413"/>
                <a:gd name="T116" fmla="*/ 240 w 250"/>
                <a:gd name="T117" fmla="*/ 5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0" h="413">
                  <a:moveTo>
                    <a:pt x="248" y="0"/>
                  </a:moveTo>
                  <a:cubicBezTo>
                    <a:pt x="248" y="3"/>
                    <a:pt x="248" y="6"/>
                    <a:pt x="248" y="7"/>
                  </a:cubicBezTo>
                  <a:cubicBezTo>
                    <a:pt x="248" y="10"/>
                    <a:pt x="248" y="13"/>
                    <a:pt x="248" y="16"/>
                  </a:cubicBezTo>
                  <a:cubicBezTo>
                    <a:pt x="248" y="17"/>
                    <a:pt x="248" y="18"/>
                    <a:pt x="248" y="19"/>
                  </a:cubicBezTo>
                  <a:cubicBezTo>
                    <a:pt x="248" y="22"/>
                    <a:pt x="247" y="26"/>
                    <a:pt x="247" y="29"/>
                  </a:cubicBezTo>
                  <a:cubicBezTo>
                    <a:pt x="247" y="29"/>
                    <a:pt x="247" y="29"/>
                    <a:pt x="247" y="29"/>
                  </a:cubicBezTo>
                  <a:cubicBezTo>
                    <a:pt x="247" y="33"/>
                    <a:pt x="247" y="37"/>
                    <a:pt x="246" y="42"/>
                  </a:cubicBezTo>
                  <a:cubicBezTo>
                    <a:pt x="246" y="42"/>
                    <a:pt x="246" y="42"/>
                    <a:pt x="246" y="42"/>
                  </a:cubicBezTo>
                  <a:cubicBezTo>
                    <a:pt x="246" y="43"/>
                    <a:pt x="246" y="45"/>
                    <a:pt x="246" y="46"/>
                  </a:cubicBezTo>
                  <a:cubicBezTo>
                    <a:pt x="246" y="46"/>
                    <a:pt x="246" y="46"/>
                    <a:pt x="246" y="47"/>
                  </a:cubicBezTo>
                  <a:cubicBezTo>
                    <a:pt x="246" y="48"/>
                    <a:pt x="246" y="49"/>
                    <a:pt x="246" y="50"/>
                  </a:cubicBezTo>
                  <a:cubicBezTo>
                    <a:pt x="245" y="50"/>
                    <a:pt x="245" y="50"/>
                    <a:pt x="245" y="50"/>
                  </a:cubicBezTo>
                  <a:cubicBezTo>
                    <a:pt x="245" y="52"/>
                    <a:pt x="245" y="53"/>
                    <a:pt x="245" y="55"/>
                  </a:cubicBezTo>
                  <a:cubicBezTo>
                    <a:pt x="245" y="55"/>
                    <a:pt x="245" y="55"/>
                    <a:pt x="245" y="55"/>
                  </a:cubicBezTo>
                  <a:cubicBezTo>
                    <a:pt x="245" y="57"/>
                    <a:pt x="245" y="59"/>
                    <a:pt x="245" y="62"/>
                  </a:cubicBezTo>
                  <a:cubicBezTo>
                    <a:pt x="245" y="62"/>
                    <a:pt x="245" y="62"/>
                    <a:pt x="245" y="62"/>
                  </a:cubicBezTo>
                  <a:cubicBezTo>
                    <a:pt x="245" y="62"/>
                    <a:pt x="245" y="62"/>
                    <a:pt x="245" y="63"/>
                  </a:cubicBezTo>
                  <a:cubicBezTo>
                    <a:pt x="245" y="63"/>
                    <a:pt x="245" y="63"/>
                    <a:pt x="245" y="63"/>
                  </a:cubicBezTo>
                  <a:cubicBezTo>
                    <a:pt x="245" y="63"/>
                    <a:pt x="245" y="64"/>
                    <a:pt x="246" y="64"/>
                  </a:cubicBezTo>
                  <a:cubicBezTo>
                    <a:pt x="246" y="64"/>
                    <a:pt x="246" y="64"/>
                    <a:pt x="246" y="64"/>
                  </a:cubicBezTo>
                  <a:cubicBezTo>
                    <a:pt x="246" y="64"/>
                    <a:pt x="246" y="65"/>
                    <a:pt x="246" y="65"/>
                  </a:cubicBezTo>
                  <a:cubicBezTo>
                    <a:pt x="246" y="65"/>
                    <a:pt x="246" y="65"/>
                    <a:pt x="246" y="65"/>
                  </a:cubicBezTo>
                  <a:cubicBezTo>
                    <a:pt x="246" y="65"/>
                    <a:pt x="246" y="66"/>
                    <a:pt x="246" y="66"/>
                  </a:cubicBezTo>
                  <a:cubicBezTo>
                    <a:pt x="246" y="66"/>
                    <a:pt x="247" y="66"/>
                    <a:pt x="247" y="66"/>
                  </a:cubicBezTo>
                  <a:cubicBezTo>
                    <a:pt x="247" y="66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8"/>
                    <a:pt x="247" y="68"/>
                    <a:pt x="247" y="68"/>
                  </a:cubicBezTo>
                  <a:cubicBezTo>
                    <a:pt x="247" y="68"/>
                    <a:pt x="248" y="68"/>
                    <a:pt x="248" y="68"/>
                  </a:cubicBezTo>
                  <a:cubicBezTo>
                    <a:pt x="248" y="69"/>
                    <a:pt x="248" y="69"/>
                    <a:pt x="248" y="70"/>
                  </a:cubicBezTo>
                  <a:cubicBezTo>
                    <a:pt x="248" y="70"/>
                    <a:pt x="248" y="70"/>
                    <a:pt x="248" y="70"/>
                  </a:cubicBezTo>
                  <a:cubicBezTo>
                    <a:pt x="248" y="70"/>
                    <a:pt x="248" y="70"/>
                    <a:pt x="248" y="70"/>
                  </a:cubicBezTo>
                  <a:cubicBezTo>
                    <a:pt x="248" y="70"/>
                    <a:pt x="249" y="70"/>
                    <a:pt x="249" y="70"/>
                  </a:cubicBezTo>
                  <a:cubicBezTo>
                    <a:pt x="249" y="71"/>
                    <a:pt x="249" y="71"/>
                    <a:pt x="249" y="71"/>
                  </a:cubicBezTo>
                  <a:cubicBezTo>
                    <a:pt x="249" y="71"/>
                    <a:pt x="249" y="71"/>
                    <a:pt x="249" y="71"/>
                  </a:cubicBezTo>
                  <a:cubicBezTo>
                    <a:pt x="249" y="72"/>
                    <a:pt x="249" y="72"/>
                    <a:pt x="249" y="72"/>
                  </a:cubicBezTo>
                  <a:cubicBezTo>
                    <a:pt x="249" y="72"/>
                    <a:pt x="249" y="72"/>
                    <a:pt x="249" y="72"/>
                  </a:cubicBezTo>
                  <a:cubicBezTo>
                    <a:pt x="250" y="73"/>
                    <a:pt x="250" y="73"/>
                    <a:pt x="250" y="74"/>
                  </a:cubicBezTo>
                  <a:cubicBezTo>
                    <a:pt x="250" y="74"/>
                    <a:pt x="250" y="74"/>
                    <a:pt x="250" y="74"/>
                  </a:cubicBezTo>
                  <a:cubicBezTo>
                    <a:pt x="250" y="74"/>
                    <a:pt x="250" y="74"/>
                    <a:pt x="250" y="75"/>
                  </a:cubicBezTo>
                  <a:cubicBezTo>
                    <a:pt x="250" y="75"/>
                    <a:pt x="250" y="75"/>
                    <a:pt x="250" y="75"/>
                  </a:cubicBezTo>
                  <a:cubicBezTo>
                    <a:pt x="250" y="78"/>
                    <a:pt x="250" y="80"/>
                    <a:pt x="250" y="83"/>
                  </a:cubicBezTo>
                  <a:cubicBezTo>
                    <a:pt x="250" y="86"/>
                    <a:pt x="250" y="88"/>
                    <a:pt x="250" y="90"/>
                  </a:cubicBezTo>
                  <a:cubicBezTo>
                    <a:pt x="250" y="90"/>
                    <a:pt x="250" y="90"/>
                    <a:pt x="250" y="90"/>
                  </a:cubicBezTo>
                  <a:cubicBezTo>
                    <a:pt x="250" y="91"/>
                    <a:pt x="250" y="91"/>
                    <a:pt x="250" y="91"/>
                  </a:cubicBezTo>
                  <a:cubicBezTo>
                    <a:pt x="250" y="91"/>
                    <a:pt x="250" y="91"/>
                    <a:pt x="250" y="91"/>
                  </a:cubicBezTo>
                  <a:cubicBezTo>
                    <a:pt x="250" y="91"/>
                    <a:pt x="250" y="92"/>
                    <a:pt x="250" y="92"/>
                  </a:cubicBezTo>
                  <a:cubicBezTo>
                    <a:pt x="250" y="92"/>
                    <a:pt x="250" y="92"/>
                    <a:pt x="249" y="92"/>
                  </a:cubicBezTo>
                  <a:cubicBezTo>
                    <a:pt x="249" y="92"/>
                    <a:pt x="249" y="93"/>
                    <a:pt x="249" y="93"/>
                  </a:cubicBezTo>
                  <a:cubicBezTo>
                    <a:pt x="249" y="93"/>
                    <a:pt x="249" y="93"/>
                    <a:pt x="249" y="93"/>
                  </a:cubicBezTo>
                  <a:cubicBezTo>
                    <a:pt x="249" y="94"/>
                    <a:pt x="248" y="94"/>
                    <a:pt x="248" y="95"/>
                  </a:cubicBezTo>
                  <a:cubicBezTo>
                    <a:pt x="248" y="95"/>
                    <a:pt x="248" y="95"/>
                    <a:pt x="248" y="95"/>
                  </a:cubicBezTo>
                  <a:cubicBezTo>
                    <a:pt x="248" y="95"/>
                    <a:pt x="248" y="95"/>
                    <a:pt x="248" y="96"/>
                  </a:cubicBezTo>
                  <a:cubicBezTo>
                    <a:pt x="248" y="96"/>
                    <a:pt x="247" y="96"/>
                    <a:pt x="247" y="96"/>
                  </a:cubicBezTo>
                  <a:cubicBezTo>
                    <a:pt x="247" y="96"/>
                    <a:pt x="247" y="96"/>
                    <a:pt x="247" y="97"/>
                  </a:cubicBezTo>
                  <a:cubicBezTo>
                    <a:pt x="247" y="97"/>
                    <a:pt x="247" y="97"/>
                    <a:pt x="247" y="97"/>
                  </a:cubicBezTo>
                  <a:cubicBezTo>
                    <a:pt x="247" y="97"/>
                    <a:pt x="247" y="97"/>
                    <a:pt x="247" y="97"/>
                  </a:cubicBezTo>
                  <a:cubicBezTo>
                    <a:pt x="247" y="97"/>
                    <a:pt x="247" y="97"/>
                    <a:pt x="247" y="97"/>
                  </a:cubicBezTo>
                  <a:cubicBezTo>
                    <a:pt x="247" y="98"/>
                    <a:pt x="247" y="98"/>
                    <a:pt x="247" y="98"/>
                  </a:cubicBezTo>
                  <a:cubicBezTo>
                    <a:pt x="247" y="98"/>
                    <a:pt x="246" y="98"/>
                    <a:pt x="246" y="98"/>
                  </a:cubicBezTo>
                  <a:cubicBezTo>
                    <a:pt x="246" y="98"/>
                    <a:pt x="246" y="99"/>
                    <a:pt x="246" y="99"/>
                  </a:cubicBezTo>
                  <a:cubicBezTo>
                    <a:pt x="246" y="99"/>
                    <a:pt x="246" y="99"/>
                    <a:pt x="246" y="99"/>
                  </a:cubicBezTo>
                  <a:cubicBezTo>
                    <a:pt x="246" y="99"/>
                    <a:pt x="246" y="100"/>
                    <a:pt x="246" y="100"/>
                  </a:cubicBezTo>
                  <a:cubicBezTo>
                    <a:pt x="245" y="100"/>
                    <a:pt x="245" y="100"/>
                    <a:pt x="245" y="100"/>
                  </a:cubicBezTo>
                  <a:cubicBezTo>
                    <a:pt x="245" y="100"/>
                    <a:pt x="245" y="101"/>
                    <a:pt x="245" y="101"/>
                  </a:cubicBezTo>
                  <a:cubicBezTo>
                    <a:pt x="245" y="101"/>
                    <a:pt x="245" y="101"/>
                    <a:pt x="245" y="101"/>
                  </a:cubicBezTo>
                  <a:cubicBezTo>
                    <a:pt x="245" y="101"/>
                    <a:pt x="245" y="101"/>
                    <a:pt x="245" y="102"/>
                  </a:cubicBezTo>
                  <a:cubicBezTo>
                    <a:pt x="245" y="102"/>
                    <a:pt x="245" y="102"/>
                    <a:pt x="245" y="102"/>
                  </a:cubicBezTo>
                  <a:cubicBezTo>
                    <a:pt x="245" y="102"/>
                    <a:pt x="245" y="102"/>
                    <a:pt x="245" y="102"/>
                  </a:cubicBezTo>
                  <a:cubicBezTo>
                    <a:pt x="244" y="102"/>
                    <a:pt x="244" y="102"/>
                    <a:pt x="244" y="102"/>
                  </a:cubicBezTo>
                  <a:cubicBezTo>
                    <a:pt x="244" y="102"/>
                    <a:pt x="244" y="103"/>
                    <a:pt x="244" y="103"/>
                  </a:cubicBezTo>
                  <a:cubicBezTo>
                    <a:pt x="244" y="103"/>
                    <a:pt x="244" y="103"/>
                    <a:pt x="244" y="103"/>
                  </a:cubicBezTo>
                  <a:cubicBezTo>
                    <a:pt x="244" y="103"/>
                    <a:pt x="244" y="103"/>
                    <a:pt x="244" y="104"/>
                  </a:cubicBezTo>
                  <a:cubicBezTo>
                    <a:pt x="244" y="104"/>
                    <a:pt x="244" y="104"/>
                    <a:pt x="243" y="104"/>
                  </a:cubicBezTo>
                  <a:cubicBezTo>
                    <a:pt x="243" y="104"/>
                    <a:pt x="243" y="105"/>
                    <a:pt x="243" y="105"/>
                  </a:cubicBezTo>
                  <a:cubicBezTo>
                    <a:pt x="241" y="107"/>
                    <a:pt x="239" y="109"/>
                    <a:pt x="237" y="111"/>
                  </a:cubicBezTo>
                  <a:cubicBezTo>
                    <a:pt x="237" y="111"/>
                    <a:pt x="237" y="111"/>
                    <a:pt x="237" y="112"/>
                  </a:cubicBezTo>
                  <a:cubicBezTo>
                    <a:pt x="236" y="113"/>
                    <a:pt x="235" y="114"/>
                    <a:pt x="234" y="114"/>
                  </a:cubicBezTo>
                  <a:cubicBezTo>
                    <a:pt x="234" y="115"/>
                    <a:pt x="234" y="115"/>
                    <a:pt x="234" y="115"/>
                  </a:cubicBezTo>
                  <a:cubicBezTo>
                    <a:pt x="234" y="115"/>
                    <a:pt x="233" y="115"/>
                    <a:pt x="233" y="115"/>
                  </a:cubicBezTo>
                  <a:cubicBezTo>
                    <a:pt x="233" y="116"/>
                    <a:pt x="233" y="116"/>
                    <a:pt x="233" y="116"/>
                  </a:cubicBezTo>
                  <a:cubicBezTo>
                    <a:pt x="232" y="117"/>
                    <a:pt x="232" y="117"/>
                    <a:pt x="231" y="117"/>
                  </a:cubicBezTo>
                  <a:cubicBezTo>
                    <a:pt x="231" y="118"/>
                    <a:pt x="231" y="118"/>
                    <a:pt x="231" y="118"/>
                  </a:cubicBezTo>
                  <a:cubicBezTo>
                    <a:pt x="231" y="118"/>
                    <a:pt x="230" y="119"/>
                    <a:pt x="229" y="119"/>
                  </a:cubicBezTo>
                  <a:cubicBezTo>
                    <a:pt x="229" y="120"/>
                    <a:pt x="229" y="120"/>
                    <a:pt x="229" y="120"/>
                  </a:cubicBezTo>
                  <a:cubicBezTo>
                    <a:pt x="229" y="120"/>
                    <a:pt x="229" y="120"/>
                    <a:pt x="229" y="120"/>
                  </a:cubicBezTo>
                  <a:cubicBezTo>
                    <a:pt x="229" y="121"/>
                    <a:pt x="229" y="121"/>
                    <a:pt x="229" y="121"/>
                  </a:cubicBezTo>
                  <a:cubicBezTo>
                    <a:pt x="229" y="121"/>
                    <a:pt x="228" y="121"/>
                    <a:pt x="228" y="121"/>
                  </a:cubicBezTo>
                  <a:cubicBezTo>
                    <a:pt x="228" y="121"/>
                    <a:pt x="228" y="122"/>
                    <a:pt x="228" y="122"/>
                  </a:cubicBezTo>
                  <a:cubicBezTo>
                    <a:pt x="228" y="122"/>
                    <a:pt x="227" y="123"/>
                    <a:pt x="227" y="123"/>
                  </a:cubicBezTo>
                  <a:cubicBezTo>
                    <a:pt x="227" y="123"/>
                    <a:pt x="227" y="123"/>
                    <a:pt x="227" y="124"/>
                  </a:cubicBezTo>
                  <a:cubicBezTo>
                    <a:pt x="226" y="124"/>
                    <a:pt x="226" y="124"/>
                    <a:pt x="226" y="124"/>
                  </a:cubicBezTo>
                  <a:cubicBezTo>
                    <a:pt x="226" y="125"/>
                    <a:pt x="226" y="125"/>
                    <a:pt x="226" y="125"/>
                  </a:cubicBezTo>
                  <a:cubicBezTo>
                    <a:pt x="225" y="125"/>
                    <a:pt x="225" y="125"/>
                    <a:pt x="225" y="125"/>
                  </a:cubicBezTo>
                  <a:cubicBezTo>
                    <a:pt x="225" y="126"/>
                    <a:pt x="225" y="126"/>
                    <a:pt x="225" y="126"/>
                  </a:cubicBezTo>
                  <a:cubicBezTo>
                    <a:pt x="225" y="126"/>
                    <a:pt x="224" y="126"/>
                    <a:pt x="224" y="127"/>
                  </a:cubicBezTo>
                  <a:cubicBezTo>
                    <a:pt x="224" y="127"/>
                    <a:pt x="224" y="127"/>
                    <a:pt x="224" y="127"/>
                  </a:cubicBezTo>
                  <a:cubicBezTo>
                    <a:pt x="224" y="128"/>
                    <a:pt x="223" y="128"/>
                    <a:pt x="223" y="128"/>
                  </a:cubicBezTo>
                  <a:cubicBezTo>
                    <a:pt x="223" y="128"/>
                    <a:pt x="223" y="128"/>
                    <a:pt x="223" y="128"/>
                  </a:cubicBezTo>
                  <a:cubicBezTo>
                    <a:pt x="223" y="129"/>
                    <a:pt x="223" y="129"/>
                    <a:pt x="222" y="129"/>
                  </a:cubicBezTo>
                  <a:cubicBezTo>
                    <a:pt x="222" y="129"/>
                    <a:pt x="222" y="130"/>
                    <a:pt x="222" y="130"/>
                  </a:cubicBezTo>
                  <a:cubicBezTo>
                    <a:pt x="222" y="130"/>
                    <a:pt x="222" y="130"/>
                    <a:pt x="221" y="131"/>
                  </a:cubicBezTo>
                  <a:cubicBezTo>
                    <a:pt x="221" y="131"/>
                    <a:pt x="221" y="131"/>
                    <a:pt x="221" y="132"/>
                  </a:cubicBezTo>
                  <a:cubicBezTo>
                    <a:pt x="221" y="132"/>
                    <a:pt x="221" y="132"/>
                    <a:pt x="221" y="132"/>
                  </a:cubicBezTo>
                  <a:cubicBezTo>
                    <a:pt x="221" y="132"/>
                    <a:pt x="221" y="132"/>
                    <a:pt x="221" y="133"/>
                  </a:cubicBezTo>
                  <a:cubicBezTo>
                    <a:pt x="221" y="133"/>
                    <a:pt x="220" y="133"/>
                    <a:pt x="220" y="133"/>
                  </a:cubicBezTo>
                  <a:cubicBezTo>
                    <a:pt x="220" y="133"/>
                    <a:pt x="220" y="134"/>
                    <a:pt x="220" y="134"/>
                  </a:cubicBezTo>
                  <a:cubicBezTo>
                    <a:pt x="220" y="134"/>
                    <a:pt x="220" y="134"/>
                    <a:pt x="220" y="134"/>
                  </a:cubicBezTo>
                  <a:cubicBezTo>
                    <a:pt x="220" y="135"/>
                    <a:pt x="219" y="135"/>
                    <a:pt x="219" y="135"/>
                  </a:cubicBezTo>
                  <a:cubicBezTo>
                    <a:pt x="219" y="135"/>
                    <a:pt x="219" y="135"/>
                    <a:pt x="219" y="135"/>
                  </a:cubicBezTo>
                  <a:cubicBezTo>
                    <a:pt x="219" y="136"/>
                    <a:pt x="219" y="137"/>
                    <a:pt x="219" y="138"/>
                  </a:cubicBezTo>
                  <a:cubicBezTo>
                    <a:pt x="219" y="138"/>
                    <a:pt x="218" y="138"/>
                    <a:pt x="218" y="138"/>
                  </a:cubicBezTo>
                  <a:cubicBezTo>
                    <a:pt x="218" y="140"/>
                    <a:pt x="219" y="146"/>
                    <a:pt x="219" y="147"/>
                  </a:cubicBezTo>
                  <a:cubicBezTo>
                    <a:pt x="219" y="148"/>
                    <a:pt x="219" y="149"/>
                    <a:pt x="219" y="149"/>
                  </a:cubicBezTo>
                  <a:cubicBezTo>
                    <a:pt x="219" y="149"/>
                    <a:pt x="219" y="149"/>
                    <a:pt x="219" y="149"/>
                  </a:cubicBezTo>
                  <a:cubicBezTo>
                    <a:pt x="220" y="152"/>
                    <a:pt x="220" y="154"/>
                    <a:pt x="220" y="156"/>
                  </a:cubicBezTo>
                  <a:cubicBezTo>
                    <a:pt x="221" y="156"/>
                    <a:pt x="221" y="156"/>
                    <a:pt x="221" y="156"/>
                  </a:cubicBezTo>
                  <a:cubicBezTo>
                    <a:pt x="221" y="157"/>
                    <a:pt x="221" y="157"/>
                    <a:pt x="221" y="157"/>
                  </a:cubicBezTo>
                  <a:cubicBezTo>
                    <a:pt x="221" y="157"/>
                    <a:pt x="221" y="157"/>
                    <a:pt x="221" y="157"/>
                  </a:cubicBezTo>
                  <a:cubicBezTo>
                    <a:pt x="221" y="158"/>
                    <a:pt x="221" y="158"/>
                    <a:pt x="221" y="159"/>
                  </a:cubicBezTo>
                  <a:cubicBezTo>
                    <a:pt x="221" y="159"/>
                    <a:pt x="221" y="159"/>
                    <a:pt x="221" y="159"/>
                  </a:cubicBezTo>
                  <a:cubicBezTo>
                    <a:pt x="221" y="159"/>
                    <a:pt x="221" y="160"/>
                    <a:pt x="221" y="160"/>
                  </a:cubicBezTo>
                  <a:cubicBezTo>
                    <a:pt x="222" y="160"/>
                    <a:pt x="222" y="160"/>
                    <a:pt x="222" y="160"/>
                  </a:cubicBezTo>
                  <a:cubicBezTo>
                    <a:pt x="222" y="161"/>
                    <a:pt x="222" y="161"/>
                    <a:pt x="222" y="162"/>
                  </a:cubicBezTo>
                  <a:cubicBezTo>
                    <a:pt x="222" y="162"/>
                    <a:pt x="222" y="162"/>
                    <a:pt x="222" y="162"/>
                  </a:cubicBezTo>
                  <a:cubicBezTo>
                    <a:pt x="222" y="163"/>
                    <a:pt x="222" y="164"/>
                    <a:pt x="222" y="164"/>
                  </a:cubicBezTo>
                  <a:cubicBezTo>
                    <a:pt x="223" y="164"/>
                    <a:pt x="223" y="164"/>
                    <a:pt x="223" y="164"/>
                  </a:cubicBezTo>
                  <a:cubicBezTo>
                    <a:pt x="223" y="166"/>
                    <a:pt x="223" y="167"/>
                    <a:pt x="224" y="168"/>
                  </a:cubicBezTo>
                  <a:cubicBezTo>
                    <a:pt x="224" y="168"/>
                    <a:pt x="224" y="168"/>
                    <a:pt x="224" y="168"/>
                  </a:cubicBezTo>
                  <a:cubicBezTo>
                    <a:pt x="224" y="169"/>
                    <a:pt x="224" y="170"/>
                    <a:pt x="224" y="171"/>
                  </a:cubicBezTo>
                  <a:cubicBezTo>
                    <a:pt x="224" y="171"/>
                    <a:pt x="224" y="171"/>
                    <a:pt x="225" y="171"/>
                  </a:cubicBezTo>
                  <a:cubicBezTo>
                    <a:pt x="225" y="171"/>
                    <a:pt x="225" y="171"/>
                    <a:pt x="225" y="172"/>
                  </a:cubicBezTo>
                  <a:cubicBezTo>
                    <a:pt x="225" y="172"/>
                    <a:pt x="225" y="172"/>
                    <a:pt x="225" y="172"/>
                  </a:cubicBezTo>
                  <a:cubicBezTo>
                    <a:pt x="225" y="172"/>
                    <a:pt x="225" y="173"/>
                    <a:pt x="225" y="173"/>
                  </a:cubicBezTo>
                  <a:cubicBezTo>
                    <a:pt x="225" y="173"/>
                    <a:pt x="225" y="173"/>
                    <a:pt x="225" y="173"/>
                  </a:cubicBezTo>
                  <a:cubicBezTo>
                    <a:pt x="225" y="174"/>
                    <a:pt x="226" y="175"/>
                    <a:pt x="226" y="175"/>
                  </a:cubicBezTo>
                  <a:cubicBezTo>
                    <a:pt x="226" y="175"/>
                    <a:pt x="226" y="175"/>
                    <a:pt x="226" y="175"/>
                  </a:cubicBezTo>
                  <a:cubicBezTo>
                    <a:pt x="226" y="176"/>
                    <a:pt x="226" y="177"/>
                    <a:pt x="226" y="178"/>
                  </a:cubicBezTo>
                  <a:cubicBezTo>
                    <a:pt x="226" y="178"/>
                    <a:pt x="227" y="178"/>
                    <a:pt x="227" y="178"/>
                  </a:cubicBezTo>
                  <a:cubicBezTo>
                    <a:pt x="227" y="178"/>
                    <a:pt x="227" y="178"/>
                    <a:pt x="227" y="179"/>
                  </a:cubicBezTo>
                  <a:cubicBezTo>
                    <a:pt x="227" y="179"/>
                    <a:pt x="227" y="179"/>
                    <a:pt x="227" y="179"/>
                  </a:cubicBezTo>
                  <a:cubicBezTo>
                    <a:pt x="227" y="179"/>
                    <a:pt x="227" y="180"/>
                    <a:pt x="227" y="180"/>
                  </a:cubicBezTo>
                  <a:cubicBezTo>
                    <a:pt x="227" y="180"/>
                    <a:pt x="227" y="180"/>
                    <a:pt x="227" y="180"/>
                  </a:cubicBezTo>
                  <a:cubicBezTo>
                    <a:pt x="227" y="180"/>
                    <a:pt x="227" y="181"/>
                    <a:pt x="227" y="181"/>
                  </a:cubicBezTo>
                  <a:cubicBezTo>
                    <a:pt x="228" y="181"/>
                    <a:pt x="228" y="181"/>
                    <a:pt x="228" y="181"/>
                  </a:cubicBezTo>
                  <a:cubicBezTo>
                    <a:pt x="228" y="181"/>
                    <a:pt x="228" y="182"/>
                    <a:pt x="228" y="182"/>
                  </a:cubicBezTo>
                  <a:cubicBezTo>
                    <a:pt x="228" y="183"/>
                    <a:pt x="229" y="185"/>
                    <a:pt x="229" y="187"/>
                  </a:cubicBezTo>
                  <a:cubicBezTo>
                    <a:pt x="229" y="187"/>
                    <a:pt x="229" y="187"/>
                    <a:pt x="228" y="187"/>
                  </a:cubicBezTo>
                  <a:cubicBezTo>
                    <a:pt x="228" y="187"/>
                    <a:pt x="228" y="187"/>
                    <a:pt x="228" y="188"/>
                  </a:cubicBezTo>
                  <a:cubicBezTo>
                    <a:pt x="228" y="188"/>
                    <a:pt x="228" y="188"/>
                    <a:pt x="228" y="188"/>
                  </a:cubicBezTo>
                  <a:cubicBezTo>
                    <a:pt x="228" y="188"/>
                    <a:pt x="228" y="189"/>
                    <a:pt x="228" y="189"/>
                  </a:cubicBezTo>
                  <a:cubicBezTo>
                    <a:pt x="228" y="189"/>
                    <a:pt x="228" y="189"/>
                    <a:pt x="228" y="189"/>
                  </a:cubicBezTo>
                  <a:cubicBezTo>
                    <a:pt x="228" y="190"/>
                    <a:pt x="228" y="190"/>
                    <a:pt x="228" y="191"/>
                  </a:cubicBezTo>
                  <a:cubicBezTo>
                    <a:pt x="228" y="191"/>
                    <a:pt x="228" y="191"/>
                    <a:pt x="227" y="191"/>
                  </a:cubicBezTo>
                  <a:cubicBezTo>
                    <a:pt x="227" y="191"/>
                    <a:pt x="227" y="192"/>
                    <a:pt x="227" y="192"/>
                  </a:cubicBezTo>
                  <a:cubicBezTo>
                    <a:pt x="227" y="192"/>
                    <a:pt x="227" y="192"/>
                    <a:pt x="227" y="192"/>
                  </a:cubicBezTo>
                  <a:cubicBezTo>
                    <a:pt x="227" y="193"/>
                    <a:pt x="227" y="193"/>
                    <a:pt x="227" y="194"/>
                  </a:cubicBezTo>
                  <a:cubicBezTo>
                    <a:pt x="224" y="204"/>
                    <a:pt x="222" y="215"/>
                    <a:pt x="219" y="225"/>
                  </a:cubicBezTo>
                  <a:cubicBezTo>
                    <a:pt x="219" y="226"/>
                    <a:pt x="219" y="227"/>
                    <a:pt x="219" y="228"/>
                  </a:cubicBezTo>
                  <a:cubicBezTo>
                    <a:pt x="217" y="232"/>
                    <a:pt x="216" y="237"/>
                    <a:pt x="215" y="241"/>
                  </a:cubicBezTo>
                  <a:cubicBezTo>
                    <a:pt x="215" y="242"/>
                    <a:pt x="215" y="243"/>
                    <a:pt x="215" y="244"/>
                  </a:cubicBezTo>
                  <a:cubicBezTo>
                    <a:pt x="214" y="247"/>
                    <a:pt x="213" y="252"/>
                    <a:pt x="212" y="255"/>
                  </a:cubicBezTo>
                  <a:cubicBezTo>
                    <a:pt x="212" y="258"/>
                    <a:pt x="212" y="260"/>
                    <a:pt x="212" y="262"/>
                  </a:cubicBezTo>
                  <a:cubicBezTo>
                    <a:pt x="212" y="262"/>
                    <a:pt x="212" y="262"/>
                    <a:pt x="212" y="262"/>
                  </a:cubicBezTo>
                  <a:cubicBezTo>
                    <a:pt x="212" y="264"/>
                    <a:pt x="212" y="265"/>
                    <a:pt x="212" y="266"/>
                  </a:cubicBezTo>
                  <a:cubicBezTo>
                    <a:pt x="212" y="266"/>
                    <a:pt x="213" y="266"/>
                    <a:pt x="213" y="266"/>
                  </a:cubicBezTo>
                  <a:cubicBezTo>
                    <a:pt x="213" y="268"/>
                    <a:pt x="213" y="270"/>
                    <a:pt x="213" y="272"/>
                  </a:cubicBezTo>
                  <a:cubicBezTo>
                    <a:pt x="213" y="272"/>
                    <a:pt x="213" y="272"/>
                    <a:pt x="213" y="272"/>
                  </a:cubicBezTo>
                  <a:cubicBezTo>
                    <a:pt x="213" y="276"/>
                    <a:pt x="213" y="280"/>
                    <a:pt x="213" y="284"/>
                  </a:cubicBezTo>
                  <a:cubicBezTo>
                    <a:pt x="213" y="284"/>
                    <a:pt x="213" y="284"/>
                    <a:pt x="213" y="284"/>
                  </a:cubicBezTo>
                  <a:cubicBezTo>
                    <a:pt x="213" y="285"/>
                    <a:pt x="213" y="287"/>
                    <a:pt x="213" y="289"/>
                  </a:cubicBezTo>
                  <a:cubicBezTo>
                    <a:pt x="213" y="289"/>
                    <a:pt x="212" y="289"/>
                    <a:pt x="212" y="289"/>
                  </a:cubicBezTo>
                  <a:cubicBezTo>
                    <a:pt x="212" y="290"/>
                    <a:pt x="212" y="291"/>
                    <a:pt x="212" y="291"/>
                  </a:cubicBezTo>
                  <a:cubicBezTo>
                    <a:pt x="212" y="291"/>
                    <a:pt x="212" y="291"/>
                    <a:pt x="212" y="291"/>
                  </a:cubicBezTo>
                  <a:cubicBezTo>
                    <a:pt x="212" y="292"/>
                    <a:pt x="212" y="293"/>
                    <a:pt x="212" y="294"/>
                  </a:cubicBezTo>
                  <a:cubicBezTo>
                    <a:pt x="212" y="294"/>
                    <a:pt x="212" y="294"/>
                    <a:pt x="212" y="294"/>
                  </a:cubicBezTo>
                  <a:cubicBezTo>
                    <a:pt x="212" y="295"/>
                    <a:pt x="212" y="295"/>
                    <a:pt x="212" y="296"/>
                  </a:cubicBezTo>
                  <a:cubicBezTo>
                    <a:pt x="212" y="296"/>
                    <a:pt x="211" y="296"/>
                    <a:pt x="211" y="296"/>
                  </a:cubicBezTo>
                  <a:cubicBezTo>
                    <a:pt x="211" y="296"/>
                    <a:pt x="211" y="297"/>
                    <a:pt x="211" y="297"/>
                  </a:cubicBezTo>
                  <a:cubicBezTo>
                    <a:pt x="211" y="297"/>
                    <a:pt x="211" y="297"/>
                    <a:pt x="211" y="297"/>
                  </a:cubicBezTo>
                  <a:cubicBezTo>
                    <a:pt x="211" y="298"/>
                    <a:pt x="211" y="298"/>
                    <a:pt x="211" y="299"/>
                  </a:cubicBezTo>
                  <a:cubicBezTo>
                    <a:pt x="211" y="299"/>
                    <a:pt x="211" y="299"/>
                    <a:pt x="211" y="299"/>
                  </a:cubicBezTo>
                  <a:cubicBezTo>
                    <a:pt x="211" y="299"/>
                    <a:pt x="211" y="300"/>
                    <a:pt x="211" y="300"/>
                  </a:cubicBezTo>
                  <a:cubicBezTo>
                    <a:pt x="210" y="300"/>
                    <a:pt x="210" y="300"/>
                    <a:pt x="210" y="300"/>
                  </a:cubicBezTo>
                  <a:cubicBezTo>
                    <a:pt x="210" y="301"/>
                    <a:pt x="210" y="301"/>
                    <a:pt x="210" y="302"/>
                  </a:cubicBezTo>
                  <a:cubicBezTo>
                    <a:pt x="210" y="302"/>
                    <a:pt x="210" y="302"/>
                    <a:pt x="210" y="302"/>
                  </a:cubicBezTo>
                  <a:cubicBezTo>
                    <a:pt x="210" y="302"/>
                    <a:pt x="210" y="302"/>
                    <a:pt x="210" y="303"/>
                  </a:cubicBezTo>
                  <a:cubicBezTo>
                    <a:pt x="210" y="303"/>
                    <a:pt x="210" y="303"/>
                    <a:pt x="210" y="303"/>
                  </a:cubicBezTo>
                  <a:cubicBezTo>
                    <a:pt x="209" y="303"/>
                    <a:pt x="209" y="304"/>
                    <a:pt x="209" y="304"/>
                  </a:cubicBezTo>
                  <a:cubicBezTo>
                    <a:pt x="209" y="304"/>
                    <a:pt x="209" y="304"/>
                    <a:pt x="209" y="304"/>
                  </a:cubicBezTo>
                  <a:cubicBezTo>
                    <a:pt x="209" y="305"/>
                    <a:pt x="209" y="305"/>
                    <a:pt x="209" y="305"/>
                  </a:cubicBezTo>
                  <a:cubicBezTo>
                    <a:pt x="209" y="305"/>
                    <a:pt x="209" y="305"/>
                    <a:pt x="209" y="305"/>
                  </a:cubicBezTo>
                  <a:cubicBezTo>
                    <a:pt x="208" y="306"/>
                    <a:pt x="208" y="307"/>
                    <a:pt x="207" y="308"/>
                  </a:cubicBezTo>
                  <a:cubicBezTo>
                    <a:pt x="207" y="308"/>
                    <a:pt x="207" y="308"/>
                    <a:pt x="207" y="309"/>
                  </a:cubicBezTo>
                  <a:cubicBezTo>
                    <a:pt x="207" y="309"/>
                    <a:pt x="207" y="310"/>
                    <a:pt x="206" y="310"/>
                  </a:cubicBezTo>
                  <a:cubicBezTo>
                    <a:pt x="206" y="310"/>
                    <a:pt x="206" y="310"/>
                    <a:pt x="205" y="311"/>
                  </a:cubicBezTo>
                  <a:cubicBezTo>
                    <a:pt x="205" y="311"/>
                    <a:pt x="205" y="311"/>
                    <a:pt x="205" y="311"/>
                  </a:cubicBezTo>
                  <a:cubicBezTo>
                    <a:pt x="205" y="312"/>
                    <a:pt x="205" y="312"/>
                    <a:pt x="204" y="312"/>
                  </a:cubicBezTo>
                  <a:cubicBezTo>
                    <a:pt x="204" y="312"/>
                    <a:pt x="204" y="313"/>
                    <a:pt x="204" y="313"/>
                  </a:cubicBezTo>
                  <a:cubicBezTo>
                    <a:pt x="204" y="313"/>
                    <a:pt x="203" y="314"/>
                    <a:pt x="203" y="314"/>
                  </a:cubicBezTo>
                  <a:cubicBezTo>
                    <a:pt x="203" y="314"/>
                    <a:pt x="203" y="315"/>
                    <a:pt x="203" y="315"/>
                  </a:cubicBezTo>
                  <a:cubicBezTo>
                    <a:pt x="202" y="315"/>
                    <a:pt x="202" y="316"/>
                    <a:pt x="201" y="316"/>
                  </a:cubicBezTo>
                  <a:cubicBezTo>
                    <a:pt x="200" y="317"/>
                    <a:pt x="200" y="318"/>
                    <a:pt x="199" y="319"/>
                  </a:cubicBezTo>
                  <a:cubicBezTo>
                    <a:pt x="198" y="319"/>
                    <a:pt x="198" y="319"/>
                    <a:pt x="198" y="319"/>
                  </a:cubicBezTo>
                  <a:cubicBezTo>
                    <a:pt x="197" y="319"/>
                    <a:pt x="197" y="320"/>
                    <a:pt x="196" y="321"/>
                  </a:cubicBezTo>
                  <a:cubicBezTo>
                    <a:pt x="196" y="321"/>
                    <a:pt x="196" y="321"/>
                    <a:pt x="196" y="321"/>
                  </a:cubicBezTo>
                  <a:cubicBezTo>
                    <a:pt x="195" y="321"/>
                    <a:pt x="195" y="322"/>
                    <a:pt x="195" y="322"/>
                  </a:cubicBezTo>
                  <a:cubicBezTo>
                    <a:pt x="194" y="322"/>
                    <a:pt x="194" y="322"/>
                    <a:pt x="193" y="323"/>
                  </a:cubicBezTo>
                  <a:cubicBezTo>
                    <a:pt x="193" y="323"/>
                    <a:pt x="193" y="323"/>
                    <a:pt x="193" y="323"/>
                  </a:cubicBezTo>
                  <a:cubicBezTo>
                    <a:pt x="193" y="323"/>
                    <a:pt x="193" y="323"/>
                    <a:pt x="192" y="323"/>
                  </a:cubicBezTo>
                  <a:cubicBezTo>
                    <a:pt x="192" y="324"/>
                    <a:pt x="192" y="324"/>
                    <a:pt x="192" y="324"/>
                  </a:cubicBezTo>
                  <a:cubicBezTo>
                    <a:pt x="192" y="324"/>
                    <a:pt x="191" y="324"/>
                    <a:pt x="191" y="324"/>
                  </a:cubicBezTo>
                  <a:cubicBezTo>
                    <a:pt x="191" y="324"/>
                    <a:pt x="191" y="325"/>
                    <a:pt x="191" y="325"/>
                  </a:cubicBezTo>
                  <a:cubicBezTo>
                    <a:pt x="191" y="325"/>
                    <a:pt x="191" y="325"/>
                    <a:pt x="190" y="325"/>
                  </a:cubicBezTo>
                  <a:cubicBezTo>
                    <a:pt x="190" y="325"/>
                    <a:pt x="190" y="325"/>
                    <a:pt x="190" y="325"/>
                  </a:cubicBezTo>
                  <a:cubicBezTo>
                    <a:pt x="190" y="325"/>
                    <a:pt x="190" y="325"/>
                    <a:pt x="189" y="325"/>
                  </a:cubicBezTo>
                  <a:cubicBezTo>
                    <a:pt x="189" y="326"/>
                    <a:pt x="189" y="326"/>
                    <a:pt x="189" y="326"/>
                  </a:cubicBezTo>
                  <a:cubicBezTo>
                    <a:pt x="189" y="326"/>
                    <a:pt x="188" y="326"/>
                    <a:pt x="188" y="326"/>
                  </a:cubicBezTo>
                  <a:cubicBezTo>
                    <a:pt x="188" y="326"/>
                    <a:pt x="188" y="327"/>
                    <a:pt x="188" y="327"/>
                  </a:cubicBezTo>
                  <a:cubicBezTo>
                    <a:pt x="188" y="327"/>
                    <a:pt x="187" y="327"/>
                    <a:pt x="187" y="327"/>
                  </a:cubicBezTo>
                  <a:cubicBezTo>
                    <a:pt x="187" y="327"/>
                    <a:pt x="187" y="327"/>
                    <a:pt x="187" y="327"/>
                  </a:cubicBezTo>
                  <a:cubicBezTo>
                    <a:pt x="187" y="327"/>
                    <a:pt x="186" y="327"/>
                    <a:pt x="186" y="327"/>
                  </a:cubicBezTo>
                  <a:cubicBezTo>
                    <a:pt x="186" y="328"/>
                    <a:pt x="186" y="328"/>
                    <a:pt x="186" y="328"/>
                  </a:cubicBezTo>
                  <a:cubicBezTo>
                    <a:pt x="186" y="328"/>
                    <a:pt x="186" y="328"/>
                    <a:pt x="185" y="328"/>
                  </a:cubicBezTo>
                  <a:cubicBezTo>
                    <a:pt x="185" y="328"/>
                    <a:pt x="185" y="328"/>
                    <a:pt x="185" y="329"/>
                  </a:cubicBezTo>
                  <a:cubicBezTo>
                    <a:pt x="185" y="329"/>
                    <a:pt x="184" y="329"/>
                    <a:pt x="184" y="329"/>
                  </a:cubicBezTo>
                  <a:cubicBezTo>
                    <a:pt x="184" y="329"/>
                    <a:pt x="183" y="329"/>
                    <a:pt x="183" y="330"/>
                  </a:cubicBezTo>
                  <a:cubicBezTo>
                    <a:pt x="183" y="330"/>
                    <a:pt x="182" y="330"/>
                    <a:pt x="181" y="330"/>
                  </a:cubicBezTo>
                  <a:cubicBezTo>
                    <a:pt x="181" y="330"/>
                    <a:pt x="181" y="331"/>
                    <a:pt x="181" y="331"/>
                  </a:cubicBezTo>
                  <a:cubicBezTo>
                    <a:pt x="180" y="331"/>
                    <a:pt x="179" y="331"/>
                    <a:pt x="179" y="332"/>
                  </a:cubicBezTo>
                  <a:cubicBezTo>
                    <a:pt x="179" y="332"/>
                    <a:pt x="179" y="332"/>
                    <a:pt x="178" y="332"/>
                  </a:cubicBezTo>
                  <a:cubicBezTo>
                    <a:pt x="178" y="333"/>
                    <a:pt x="177" y="333"/>
                    <a:pt x="176" y="333"/>
                  </a:cubicBezTo>
                  <a:cubicBezTo>
                    <a:pt x="176" y="333"/>
                    <a:pt x="176" y="334"/>
                    <a:pt x="176" y="334"/>
                  </a:cubicBezTo>
                  <a:cubicBezTo>
                    <a:pt x="176" y="334"/>
                    <a:pt x="175" y="334"/>
                    <a:pt x="175" y="334"/>
                  </a:cubicBezTo>
                  <a:cubicBezTo>
                    <a:pt x="174" y="334"/>
                    <a:pt x="174" y="335"/>
                    <a:pt x="174" y="335"/>
                  </a:cubicBezTo>
                  <a:cubicBezTo>
                    <a:pt x="174" y="335"/>
                    <a:pt x="174" y="335"/>
                    <a:pt x="174" y="335"/>
                  </a:cubicBezTo>
                  <a:cubicBezTo>
                    <a:pt x="173" y="335"/>
                    <a:pt x="173" y="335"/>
                    <a:pt x="173" y="336"/>
                  </a:cubicBezTo>
                  <a:cubicBezTo>
                    <a:pt x="173" y="336"/>
                    <a:pt x="173" y="336"/>
                    <a:pt x="172" y="336"/>
                  </a:cubicBezTo>
                  <a:cubicBezTo>
                    <a:pt x="172" y="336"/>
                    <a:pt x="172" y="336"/>
                    <a:pt x="172" y="336"/>
                  </a:cubicBezTo>
                  <a:cubicBezTo>
                    <a:pt x="172" y="336"/>
                    <a:pt x="172" y="336"/>
                    <a:pt x="171" y="336"/>
                  </a:cubicBezTo>
                  <a:cubicBezTo>
                    <a:pt x="171" y="336"/>
                    <a:pt x="171" y="337"/>
                    <a:pt x="171" y="337"/>
                  </a:cubicBezTo>
                  <a:cubicBezTo>
                    <a:pt x="171" y="337"/>
                    <a:pt x="171" y="337"/>
                    <a:pt x="170" y="337"/>
                  </a:cubicBezTo>
                  <a:cubicBezTo>
                    <a:pt x="169" y="338"/>
                    <a:pt x="168" y="339"/>
                    <a:pt x="167" y="341"/>
                  </a:cubicBezTo>
                  <a:cubicBezTo>
                    <a:pt x="164" y="343"/>
                    <a:pt x="161" y="346"/>
                    <a:pt x="158" y="349"/>
                  </a:cubicBezTo>
                  <a:cubicBezTo>
                    <a:pt x="156" y="351"/>
                    <a:pt x="155" y="353"/>
                    <a:pt x="153" y="354"/>
                  </a:cubicBezTo>
                  <a:cubicBezTo>
                    <a:pt x="153" y="354"/>
                    <a:pt x="152" y="354"/>
                    <a:pt x="152" y="354"/>
                  </a:cubicBezTo>
                  <a:cubicBezTo>
                    <a:pt x="152" y="355"/>
                    <a:pt x="151" y="356"/>
                    <a:pt x="150" y="357"/>
                  </a:cubicBezTo>
                  <a:cubicBezTo>
                    <a:pt x="148" y="359"/>
                    <a:pt x="146" y="360"/>
                    <a:pt x="145" y="362"/>
                  </a:cubicBezTo>
                  <a:cubicBezTo>
                    <a:pt x="144" y="363"/>
                    <a:pt x="143" y="364"/>
                    <a:pt x="142" y="365"/>
                  </a:cubicBezTo>
                  <a:cubicBezTo>
                    <a:pt x="142" y="365"/>
                    <a:pt x="142" y="365"/>
                    <a:pt x="141" y="365"/>
                  </a:cubicBezTo>
                  <a:cubicBezTo>
                    <a:pt x="140" y="367"/>
                    <a:pt x="138" y="368"/>
                    <a:pt x="136" y="370"/>
                  </a:cubicBezTo>
                  <a:cubicBezTo>
                    <a:pt x="136" y="370"/>
                    <a:pt x="136" y="370"/>
                    <a:pt x="136" y="370"/>
                  </a:cubicBezTo>
                  <a:cubicBezTo>
                    <a:pt x="135" y="371"/>
                    <a:pt x="134" y="372"/>
                    <a:pt x="133" y="373"/>
                  </a:cubicBezTo>
                  <a:cubicBezTo>
                    <a:pt x="133" y="373"/>
                    <a:pt x="133" y="373"/>
                    <a:pt x="133" y="373"/>
                  </a:cubicBezTo>
                  <a:cubicBezTo>
                    <a:pt x="132" y="374"/>
                    <a:pt x="131" y="375"/>
                    <a:pt x="130" y="376"/>
                  </a:cubicBezTo>
                  <a:cubicBezTo>
                    <a:pt x="130" y="376"/>
                    <a:pt x="130" y="376"/>
                    <a:pt x="129" y="376"/>
                  </a:cubicBezTo>
                  <a:cubicBezTo>
                    <a:pt x="129" y="377"/>
                    <a:pt x="128" y="378"/>
                    <a:pt x="127" y="379"/>
                  </a:cubicBezTo>
                  <a:cubicBezTo>
                    <a:pt x="127" y="379"/>
                    <a:pt x="127" y="379"/>
                    <a:pt x="126" y="379"/>
                  </a:cubicBezTo>
                  <a:cubicBezTo>
                    <a:pt x="126" y="379"/>
                    <a:pt x="126" y="379"/>
                    <a:pt x="126" y="380"/>
                  </a:cubicBezTo>
                  <a:cubicBezTo>
                    <a:pt x="125" y="380"/>
                    <a:pt x="125" y="380"/>
                    <a:pt x="124" y="381"/>
                  </a:cubicBezTo>
                  <a:cubicBezTo>
                    <a:pt x="124" y="381"/>
                    <a:pt x="124" y="381"/>
                    <a:pt x="124" y="381"/>
                  </a:cubicBezTo>
                  <a:cubicBezTo>
                    <a:pt x="124" y="381"/>
                    <a:pt x="124" y="381"/>
                    <a:pt x="124" y="381"/>
                  </a:cubicBezTo>
                  <a:cubicBezTo>
                    <a:pt x="123" y="382"/>
                    <a:pt x="122" y="383"/>
                    <a:pt x="121" y="384"/>
                  </a:cubicBezTo>
                  <a:cubicBezTo>
                    <a:pt x="121" y="384"/>
                    <a:pt x="121" y="384"/>
                    <a:pt x="120" y="384"/>
                  </a:cubicBezTo>
                  <a:cubicBezTo>
                    <a:pt x="120" y="385"/>
                    <a:pt x="119" y="386"/>
                    <a:pt x="118" y="387"/>
                  </a:cubicBezTo>
                  <a:cubicBezTo>
                    <a:pt x="118" y="387"/>
                    <a:pt x="117" y="387"/>
                    <a:pt x="117" y="387"/>
                  </a:cubicBezTo>
                  <a:cubicBezTo>
                    <a:pt x="116" y="388"/>
                    <a:pt x="116" y="388"/>
                    <a:pt x="115" y="389"/>
                  </a:cubicBezTo>
                  <a:cubicBezTo>
                    <a:pt x="115" y="389"/>
                    <a:pt x="114" y="389"/>
                    <a:pt x="114" y="389"/>
                  </a:cubicBezTo>
                  <a:cubicBezTo>
                    <a:pt x="113" y="390"/>
                    <a:pt x="112" y="391"/>
                    <a:pt x="112" y="392"/>
                  </a:cubicBezTo>
                  <a:cubicBezTo>
                    <a:pt x="111" y="392"/>
                    <a:pt x="111" y="392"/>
                    <a:pt x="111" y="392"/>
                  </a:cubicBezTo>
                  <a:cubicBezTo>
                    <a:pt x="110" y="393"/>
                    <a:pt x="109" y="394"/>
                    <a:pt x="108" y="395"/>
                  </a:cubicBezTo>
                  <a:cubicBezTo>
                    <a:pt x="108" y="395"/>
                    <a:pt x="108" y="395"/>
                    <a:pt x="108" y="395"/>
                  </a:cubicBezTo>
                  <a:cubicBezTo>
                    <a:pt x="107" y="396"/>
                    <a:pt x="106" y="397"/>
                    <a:pt x="106" y="397"/>
                  </a:cubicBezTo>
                  <a:cubicBezTo>
                    <a:pt x="105" y="397"/>
                    <a:pt x="105" y="397"/>
                    <a:pt x="105" y="397"/>
                  </a:cubicBezTo>
                  <a:cubicBezTo>
                    <a:pt x="104" y="398"/>
                    <a:pt x="103" y="399"/>
                    <a:pt x="103" y="400"/>
                  </a:cubicBezTo>
                  <a:cubicBezTo>
                    <a:pt x="102" y="400"/>
                    <a:pt x="102" y="400"/>
                    <a:pt x="102" y="400"/>
                  </a:cubicBezTo>
                  <a:cubicBezTo>
                    <a:pt x="101" y="401"/>
                    <a:pt x="100" y="402"/>
                    <a:pt x="99" y="403"/>
                  </a:cubicBezTo>
                  <a:cubicBezTo>
                    <a:pt x="99" y="403"/>
                    <a:pt x="99" y="403"/>
                    <a:pt x="99" y="403"/>
                  </a:cubicBezTo>
                  <a:cubicBezTo>
                    <a:pt x="98" y="404"/>
                    <a:pt x="97" y="405"/>
                    <a:pt x="96" y="406"/>
                  </a:cubicBezTo>
                  <a:cubicBezTo>
                    <a:pt x="96" y="406"/>
                    <a:pt x="96" y="406"/>
                    <a:pt x="96" y="406"/>
                  </a:cubicBezTo>
                  <a:cubicBezTo>
                    <a:pt x="95" y="407"/>
                    <a:pt x="94" y="408"/>
                    <a:pt x="93" y="409"/>
                  </a:cubicBezTo>
                  <a:cubicBezTo>
                    <a:pt x="93" y="409"/>
                    <a:pt x="93" y="409"/>
                    <a:pt x="92" y="409"/>
                  </a:cubicBezTo>
                  <a:cubicBezTo>
                    <a:pt x="92" y="409"/>
                    <a:pt x="92" y="410"/>
                    <a:pt x="91" y="410"/>
                  </a:cubicBezTo>
                  <a:cubicBezTo>
                    <a:pt x="90" y="411"/>
                    <a:pt x="89" y="412"/>
                    <a:pt x="87" y="413"/>
                  </a:cubicBezTo>
                  <a:cubicBezTo>
                    <a:pt x="87" y="413"/>
                    <a:pt x="87" y="412"/>
                    <a:pt x="87" y="411"/>
                  </a:cubicBezTo>
                  <a:cubicBezTo>
                    <a:pt x="86" y="409"/>
                    <a:pt x="87" y="405"/>
                    <a:pt x="87" y="403"/>
                  </a:cubicBezTo>
                  <a:cubicBezTo>
                    <a:pt x="87" y="403"/>
                    <a:pt x="87" y="403"/>
                    <a:pt x="86" y="403"/>
                  </a:cubicBezTo>
                  <a:cubicBezTo>
                    <a:pt x="86" y="401"/>
                    <a:pt x="86" y="399"/>
                    <a:pt x="86" y="397"/>
                  </a:cubicBezTo>
                  <a:cubicBezTo>
                    <a:pt x="86" y="397"/>
                    <a:pt x="86" y="397"/>
                    <a:pt x="86" y="397"/>
                  </a:cubicBezTo>
                  <a:cubicBezTo>
                    <a:pt x="86" y="396"/>
                    <a:pt x="86" y="394"/>
                    <a:pt x="86" y="393"/>
                  </a:cubicBezTo>
                  <a:cubicBezTo>
                    <a:pt x="86" y="393"/>
                    <a:pt x="86" y="393"/>
                    <a:pt x="86" y="393"/>
                  </a:cubicBezTo>
                  <a:cubicBezTo>
                    <a:pt x="86" y="392"/>
                    <a:pt x="86" y="391"/>
                    <a:pt x="86" y="389"/>
                  </a:cubicBezTo>
                  <a:cubicBezTo>
                    <a:pt x="86" y="389"/>
                    <a:pt x="86" y="389"/>
                    <a:pt x="85" y="389"/>
                  </a:cubicBezTo>
                  <a:cubicBezTo>
                    <a:pt x="85" y="389"/>
                    <a:pt x="85" y="388"/>
                    <a:pt x="85" y="387"/>
                  </a:cubicBezTo>
                  <a:cubicBezTo>
                    <a:pt x="85" y="387"/>
                    <a:pt x="85" y="387"/>
                    <a:pt x="85" y="387"/>
                  </a:cubicBezTo>
                  <a:cubicBezTo>
                    <a:pt x="85" y="386"/>
                    <a:pt x="85" y="386"/>
                    <a:pt x="85" y="385"/>
                  </a:cubicBezTo>
                  <a:cubicBezTo>
                    <a:pt x="85" y="385"/>
                    <a:pt x="85" y="385"/>
                    <a:pt x="85" y="385"/>
                  </a:cubicBezTo>
                  <a:cubicBezTo>
                    <a:pt x="85" y="385"/>
                    <a:pt x="85" y="384"/>
                    <a:pt x="85" y="383"/>
                  </a:cubicBezTo>
                  <a:cubicBezTo>
                    <a:pt x="85" y="383"/>
                    <a:pt x="84" y="383"/>
                    <a:pt x="84" y="383"/>
                  </a:cubicBezTo>
                  <a:cubicBezTo>
                    <a:pt x="84" y="383"/>
                    <a:pt x="84" y="383"/>
                    <a:pt x="84" y="382"/>
                  </a:cubicBezTo>
                  <a:cubicBezTo>
                    <a:pt x="84" y="382"/>
                    <a:pt x="84" y="382"/>
                    <a:pt x="84" y="382"/>
                  </a:cubicBezTo>
                  <a:cubicBezTo>
                    <a:pt x="84" y="382"/>
                    <a:pt x="84" y="382"/>
                    <a:pt x="84" y="381"/>
                  </a:cubicBezTo>
                  <a:cubicBezTo>
                    <a:pt x="84" y="381"/>
                    <a:pt x="84" y="381"/>
                    <a:pt x="84" y="381"/>
                  </a:cubicBezTo>
                  <a:cubicBezTo>
                    <a:pt x="84" y="381"/>
                    <a:pt x="84" y="381"/>
                    <a:pt x="84" y="380"/>
                  </a:cubicBezTo>
                  <a:cubicBezTo>
                    <a:pt x="84" y="380"/>
                    <a:pt x="83" y="380"/>
                    <a:pt x="83" y="380"/>
                  </a:cubicBezTo>
                  <a:cubicBezTo>
                    <a:pt x="83" y="380"/>
                    <a:pt x="83" y="380"/>
                    <a:pt x="83" y="380"/>
                  </a:cubicBezTo>
                  <a:cubicBezTo>
                    <a:pt x="83" y="380"/>
                    <a:pt x="83" y="380"/>
                    <a:pt x="83" y="380"/>
                  </a:cubicBezTo>
                  <a:cubicBezTo>
                    <a:pt x="83" y="379"/>
                    <a:pt x="83" y="379"/>
                    <a:pt x="83" y="379"/>
                  </a:cubicBezTo>
                  <a:cubicBezTo>
                    <a:pt x="83" y="379"/>
                    <a:pt x="83" y="379"/>
                    <a:pt x="83" y="379"/>
                  </a:cubicBezTo>
                  <a:cubicBezTo>
                    <a:pt x="83" y="378"/>
                    <a:pt x="83" y="378"/>
                    <a:pt x="83" y="378"/>
                  </a:cubicBezTo>
                  <a:cubicBezTo>
                    <a:pt x="82" y="378"/>
                    <a:pt x="82" y="378"/>
                    <a:pt x="82" y="378"/>
                  </a:cubicBezTo>
                  <a:cubicBezTo>
                    <a:pt x="82" y="377"/>
                    <a:pt x="82" y="377"/>
                    <a:pt x="82" y="377"/>
                  </a:cubicBezTo>
                  <a:cubicBezTo>
                    <a:pt x="82" y="377"/>
                    <a:pt x="82" y="377"/>
                    <a:pt x="82" y="377"/>
                  </a:cubicBezTo>
                  <a:cubicBezTo>
                    <a:pt x="82" y="376"/>
                    <a:pt x="81" y="375"/>
                    <a:pt x="81" y="375"/>
                  </a:cubicBezTo>
                  <a:cubicBezTo>
                    <a:pt x="81" y="375"/>
                    <a:pt x="81" y="375"/>
                    <a:pt x="81" y="375"/>
                  </a:cubicBezTo>
                  <a:cubicBezTo>
                    <a:pt x="81" y="374"/>
                    <a:pt x="81" y="374"/>
                    <a:pt x="81" y="374"/>
                  </a:cubicBezTo>
                  <a:cubicBezTo>
                    <a:pt x="81" y="374"/>
                    <a:pt x="81" y="374"/>
                    <a:pt x="81" y="374"/>
                  </a:cubicBezTo>
                  <a:cubicBezTo>
                    <a:pt x="81" y="374"/>
                    <a:pt x="81" y="373"/>
                    <a:pt x="81" y="373"/>
                  </a:cubicBezTo>
                  <a:cubicBezTo>
                    <a:pt x="80" y="373"/>
                    <a:pt x="80" y="373"/>
                    <a:pt x="80" y="373"/>
                  </a:cubicBezTo>
                  <a:cubicBezTo>
                    <a:pt x="80" y="372"/>
                    <a:pt x="80" y="372"/>
                    <a:pt x="80" y="372"/>
                  </a:cubicBezTo>
                  <a:cubicBezTo>
                    <a:pt x="80" y="372"/>
                    <a:pt x="80" y="372"/>
                    <a:pt x="79" y="372"/>
                  </a:cubicBezTo>
                  <a:cubicBezTo>
                    <a:pt x="79" y="371"/>
                    <a:pt x="79" y="371"/>
                    <a:pt x="79" y="370"/>
                  </a:cubicBezTo>
                  <a:cubicBezTo>
                    <a:pt x="79" y="370"/>
                    <a:pt x="79" y="370"/>
                    <a:pt x="79" y="370"/>
                  </a:cubicBezTo>
                  <a:cubicBezTo>
                    <a:pt x="79" y="370"/>
                    <a:pt x="79" y="370"/>
                    <a:pt x="79" y="370"/>
                  </a:cubicBezTo>
                  <a:cubicBezTo>
                    <a:pt x="79" y="370"/>
                    <a:pt x="79" y="370"/>
                    <a:pt x="79" y="370"/>
                  </a:cubicBezTo>
                  <a:cubicBezTo>
                    <a:pt x="79" y="369"/>
                    <a:pt x="79" y="369"/>
                    <a:pt x="79" y="369"/>
                  </a:cubicBezTo>
                  <a:cubicBezTo>
                    <a:pt x="79" y="369"/>
                    <a:pt x="79" y="369"/>
                    <a:pt x="78" y="369"/>
                  </a:cubicBezTo>
                  <a:cubicBezTo>
                    <a:pt x="78" y="368"/>
                    <a:pt x="78" y="368"/>
                    <a:pt x="78" y="368"/>
                  </a:cubicBezTo>
                  <a:cubicBezTo>
                    <a:pt x="78" y="368"/>
                    <a:pt x="78" y="368"/>
                    <a:pt x="78" y="368"/>
                  </a:cubicBezTo>
                  <a:cubicBezTo>
                    <a:pt x="78" y="367"/>
                    <a:pt x="78" y="367"/>
                    <a:pt x="78" y="366"/>
                  </a:cubicBezTo>
                  <a:cubicBezTo>
                    <a:pt x="78" y="366"/>
                    <a:pt x="78" y="366"/>
                    <a:pt x="78" y="366"/>
                  </a:cubicBezTo>
                  <a:cubicBezTo>
                    <a:pt x="78" y="366"/>
                    <a:pt x="78" y="365"/>
                    <a:pt x="78" y="365"/>
                  </a:cubicBezTo>
                  <a:cubicBezTo>
                    <a:pt x="78" y="365"/>
                    <a:pt x="77" y="365"/>
                    <a:pt x="77" y="365"/>
                  </a:cubicBezTo>
                  <a:cubicBezTo>
                    <a:pt x="77" y="364"/>
                    <a:pt x="77" y="364"/>
                    <a:pt x="77" y="363"/>
                  </a:cubicBezTo>
                  <a:cubicBezTo>
                    <a:pt x="77" y="363"/>
                    <a:pt x="77" y="363"/>
                    <a:pt x="77" y="363"/>
                  </a:cubicBezTo>
                  <a:cubicBezTo>
                    <a:pt x="77" y="363"/>
                    <a:pt x="77" y="362"/>
                    <a:pt x="77" y="361"/>
                  </a:cubicBezTo>
                  <a:cubicBezTo>
                    <a:pt x="77" y="361"/>
                    <a:pt x="77" y="361"/>
                    <a:pt x="77" y="361"/>
                  </a:cubicBezTo>
                  <a:cubicBezTo>
                    <a:pt x="76" y="361"/>
                    <a:pt x="76" y="360"/>
                    <a:pt x="76" y="359"/>
                  </a:cubicBezTo>
                  <a:cubicBezTo>
                    <a:pt x="76" y="359"/>
                    <a:pt x="76" y="359"/>
                    <a:pt x="76" y="359"/>
                  </a:cubicBezTo>
                  <a:cubicBezTo>
                    <a:pt x="76" y="359"/>
                    <a:pt x="76" y="359"/>
                    <a:pt x="76" y="359"/>
                  </a:cubicBezTo>
                  <a:cubicBezTo>
                    <a:pt x="75" y="359"/>
                    <a:pt x="75" y="359"/>
                    <a:pt x="75" y="359"/>
                  </a:cubicBezTo>
                  <a:cubicBezTo>
                    <a:pt x="75" y="358"/>
                    <a:pt x="75" y="357"/>
                    <a:pt x="75" y="356"/>
                  </a:cubicBezTo>
                  <a:cubicBezTo>
                    <a:pt x="74" y="356"/>
                    <a:pt x="74" y="356"/>
                    <a:pt x="74" y="356"/>
                  </a:cubicBezTo>
                  <a:cubicBezTo>
                    <a:pt x="74" y="356"/>
                    <a:pt x="74" y="355"/>
                    <a:pt x="74" y="355"/>
                  </a:cubicBezTo>
                  <a:cubicBezTo>
                    <a:pt x="73" y="355"/>
                    <a:pt x="73" y="355"/>
                    <a:pt x="73" y="354"/>
                  </a:cubicBezTo>
                  <a:cubicBezTo>
                    <a:pt x="73" y="354"/>
                    <a:pt x="73" y="354"/>
                    <a:pt x="73" y="354"/>
                  </a:cubicBezTo>
                  <a:cubicBezTo>
                    <a:pt x="73" y="354"/>
                    <a:pt x="73" y="354"/>
                    <a:pt x="72" y="354"/>
                  </a:cubicBezTo>
                  <a:cubicBezTo>
                    <a:pt x="72" y="353"/>
                    <a:pt x="72" y="353"/>
                    <a:pt x="72" y="353"/>
                  </a:cubicBezTo>
                  <a:cubicBezTo>
                    <a:pt x="72" y="353"/>
                    <a:pt x="72" y="353"/>
                    <a:pt x="72" y="353"/>
                  </a:cubicBezTo>
                  <a:cubicBezTo>
                    <a:pt x="72" y="353"/>
                    <a:pt x="72" y="353"/>
                    <a:pt x="72" y="352"/>
                  </a:cubicBezTo>
                  <a:cubicBezTo>
                    <a:pt x="72" y="352"/>
                    <a:pt x="72" y="352"/>
                    <a:pt x="71" y="352"/>
                  </a:cubicBezTo>
                  <a:cubicBezTo>
                    <a:pt x="71" y="351"/>
                    <a:pt x="71" y="351"/>
                    <a:pt x="71" y="350"/>
                  </a:cubicBezTo>
                  <a:cubicBezTo>
                    <a:pt x="70" y="350"/>
                    <a:pt x="70" y="350"/>
                    <a:pt x="70" y="349"/>
                  </a:cubicBezTo>
                  <a:cubicBezTo>
                    <a:pt x="70" y="349"/>
                    <a:pt x="70" y="349"/>
                    <a:pt x="70" y="348"/>
                  </a:cubicBezTo>
                  <a:cubicBezTo>
                    <a:pt x="69" y="348"/>
                    <a:pt x="69" y="348"/>
                    <a:pt x="69" y="348"/>
                  </a:cubicBezTo>
                  <a:cubicBezTo>
                    <a:pt x="69" y="348"/>
                    <a:pt x="69" y="347"/>
                    <a:pt x="69" y="347"/>
                  </a:cubicBezTo>
                  <a:cubicBezTo>
                    <a:pt x="69" y="347"/>
                    <a:pt x="69" y="347"/>
                    <a:pt x="69" y="347"/>
                  </a:cubicBezTo>
                  <a:cubicBezTo>
                    <a:pt x="69" y="347"/>
                    <a:pt x="69" y="347"/>
                    <a:pt x="69" y="346"/>
                  </a:cubicBezTo>
                  <a:cubicBezTo>
                    <a:pt x="68" y="346"/>
                    <a:pt x="68" y="346"/>
                    <a:pt x="68" y="346"/>
                  </a:cubicBezTo>
                  <a:cubicBezTo>
                    <a:pt x="68" y="346"/>
                    <a:pt x="68" y="346"/>
                    <a:pt x="68" y="346"/>
                  </a:cubicBezTo>
                  <a:cubicBezTo>
                    <a:pt x="68" y="346"/>
                    <a:pt x="68" y="346"/>
                    <a:pt x="68" y="346"/>
                  </a:cubicBezTo>
                  <a:cubicBezTo>
                    <a:pt x="68" y="345"/>
                    <a:pt x="68" y="345"/>
                    <a:pt x="68" y="345"/>
                  </a:cubicBezTo>
                  <a:cubicBezTo>
                    <a:pt x="68" y="345"/>
                    <a:pt x="67" y="345"/>
                    <a:pt x="67" y="345"/>
                  </a:cubicBezTo>
                  <a:cubicBezTo>
                    <a:pt x="67" y="344"/>
                    <a:pt x="67" y="344"/>
                    <a:pt x="67" y="343"/>
                  </a:cubicBezTo>
                  <a:cubicBezTo>
                    <a:pt x="67" y="343"/>
                    <a:pt x="67" y="343"/>
                    <a:pt x="67" y="343"/>
                  </a:cubicBezTo>
                  <a:cubicBezTo>
                    <a:pt x="66" y="343"/>
                    <a:pt x="66" y="342"/>
                    <a:pt x="66" y="341"/>
                  </a:cubicBezTo>
                  <a:cubicBezTo>
                    <a:pt x="66" y="341"/>
                    <a:pt x="66" y="341"/>
                    <a:pt x="65" y="341"/>
                  </a:cubicBezTo>
                  <a:cubicBezTo>
                    <a:pt x="65" y="341"/>
                    <a:pt x="65" y="340"/>
                    <a:pt x="65" y="340"/>
                  </a:cubicBezTo>
                  <a:cubicBezTo>
                    <a:pt x="65" y="340"/>
                    <a:pt x="65" y="340"/>
                    <a:pt x="65" y="340"/>
                  </a:cubicBezTo>
                  <a:cubicBezTo>
                    <a:pt x="65" y="340"/>
                    <a:pt x="65" y="339"/>
                    <a:pt x="65" y="339"/>
                  </a:cubicBezTo>
                  <a:cubicBezTo>
                    <a:pt x="65" y="339"/>
                    <a:pt x="65" y="339"/>
                    <a:pt x="64" y="339"/>
                  </a:cubicBezTo>
                  <a:cubicBezTo>
                    <a:pt x="64" y="338"/>
                    <a:pt x="64" y="338"/>
                    <a:pt x="64" y="338"/>
                  </a:cubicBezTo>
                  <a:cubicBezTo>
                    <a:pt x="64" y="338"/>
                    <a:pt x="64" y="338"/>
                    <a:pt x="64" y="338"/>
                  </a:cubicBezTo>
                  <a:cubicBezTo>
                    <a:pt x="64" y="337"/>
                    <a:pt x="64" y="337"/>
                    <a:pt x="64" y="337"/>
                  </a:cubicBezTo>
                  <a:cubicBezTo>
                    <a:pt x="64" y="337"/>
                    <a:pt x="64" y="337"/>
                    <a:pt x="64" y="337"/>
                  </a:cubicBezTo>
                  <a:cubicBezTo>
                    <a:pt x="64" y="336"/>
                    <a:pt x="64" y="336"/>
                    <a:pt x="64" y="336"/>
                  </a:cubicBezTo>
                  <a:cubicBezTo>
                    <a:pt x="64" y="336"/>
                    <a:pt x="63" y="336"/>
                    <a:pt x="63" y="336"/>
                  </a:cubicBezTo>
                  <a:cubicBezTo>
                    <a:pt x="63" y="335"/>
                    <a:pt x="63" y="335"/>
                    <a:pt x="63" y="334"/>
                  </a:cubicBezTo>
                  <a:cubicBezTo>
                    <a:pt x="63" y="334"/>
                    <a:pt x="63" y="334"/>
                    <a:pt x="63" y="334"/>
                  </a:cubicBezTo>
                  <a:cubicBezTo>
                    <a:pt x="63" y="334"/>
                    <a:pt x="63" y="333"/>
                    <a:pt x="63" y="332"/>
                  </a:cubicBezTo>
                  <a:cubicBezTo>
                    <a:pt x="63" y="332"/>
                    <a:pt x="63" y="332"/>
                    <a:pt x="63" y="332"/>
                  </a:cubicBezTo>
                  <a:cubicBezTo>
                    <a:pt x="63" y="330"/>
                    <a:pt x="63" y="328"/>
                    <a:pt x="63" y="326"/>
                  </a:cubicBezTo>
                  <a:cubicBezTo>
                    <a:pt x="63" y="321"/>
                    <a:pt x="63" y="317"/>
                    <a:pt x="61" y="314"/>
                  </a:cubicBezTo>
                  <a:cubicBezTo>
                    <a:pt x="61" y="314"/>
                    <a:pt x="61" y="314"/>
                    <a:pt x="60" y="313"/>
                  </a:cubicBezTo>
                  <a:cubicBezTo>
                    <a:pt x="60" y="313"/>
                    <a:pt x="60" y="313"/>
                    <a:pt x="60" y="313"/>
                  </a:cubicBezTo>
                  <a:cubicBezTo>
                    <a:pt x="60" y="313"/>
                    <a:pt x="60" y="313"/>
                    <a:pt x="59" y="313"/>
                  </a:cubicBezTo>
                  <a:cubicBezTo>
                    <a:pt x="59" y="313"/>
                    <a:pt x="57" y="308"/>
                    <a:pt x="57" y="308"/>
                  </a:cubicBezTo>
                  <a:cubicBezTo>
                    <a:pt x="57" y="307"/>
                    <a:pt x="57" y="307"/>
                    <a:pt x="57" y="306"/>
                  </a:cubicBezTo>
                  <a:cubicBezTo>
                    <a:pt x="56" y="305"/>
                    <a:pt x="55" y="303"/>
                    <a:pt x="55" y="302"/>
                  </a:cubicBezTo>
                  <a:cubicBezTo>
                    <a:pt x="54" y="301"/>
                    <a:pt x="54" y="299"/>
                    <a:pt x="54" y="298"/>
                  </a:cubicBezTo>
                  <a:cubicBezTo>
                    <a:pt x="54" y="298"/>
                    <a:pt x="54" y="298"/>
                    <a:pt x="54" y="298"/>
                  </a:cubicBezTo>
                  <a:cubicBezTo>
                    <a:pt x="54" y="298"/>
                    <a:pt x="54" y="298"/>
                    <a:pt x="54" y="298"/>
                  </a:cubicBezTo>
                  <a:cubicBezTo>
                    <a:pt x="53" y="298"/>
                    <a:pt x="53" y="298"/>
                    <a:pt x="53" y="298"/>
                  </a:cubicBezTo>
                  <a:cubicBezTo>
                    <a:pt x="53" y="297"/>
                    <a:pt x="53" y="296"/>
                    <a:pt x="53" y="296"/>
                  </a:cubicBezTo>
                  <a:cubicBezTo>
                    <a:pt x="53" y="296"/>
                    <a:pt x="53" y="296"/>
                    <a:pt x="53" y="296"/>
                  </a:cubicBezTo>
                  <a:cubicBezTo>
                    <a:pt x="53" y="295"/>
                    <a:pt x="53" y="295"/>
                    <a:pt x="53" y="295"/>
                  </a:cubicBezTo>
                  <a:cubicBezTo>
                    <a:pt x="52" y="295"/>
                    <a:pt x="52" y="295"/>
                    <a:pt x="52" y="295"/>
                  </a:cubicBezTo>
                  <a:cubicBezTo>
                    <a:pt x="52" y="294"/>
                    <a:pt x="52" y="293"/>
                    <a:pt x="51" y="292"/>
                  </a:cubicBezTo>
                  <a:cubicBezTo>
                    <a:pt x="51" y="292"/>
                    <a:pt x="51" y="292"/>
                    <a:pt x="51" y="292"/>
                  </a:cubicBezTo>
                  <a:cubicBezTo>
                    <a:pt x="51" y="292"/>
                    <a:pt x="51" y="292"/>
                    <a:pt x="51" y="291"/>
                  </a:cubicBezTo>
                  <a:cubicBezTo>
                    <a:pt x="51" y="291"/>
                    <a:pt x="51" y="291"/>
                    <a:pt x="51" y="291"/>
                  </a:cubicBezTo>
                  <a:cubicBezTo>
                    <a:pt x="51" y="291"/>
                    <a:pt x="51" y="291"/>
                    <a:pt x="51" y="291"/>
                  </a:cubicBezTo>
                  <a:cubicBezTo>
                    <a:pt x="51" y="291"/>
                    <a:pt x="51" y="291"/>
                    <a:pt x="50" y="291"/>
                  </a:cubicBezTo>
                  <a:cubicBezTo>
                    <a:pt x="50" y="291"/>
                    <a:pt x="50" y="290"/>
                    <a:pt x="50" y="290"/>
                  </a:cubicBezTo>
                  <a:cubicBezTo>
                    <a:pt x="50" y="290"/>
                    <a:pt x="50" y="290"/>
                    <a:pt x="50" y="290"/>
                  </a:cubicBezTo>
                  <a:cubicBezTo>
                    <a:pt x="49" y="289"/>
                    <a:pt x="47" y="287"/>
                    <a:pt x="47" y="285"/>
                  </a:cubicBezTo>
                  <a:cubicBezTo>
                    <a:pt x="43" y="286"/>
                    <a:pt x="41" y="288"/>
                    <a:pt x="37" y="288"/>
                  </a:cubicBezTo>
                  <a:cubicBezTo>
                    <a:pt x="36" y="288"/>
                    <a:pt x="36" y="288"/>
                    <a:pt x="35" y="288"/>
                  </a:cubicBezTo>
                  <a:cubicBezTo>
                    <a:pt x="34" y="287"/>
                    <a:pt x="33" y="286"/>
                    <a:pt x="32" y="286"/>
                  </a:cubicBezTo>
                  <a:cubicBezTo>
                    <a:pt x="31" y="285"/>
                    <a:pt x="31" y="284"/>
                    <a:pt x="30" y="282"/>
                  </a:cubicBezTo>
                  <a:cubicBezTo>
                    <a:pt x="30" y="282"/>
                    <a:pt x="30" y="282"/>
                    <a:pt x="30" y="282"/>
                  </a:cubicBezTo>
                  <a:cubicBezTo>
                    <a:pt x="30" y="282"/>
                    <a:pt x="30" y="282"/>
                    <a:pt x="30" y="282"/>
                  </a:cubicBezTo>
                  <a:cubicBezTo>
                    <a:pt x="30" y="282"/>
                    <a:pt x="30" y="282"/>
                    <a:pt x="30" y="282"/>
                  </a:cubicBezTo>
                  <a:cubicBezTo>
                    <a:pt x="30" y="281"/>
                    <a:pt x="30" y="281"/>
                    <a:pt x="30" y="281"/>
                  </a:cubicBezTo>
                  <a:cubicBezTo>
                    <a:pt x="30" y="281"/>
                    <a:pt x="29" y="281"/>
                    <a:pt x="29" y="281"/>
                  </a:cubicBezTo>
                  <a:cubicBezTo>
                    <a:pt x="29" y="280"/>
                    <a:pt x="29" y="280"/>
                    <a:pt x="29" y="280"/>
                  </a:cubicBezTo>
                  <a:cubicBezTo>
                    <a:pt x="29" y="280"/>
                    <a:pt x="29" y="280"/>
                    <a:pt x="29" y="280"/>
                  </a:cubicBezTo>
                  <a:cubicBezTo>
                    <a:pt x="29" y="280"/>
                    <a:pt x="29" y="279"/>
                    <a:pt x="29" y="279"/>
                  </a:cubicBezTo>
                  <a:cubicBezTo>
                    <a:pt x="29" y="279"/>
                    <a:pt x="29" y="279"/>
                    <a:pt x="28" y="279"/>
                  </a:cubicBezTo>
                  <a:cubicBezTo>
                    <a:pt x="28" y="279"/>
                    <a:pt x="28" y="279"/>
                    <a:pt x="28" y="279"/>
                  </a:cubicBezTo>
                  <a:cubicBezTo>
                    <a:pt x="28" y="279"/>
                    <a:pt x="28" y="279"/>
                    <a:pt x="28" y="279"/>
                  </a:cubicBezTo>
                  <a:cubicBezTo>
                    <a:pt x="28" y="278"/>
                    <a:pt x="28" y="278"/>
                    <a:pt x="28" y="278"/>
                  </a:cubicBezTo>
                  <a:cubicBezTo>
                    <a:pt x="28" y="278"/>
                    <a:pt x="28" y="278"/>
                    <a:pt x="28" y="278"/>
                  </a:cubicBezTo>
                  <a:cubicBezTo>
                    <a:pt x="28" y="278"/>
                    <a:pt x="28" y="277"/>
                    <a:pt x="28" y="277"/>
                  </a:cubicBezTo>
                  <a:cubicBezTo>
                    <a:pt x="28" y="277"/>
                    <a:pt x="27" y="277"/>
                    <a:pt x="27" y="277"/>
                  </a:cubicBezTo>
                  <a:cubicBezTo>
                    <a:pt x="27" y="277"/>
                    <a:pt x="27" y="277"/>
                    <a:pt x="27" y="276"/>
                  </a:cubicBezTo>
                  <a:cubicBezTo>
                    <a:pt x="27" y="276"/>
                    <a:pt x="27" y="276"/>
                    <a:pt x="27" y="276"/>
                  </a:cubicBezTo>
                  <a:cubicBezTo>
                    <a:pt x="27" y="276"/>
                    <a:pt x="27" y="275"/>
                    <a:pt x="27" y="275"/>
                  </a:cubicBezTo>
                  <a:cubicBezTo>
                    <a:pt x="26" y="275"/>
                    <a:pt x="26" y="275"/>
                    <a:pt x="26" y="275"/>
                  </a:cubicBezTo>
                  <a:cubicBezTo>
                    <a:pt x="26" y="274"/>
                    <a:pt x="26" y="274"/>
                    <a:pt x="26" y="274"/>
                  </a:cubicBezTo>
                  <a:cubicBezTo>
                    <a:pt x="26" y="274"/>
                    <a:pt x="26" y="274"/>
                    <a:pt x="26" y="274"/>
                  </a:cubicBezTo>
                  <a:cubicBezTo>
                    <a:pt x="26" y="274"/>
                    <a:pt x="26" y="273"/>
                    <a:pt x="26" y="273"/>
                  </a:cubicBezTo>
                  <a:cubicBezTo>
                    <a:pt x="25" y="273"/>
                    <a:pt x="25" y="273"/>
                    <a:pt x="25" y="273"/>
                  </a:cubicBezTo>
                  <a:cubicBezTo>
                    <a:pt x="25" y="273"/>
                    <a:pt x="25" y="273"/>
                    <a:pt x="25" y="273"/>
                  </a:cubicBezTo>
                  <a:cubicBezTo>
                    <a:pt x="25" y="273"/>
                    <a:pt x="25" y="273"/>
                    <a:pt x="25" y="273"/>
                  </a:cubicBezTo>
                  <a:cubicBezTo>
                    <a:pt x="25" y="272"/>
                    <a:pt x="25" y="272"/>
                    <a:pt x="25" y="272"/>
                  </a:cubicBezTo>
                  <a:cubicBezTo>
                    <a:pt x="25" y="272"/>
                    <a:pt x="25" y="272"/>
                    <a:pt x="25" y="272"/>
                  </a:cubicBezTo>
                  <a:cubicBezTo>
                    <a:pt x="25" y="272"/>
                    <a:pt x="25" y="271"/>
                    <a:pt x="25" y="271"/>
                  </a:cubicBezTo>
                  <a:cubicBezTo>
                    <a:pt x="24" y="271"/>
                    <a:pt x="24" y="271"/>
                    <a:pt x="24" y="271"/>
                  </a:cubicBezTo>
                  <a:cubicBezTo>
                    <a:pt x="24" y="271"/>
                    <a:pt x="24" y="271"/>
                    <a:pt x="24" y="270"/>
                  </a:cubicBezTo>
                  <a:cubicBezTo>
                    <a:pt x="24" y="270"/>
                    <a:pt x="24" y="270"/>
                    <a:pt x="24" y="270"/>
                  </a:cubicBezTo>
                  <a:cubicBezTo>
                    <a:pt x="24" y="270"/>
                    <a:pt x="24" y="270"/>
                    <a:pt x="24" y="270"/>
                  </a:cubicBezTo>
                  <a:cubicBezTo>
                    <a:pt x="24" y="270"/>
                    <a:pt x="23" y="270"/>
                    <a:pt x="23" y="269"/>
                  </a:cubicBezTo>
                  <a:cubicBezTo>
                    <a:pt x="23" y="269"/>
                    <a:pt x="23" y="269"/>
                    <a:pt x="23" y="269"/>
                  </a:cubicBezTo>
                  <a:cubicBezTo>
                    <a:pt x="23" y="269"/>
                    <a:pt x="23" y="269"/>
                    <a:pt x="23" y="269"/>
                  </a:cubicBezTo>
                  <a:cubicBezTo>
                    <a:pt x="23" y="268"/>
                    <a:pt x="23" y="268"/>
                    <a:pt x="23" y="268"/>
                  </a:cubicBezTo>
                  <a:cubicBezTo>
                    <a:pt x="23" y="268"/>
                    <a:pt x="23" y="268"/>
                    <a:pt x="22" y="268"/>
                  </a:cubicBezTo>
                  <a:cubicBezTo>
                    <a:pt x="22" y="268"/>
                    <a:pt x="22" y="268"/>
                    <a:pt x="22" y="267"/>
                  </a:cubicBezTo>
                  <a:cubicBezTo>
                    <a:pt x="22" y="267"/>
                    <a:pt x="22" y="267"/>
                    <a:pt x="22" y="267"/>
                  </a:cubicBezTo>
                  <a:cubicBezTo>
                    <a:pt x="22" y="267"/>
                    <a:pt x="22" y="267"/>
                    <a:pt x="22" y="267"/>
                  </a:cubicBezTo>
                  <a:cubicBezTo>
                    <a:pt x="22" y="267"/>
                    <a:pt x="22" y="267"/>
                    <a:pt x="22" y="267"/>
                  </a:cubicBezTo>
                  <a:cubicBezTo>
                    <a:pt x="22" y="266"/>
                    <a:pt x="22" y="266"/>
                    <a:pt x="22" y="266"/>
                  </a:cubicBezTo>
                  <a:cubicBezTo>
                    <a:pt x="22" y="266"/>
                    <a:pt x="22" y="266"/>
                    <a:pt x="21" y="266"/>
                  </a:cubicBezTo>
                  <a:cubicBezTo>
                    <a:pt x="21" y="266"/>
                    <a:pt x="21" y="265"/>
                    <a:pt x="21" y="265"/>
                  </a:cubicBezTo>
                  <a:cubicBezTo>
                    <a:pt x="21" y="265"/>
                    <a:pt x="21" y="265"/>
                    <a:pt x="21" y="265"/>
                  </a:cubicBezTo>
                  <a:cubicBezTo>
                    <a:pt x="21" y="265"/>
                    <a:pt x="21" y="265"/>
                    <a:pt x="21" y="265"/>
                  </a:cubicBezTo>
                  <a:cubicBezTo>
                    <a:pt x="21" y="265"/>
                    <a:pt x="21" y="265"/>
                    <a:pt x="21" y="265"/>
                  </a:cubicBezTo>
                  <a:cubicBezTo>
                    <a:pt x="21" y="264"/>
                    <a:pt x="21" y="264"/>
                    <a:pt x="21" y="264"/>
                  </a:cubicBezTo>
                  <a:cubicBezTo>
                    <a:pt x="21" y="264"/>
                    <a:pt x="20" y="264"/>
                    <a:pt x="20" y="264"/>
                  </a:cubicBezTo>
                  <a:cubicBezTo>
                    <a:pt x="20" y="264"/>
                    <a:pt x="20" y="263"/>
                    <a:pt x="20" y="263"/>
                  </a:cubicBezTo>
                  <a:cubicBezTo>
                    <a:pt x="20" y="263"/>
                    <a:pt x="20" y="263"/>
                    <a:pt x="20" y="263"/>
                  </a:cubicBezTo>
                  <a:cubicBezTo>
                    <a:pt x="20" y="263"/>
                    <a:pt x="20" y="263"/>
                    <a:pt x="20" y="262"/>
                  </a:cubicBezTo>
                  <a:cubicBezTo>
                    <a:pt x="20" y="262"/>
                    <a:pt x="20" y="262"/>
                    <a:pt x="20" y="262"/>
                  </a:cubicBezTo>
                  <a:cubicBezTo>
                    <a:pt x="19" y="262"/>
                    <a:pt x="19" y="261"/>
                    <a:pt x="19" y="260"/>
                  </a:cubicBezTo>
                  <a:cubicBezTo>
                    <a:pt x="19" y="260"/>
                    <a:pt x="19" y="260"/>
                    <a:pt x="19" y="260"/>
                  </a:cubicBezTo>
                  <a:cubicBezTo>
                    <a:pt x="18" y="260"/>
                    <a:pt x="18" y="259"/>
                    <a:pt x="18" y="259"/>
                  </a:cubicBezTo>
                  <a:cubicBezTo>
                    <a:pt x="18" y="259"/>
                    <a:pt x="18" y="259"/>
                    <a:pt x="18" y="259"/>
                  </a:cubicBezTo>
                  <a:cubicBezTo>
                    <a:pt x="18" y="258"/>
                    <a:pt x="18" y="258"/>
                    <a:pt x="18" y="257"/>
                  </a:cubicBezTo>
                  <a:cubicBezTo>
                    <a:pt x="17" y="257"/>
                    <a:pt x="17" y="257"/>
                    <a:pt x="17" y="257"/>
                  </a:cubicBezTo>
                  <a:cubicBezTo>
                    <a:pt x="17" y="257"/>
                    <a:pt x="17" y="256"/>
                    <a:pt x="17" y="256"/>
                  </a:cubicBezTo>
                  <a:cubicBezTo>
                    <a:pt x="17" y="256"/>
                    <a:pt x="17" y="256"/>
                    <a:pt x="17" y="256"/>
                  </a:cubicBezTo>
                  <a:cubicBezTo>
                    <a:pt x="17" y="256"/>
                    <a:pt x="17" y="255"/>
                    <a:pt x="17" y="255"/>
                  </a:cubicBezTo>
                  <a:cubicBezTo>
                    <a:pt x="16" y="255"/>
                    <a:pt x="16" y="255"/>
                    <a:pt x="16" y="255"/>
                  </a:cubicBezTo>
                  <a:cubicBezTo>
                    <a:pt x="16" y="254"/>
                    <a:pt x="16" y="253"/>
                    <a:pt x="16" y="253"/>
                  </a:cubicBezTo>
                  <a:cubicBezTo>
                    <a:pt x="16" y="253"/>
                    <a:pt x="16" y="253"/>
                    <a:pt x="15" y="253"/>
                  </a:cubicBezTo>
                  <a:cubicBezTo>
                    <a:pt x="15" y="252"/>
                    <a:pt x="15" y="252"/>
                    <a:pt x="15" y="252"/>
                  </a:cubicBezTo>
                  <a:cubicBezTo>
                    <a:pt x="15" y="252"/>
                    <a:pt x="15" y="252"/>
                    <a:pt x="15" y="252"/>
                  </a:cubicBezTo>
                  <a:cubicBezTo>
                    <a:pt x="15" y="251"/>
                    <a:pt x="15" y="251"/>
                    <a:pt x="15" y="250"/>
                  </a:cubicBezTo>
                  <a:cubicBezTo>
                    <a:pt x="15" y="250"/>
                    <a:pt x="15" y="250"/>
                    <a:pt x="14" y="250"/>
                  </a:cubicBezTo>
                  <a:cubicBezTo>
                    <a:pt x="14" y="249"/>
                    <a:pt x="14" y="249"/>
                    <a:pt x="14" y="249"/>
                  </a:cubicBezTo>
                  <a:cubicBezTo>
                    <a:pt x="14" y="249"/>
                    <a:pt x="14" y="249"/>
                    <a:pt x="14" y="249"/>
                  </a:cubicBezTo>
                  <a:cubicBezTo>
                    <a:pt x="14" y="248"/>
                    <a:pt x="14" y="248"/>
                    <a:pt x="14" y="248"/>
                  </a:cubicBezTo>
                  <a:cubicBezTo>
                    <a:pt x="14" y="248"/>
                    <a:pt x="14" y="248"/>
                    <a:pt x="14" y="248"/>
                  </a:cubicBezTo>
                  <a:cubicBezTo>
                    <a:pt x="14" y="247"/>
                    <a:pt x="14" y="247"/>
                    <a:pt x="14" y="247"/>
                  </a:cubicBezTo>
                  <a:cubicBezTo>
                    <a:pt x="14" y="247"/>
                    <a:pt x="13" y="247"/>
                    <a:pt x="13" y="247"/>
                  </a:cubicBezTo>
                  <a:cubicBezTo>
                    <a:pt x="13" y="246"/>
                    <a:pt x="13" y="246"/>
                    <a:pt x="13" y="246"/>
                  </a:cubicBezTo>
                  <a:cubicBezTo>
                    <a:pt x="13" y="246"/>
                    <a:pt x="13" y="246"/>
                    <a:pt x="13" y="246"/>
                  </a:cubicBezTo>
                  <a:cubicBezTo>
                    <a:pt x="13" y="244"/>
                    <a:pt x="13" y="243"/>
                    <a:pt x="12" y="241"/>
                  </a:cubicBezTo>
                  <a:cubicBezTo>
                    <a:pt x="12" y="241"/>
                    <a:pt x="12" y="241"/>
                    <a:pt x="12" y="241"/>
                  </a:cubicBezTo>
                  <a:cubicBezTo>
                    <a:pt x="12" y="241"/>
                    <a:pt x="12" y="240"/>
                    <a:pt x="12" y="239"/>
                  </a:cubicBezTo>
                  <a:cubicBezTo>
                    <a:pt x="12" y="239"/>
                    <a:pt x="12" y="239"/>
                    <a:pt x="12" y="239"/>
                  </a:cubicBezTo>
                  <a:cubicBezTo>
                    <a:pt x="11" y="237"/>
                    <a:pt x="12" y="233"/>
                    <a:pt x="12" y="232"/>
                  </a:cubicBezTo>
                  <a:cubicBezTo>
                    <a:pt x="13" y="231"/>
                    <a:pt x="13" y="230"/>
                    <a:pt x="13" y="228"/>
                  </a:cubicBezTo>
                  <a:cubicBezTo>
                    <a:pt x="13" y="228"/>
                    <a:pt x="13" y="228"/>
                    <a:pt x="13" y="228"/>
                  </a:cubicBezTo>
                  <a:cubicBezTo>
                    <a:pt x="13" y="228"/>
                    <a:pt x="14" y="227"/>
                    <a:pt x="14" y="227"/>
                  </a:cubicBezTo>
                  <a:cubicBezTo>
                    <a:pt x="14" y="227"/>
                    <a:pt x="14" y="227"/>
                    <a:pt x="14" y="227"/>
                  </a:cubicBezTo>
                  <a:cubicBezTo>
                    <a:pt x="14" y="226"/>
                    <a:pt x="14" y="226"/>
                    <a:pt x="14" y="225"/>
                  </a:cubicBezTo>
                  <a:cubicBezTo>
                    <a:pt x="15" y="225"/>
                    <a:pt x="15" y="225"/>
                    <a:pt x="15" y="225"/>
                  </a:cubicBezTo>
                  <a:cubicBezTo>
                    <a:pt x="15" y="225"/>
                    <a:pt x="15" y="225"/>
                    <a:pt x="15" y="225"/>
                  </a:cubicBezTo>
                  <a:cubicBezTo>
                    <a:pt x="15" y="225"/>
                    <a:pt x="15" y="225"/>
                    <a:pt x="15" y="225"/>
                  </a:cubicBezTo>
                  <a:cubicBezTo>
                    <a:pt x="15" y="224"/>
                    <a:pt x="15" y="224"/>
                    <a:pt x="15" y="224"/>
                  </a:cubicBezTo>
                  <a:cubicBezTo>
                    <a:pt x="15" y="224"/>
                    <a:pt x="15" y="224"/>
                    <a:pt x="15" y="224"/>
                  </a:cubicBezTo>
                  <a:cubicBezTo>
                    <a:pt x="15" y="223"/>
                    <a:pt x="15" y="223"/>
                    <a:pt x="15" y="223"/>
                  </a:cubicBezTo>
                  <a:cubicBezTo>
                    <a:pt x="16" y="223"/>
                    <a:pt x="16" y="223"/>
                    <a:pt x="16" y="223"/>
                  </a:cubicBezTo>
                  <a:cubicBezTo>
                    <a:pt x="16" y="222"/>
                    <a:pt x="16" y="221"/>
                    <a:pt x="16" y="221"/>
                  </a:cubicBezTo>
                  <a:cubicBezTo>
                    <a:pt x="16" y="221"/>
                    <a:pt x="16" y="221"/>
                    <a:pt x="17" y="221"/>
                  </a:cubicBezTo>
                  <a:cubicBezTo>
                    <a:pt x="17" y="219"/>
                    <a:pt x="17" y="218"/>
                    <a:pt x="17" y="216"/>
                  </a:cubicBezTo>
                  <a:cubicBezTo>
                    <a:pt x="17" y="216"/>
                    <a:pt x="17" y="216"/>
                    <a:pt x="17" y="216"/>
                  </a:cubicBezTo>
                  <a:cubicBezTo>
                    <a:pt x="17" y="216"/>
                    <a:pt x="17" y="215"/>
                    <a:pt x="17" y="214"/>
                  </a:cubicBezTo>
                  <a:cubicBezTo>
                    <a:pt x="17" y="214"/>
                    <a:pt x="17" y="214"/>
                    <a:pt x="17" y="213"/>
                  </a:cubicBezTo>
                  <a:cubicBezTo>
                    <a:pt x="16" y="213"/>
                    <a:pt x="15" y="213"/>
                    <a:pt x="15" y="213"/>
                  </a:cubicBezTo>
                  <a:cubicBezTo>
                    <a:pt x="15" y="213"/>
                    <a:pt x="15" y="213"/>
                    <a:pt x="15" y="213"/>
                  </a:cubicBezTo>
                  <a:cubicBezTo>
                    <a:pt x="14" y="214"/>
                    <a:pt x="14" y="214"/>
                    <a:pt x="13" y="214"/>
                  </a:cubicBezTo>
                  <a:cubicBezTo>
                    <a:pt x="13" y="214"/>
                    <a:pt x="13" y="214"/>
                    <a:pt x="13" y="215"/>
                  </a:cubicBezTo>
                  <a:cubicBezTo>
                    <a:pt x="12" y="215"/>
                    <a:pt x="12" y="215"/>
                    <a:pt x="12" y="215"/>
                  </a:cubicBezTo>
                  <a:cubicBezTo>
                    <a:pt x="12" y="215"/>
                    <a:pt x="12" y="215"/>
                    <a:pt x="12" y="215"/>
                  </a:cubicBezTo>
                  <a:cubicBezTo>
                    <a:pt x="12" y="215"/>
                    <a:pt x="11" y="215"/>
                    <a:pt x="11" y="215"/>
                  </a:cubicBezTo>
                  <a:cubicBezTo>
                    <a:pt x="11" y="215"/>
                    <a:pt x="11" y="215"/>
                    <a:pt x="11" y="216"/>
                  </a:cubicBezTo>
                  <a:cubicBezTo>
                    <a:pt x="10" y="216"/>
                    <a:pt x="9" y="216"/>
                    <a:pt x="8" y="216"/>
                  </a:cubicBezTo>
                  <a:cubicBezTo>
                    <a:pt x="8" y="216"/>
                    <a:pt x="8" y="216"/>
                    <a:pt x="8" y="216"/>
                  </a:cubicBezTo>
                  <a:cubicBezTo>
                    <a:pt x="7" y="215"/>
                    <a:pt x="8" y="216"/>
                    <a:pt x="7" y="215"/>
                  </a:cubicBezTo>
                  <a:cubicBezTo>
                    <a:pt x="7" y="215"/>
                    <a:pt x="7" y="215"/>
                    <a:pt x="7" y="215"/>
                  </a:cubicBezTo>
                  <a:cubicBezTo>
                    <a:pt x="7" y="215"/>
                    <a:pt x="7" y="214"/>
                    <a:pt x="7" y="214"/>
                  </a:cubicBezTo>
                  <a:cubicBezTo>
                    <a:pt x="7" y="214"/>
                    <a:pt x="7" y="214"/>
                    <a:pt x="7" y="214"/>
                  </a:cubicBezTo>
                  <a:cubicBezTo>
                    <a:pt x="7" y="214"/>
                    <a:pt x="7" y="214"/>
                    <a:pt x="7" y="213"/>
                  </a:cubicBezTo>
                  <a:cubicBezTo>
                    <a:pt x="6" y="213"/>
                    <a:pt x="3" y="211"/>
                    <a:pt x="3" y="211"/>
                  </a:cubicBezTo>
                  <a:cubicBezTo>
                    <a:pt x="2" y="211"/>
                    <a:pt x="2" y="210"/>
                    <a:pt x="2" y="210"/>
                  </a:cubicBezTo>
                  <a:cubicBezTo>
                    <a:pt x="2" y="210"/>
                    <a:pt x="2" y="210"/>
                    <a:pt x="2" y="210"/>
                  </a:cubicBezTo>
                  <a:cubicBezTo>
                    <a:pt x="2" y="210"/>
                    <a:pt x="2" y="209"/>
                    <a:pt x="2" y="209"/>
                  </a:cubicBezTo>
                  <a:cubicBezTo>
                    <a:pt x="2" y="209"/>
                    <a:pt x="2" y="209"/>
                    <a:pt x="1" y="209"/>
                  </a:cubicBezTo>
                  <a:cubicBezTo>
                    <a:pt x="1" y="208"/>
                    <a:pt x="0" y="206"/>
                    <a:pt x="0" y="205"/>
                  </a:cubicBezTo>
                  <a:cubicBezTo>
                    <a:pt x="1" y="202"/>
                    <a:pt x="3" y="200"/>
                    <a:pt x="4" y="197"/>
                  </a:cubicBezTo>
                  <a:cubicBezTo>
                    <a:pt x="4" y="197"/>
                    <a:pt x="4" y="197"/>
                    <a:pt x="4" y="197"/>
                  </a:cubicBezTo>
                  <a:cubicBezTo>
                    <a:pt x="4" y="197"/>
                    <a:pt x="4" y="196"/>
                    <a:pt x="5" y="196"/>
                  </a:cubicBezTo>
                  <a:cubicBezTo>
                    <a:pt x="5" y="196"/>
                    <a:pt x="5" y="196"/>
                    <a:pt x="5" y="196"/>
                  </a:cubicBezTo>
                  <a:cubicBezTo>
                    <a:pt x="5" y="195"/>
                    <a:pt x="5" y="195"/>
                    <a:pt x="5" y="195"/>
                  </a:cubicBezTo>
                  <a:cubicBezTo>
                    <a:pt x="5" y="195"/>
                    <a:pt x="6" y="195"/>
                    <a:pt x="6" y="195"/>
                  </a:cubicBezTo>
                  <a:cubicBezTo>
                    <a:pt x="6" y="195"/>
                    <a:pt x="6" y="194"/>
                    <a:pt x="6" y="194"/>
                  </a:cubicBezTo>
                  <a:cubicBezTo>
                    <a:pt x="6" y="194"/>
                    <a:pt x="6" y="194"/>
                    <a:pt x="7" y="194"/>
                  </a:cubicBezTo>
                  <a:cubicBezTo>
                    <a:pt x="7" y="193"/>
                    <a:pt x="7" y="193"/>
                    <a:pt x="7" y="193"/>
                  </a:cubicBezTo>
                  <a:cubicBezTo>
                    <a:pt x="7" y="193"/>
                    <a:pt x="7" y="192"/>
                    <a:pt x="8" y="192"/>
                  </a:cubicBezTo>
                  <a:cubicBezTo>
                    <a:pt x="8" y="192"/>
                    <a:pt x="8" y="192"/>
                    <a:pt x="8" y="191"/>
                  </a:cubicBezTo>
                  <a:cubicBezTo>
                    <a:pt x="8" y="191"/>
                    <a:pt x="9" y="191"/>
                    <a:pt x="9" y="190"/>
                  </a:cubicBezTo>
                  <a:cubicBezTo>
                    <a:pt x="9" y="190"/>
                    <a:pt x="9" y="190"/>
                    <a:pt x="9" y="190"/>
                  </a:cubicBezTo>
                  <a:cubicBezTo>
                    <a:pt x="10" y="189"/>
                    <a:pt x="11" y="188"/>
                    <a:pt x="12" y="188"/>
                  </a:cubicBezTo>
                  <a:cubicBezTo>
                    <a:pt x="12" y="187"/>
                    <a:pt x="12" y="187"/>
                    <a:pt x="12" y="187"/>
                  </a:cubicBezTo>
                  <a:cubicBezTo>
                    <a:pt x="12" y="186"/>
                    <a:pt x="13" y="185"/>
                    <a:pt x="14" y="185"/>
                  </a:cubicBezTo>
                  <a:cubicBezTo>
                    <a:pt x="15" y="183"/>
                    <a:pt x="16" y="182"/>
                    <a:pt x="18" y="181"/>
                  </a:cubicBezTo>
                  <a:cubicBezTo>
                    <a:pt x="18" y="181"/>
                    <a:pt x="18" y="181"/>
                    <a:pt x="18" y="181"/>
                  </a:cubicBezTo>
                  <a:cubicBezTo>
                    <a:pt x="18" y="181"/>
                    <a:pt x="18" y="180"/>
                    <a:pt x="19" y="180"/>
                  </a:cubicBezTo>
                  <a:cubicBezTo>
                    <a:pt x="19" y="180"/>
                    <a:pt x="19" y="180"/>
                    <a:pt x="19" y="180"/>
                  </a:cubicBezTo>
                  <a:cubicBezTo>
                    <a:pt x="20" y="179"/>
                    <a:pt x="20" y="179"/>
                    <a:pt x="21" y="178"/>
                  </a:cubicBezTo>
                  <a:cubicBezTo>
                    <a:pt x="21" y="178"/>
                    <a:pt x="22" y="178"/>
                    <a:pt x="22" y="178"/>
                  </a:cubicBezTo>
                  <a:cubicBezTo>
                    <a:pt x="22" y="177"/>
                    <a:pt x="23" y="176"/>
                    <a:pt x="23" y="176"/>
                  </a:cubicBezTo>
                  <a:cubicBezTo>
                    <a:pt x="24" y="176"/>
                    <a:pt x="24" y="176"/>
                    <a:pt x="24" y="176"/>
                  </a:cubicBezTo>
                  <a:cubicBezTo>
                    <a:pt x="25" y="175"/>
                    <a:pt x="25" y="174"/>
                    <a:pt x="26" y="174"/>
                  </a:cubicBezTo>
                  <a:cubicBezTo>
                    <a:pt x="26" y="174"/>
                    <a:pt x="26" y="174"/>
                    <a:pt x="27" y="174"/>
                  </a:cubicBezTo>
                  <a:cubicBezTo>
                    <a:pt x="27" y="173"/>
                    <a:pt x="28" y="172"/>
                    <a:pt x="28" y="172"/>
                  </a:cubicBezTo>
                  <a:cubicBezTo>
                    <a:pt x="28" y="172"/>
                    <a:pt x="29" y="172"/>
                    <a:pt x="29" y="172"/>
                  </a:cubicBezTo>
                  <a:cubicBezTo>
                    <a:pt x="29" y="171"/>
                    <a:pt x="30" y="170"/>
                    <a:pt x="31" y="169"/>
                  </a:cubicBezTo>
                  <a:cubicBezTo>
                    <a:pt x="31" y="169"/>
                    <a:pt x="31" y="169"/>
                    <a:pt x="32" y="169"/>
                  </a:cubicBezTo>
                  <a:cubicBezTo>
                    <a:pt x="32" y="168"/>
                    <a:pt x="33" y="167"/>
                    <a:pt x="34" y="166"/>
                  </a:cubicBezTo>
                  <a:cubicBezTo>
                    <a:pt x="35" y="166"/>
                    <a:pt x="35" y="166"/>
                    <a:pt x="35" y="166"/>
                  </a:cubicBezTo>
                  <a:cubicBezTo>
                    <a:pt x="35" y="166"/>
                    <a:pt x="36" y="165"/>
                    <a:pt x="36" y="165"/>
                  </a:cubicBezTo>
                  <a:cubicBezTo>
                    <a:pt x="37" y="164"/>
                    <a:pt x="38" y="163"/>
                    <a:pt x="39" y="162"/>
                  </a:cubicBezTo>
                  <a:cubicBezTo>
                    <a:pt x="39" y="162"/>
                    <a:pt x="39" y="162"/>
                    <a:pt x="39" y="161"/>
                  </a:cubicBezTo>
                  <a:cubicBezTo>
                    <a:pt x="40" y="161"/>
                    <a:pt x="41" y="160"/>
                    <a:pt x="42" y="159"/>
                  </a:cubicBezTo>
                  <a:cubicBezTo>
                    <a:pt x="42" y="159"/>
                    <a:pt x="42" y="159"/>
                    <a:pt x="42" y="159"/>
                  </a:cubicBezTo>
                  <a:cubicBezTo>
                    <a:pt x="42" y="158"/>
                    <a:pt x="43" y="158"/>
                    <a:pt x="43" y="157"/>
                  </a:cubicBezTo>
                  <a:cubicBezTo>
                    <a:pt x="43" y="157"/>
                    <a:pt x="43" y="157"/>
                    <a:pt x="43" y="157"/>
                  </a:cubicBezTo>
                  <a:cubicBezTo>
                    <a:pt x="43" y="157"/>
                    <a:pt x="44" y="156"/>
                    <a:pt x="44" y="156"/>
                  </a:cubicBezTo>
                  <a:cubicBezTo>
                    <a:pt x="44" y="156"/>
                    <a:pt x="44" y="156"/>
                    <a:pt x="44" y="155"/>
                  </a:cubicBezTo>
                  <a:cubicBezTo>
                    <a:pt x="44" y="155"/>
                    <a:pt x="45" y="155"/>
                    <a:pt x="45" y="155"/>
                  </a:cubicBezTo>
                  <a:cubicBezTo>
                    <a:pt x="45" y="155"/>
                    <a:pt x="45" y="154"/>
                    <a:pt x="45" y="154"/>
                  </a:cubicBezTo>
                  <a:cubicBezTo>
                    <a:pt x="45" y="154"/>
                    <a:pt x="45" y="154"/>
                    <a:pt x="46" y="154"/>
                  </a:cubicBezTo>
                  <a:cubicBezTo>
                    <a:pt x="46" y="154"/>
                    <a:pt x="46" y="154"/>
                    <a:pt x="46" y="153"/>
                  </a:cubicBezTo>
                  <a:cubicBezTo>
                    <a:pt x="46" y="153"/>
                    <a:pt x="46" y="153"/>
                    <a:pt x="46" y="153"/>
                  </a:cubicBezTo>
                  <a:cubicBezTo>
                    <a:pt x="46" y="153"/>
                    <a:pt x="46" y="152"/>
                    <a:pt x="47" y="152"/>
                  </a:cubicBezTo>
                  <a:cubicBezTo>
                    <a:pt x="47" y="152"/>
                    <a:pt x="47" y="152"/>
                    <a:pt x="47" y="152"/>
                  </a:cubicBezTo>
                  <a:cubicBezTo>
                    <a:pt x="47" y="152"/>
                    <a:pt x="47" y="151"/>
                    <a:pt x="47" y="151"/>
                  </a:cubicBezTo>
                  <a:cubicBezTo>
                    <a:pt x="47" y="151"/>
                    <a:pt x="47" y="151"/>
                    <a:pt x="47" y="151"/>
                  </a:cubicBezTo>
                  <a:cubicBezTo>
                    <a:pt x="47" y="151"/>
                    <a:pt x="47" y="151"/>
                    <a:pt x="47" y="150"/>
                  </a:cubicBezTo>
                  <a:cubicBezTo>
                    <a:pt x="47" y="150"/>
                    <a:pt x="48" y="150"/>
                    <a:pt x="48" y="150"/>
                  </a:cubicBezTo>
                  <a:cubicBezTo>
                    <a:pt x="48" y="150"/>
                    <a:pt x="48" y="150"/>
                    <a:pt x="48" y="150"/>
                  </a:cubicBezTo>
                  <a:cubicBezTo>
                    <a:pt x="48" y="150"/>
                    <a:pt x="48" y="150"/>
                    <a:pt x="48" y="150"/>
                  </a:cubicBezTo>
                  <a:cubicBezTo>
                    <a:pt x="48" y="150"/>
                    <a:pt x="48" y="149"/>
                    <a:pt x="48" y="149"/>
                  </a:cubicBezTo>
                  <a:cubicBezTo>
                    <a:pt x="48" y="149"/>
                    <a:pt x="48" y="149"/>
                    <a:pt x="49" y="149"/>
                  </a:cubicBezTo>
                  <a:cubicBezTo>
                    <a:pt x="49" y="149"/>
                    <a:pt x="49" y="148"/>
                    <a:pt x="49" y="148"/>
                  </a:cubicBezTo>
                  <a:cubicBezTo>
                    <a:pt x="49" y="148"/>
                    <a:pt x="49" y="148"/>
                    <a:pt x="49" y="148"/>
                  </a:cubicBezTo>
                  <a:cubicBezTo>
                    <a:pt x="49" y="148"/>
                    <a:pt x="49" y="147"/>
                    <a:pt x="49" y="147"/>
                  </a:cubicBezTo>
                  <a:cubicBezTo>
                    <a:pt x="49" y="147"/>
                    <a:pt x="49" y="147"/>
                    <a:pt x="49" y="147"/>
                  </a:cubicBezTo>
                  <a:cubicBezTo>
                    <a:pt x="49" y="147"/>
                    <a:pt x="50" y="146"/>
                    <a:pt x="50" y="146"/>
                  </a:cubicBezTo>
                  <a:cubicBezTo>
                    <a:pt x="50" y="146"/>
                    <a:pt x="50" y="146"/>
                    <a:pt x="50" y="146"/>
                  </a:cubicBezTo>
                  <a:cubicBezTo>
                    <a:pt x="50" y="145"/>
                    <a:pt x="50" y="145"/>
                    <a:pt x="50" y="145"/>
                  </a:cubicBezTo>
                  <a:cubicBezTo>
                    <a:pt x="50" y="145"/>
                    <a:pt x="50" y="145"/>
                    <a:pt x="50" y="145"/>
                  </a:cubicBezTo>
                  <a:cubicBezTo>
                    <a:pt x="50" y="144"/>
                    <a:pt x="50" y="144"/>
                    <a:pt x="50" y="144"/>
                  </a:cubicBezTo>
                  <a:cubicBezTo>
                    <a:pt x="51" y="144"/>
                    <a:pt x="51" y="144"/>
                    <a:pt x="51" y="144"/>
                  </a:cubicBezTo>
                  <a:cubicBezTo>
                    <a:pt x="51" y="144"/>
                    <a:pt x="51" y="143"/>
                    <a:pt x="51" y="143"/>
                  </a:cubicBezTo>
                  <a:cubicBezTo>
                    <a:pt x="51" y="143"/>
                    <a:pt x="51" y="143"/>
                    <a:pt x="51" y="143"/>
                  </a:cubicBezTo>
                  <a:cubicBezTo>
                    <a:pt x="51" y="142"/>
                    <a:pt x="51" y="142"/>
                    <a:pt x="51" y="142"/>
                  </a:cubicBezTo>
                  <a:cubicBezTo>
                    <a:pt x="51" y="142"/>
                    <a:pt x="51" y="142"/>
                    <a:pt x="51" y="142"/>
                  </a:cubicBezTo>
                  <a:cubicBezTo>
                    <a:pt x="51" y="141"/>
                    <a:pt x="51" y="141"/>
                    <a:pt x="51" y="141"/>
                  </a:cubicBezTo>
                  <a:cubicBezTo>
                    <a:pt x="52" y="141"/>
                    <a:pt x="52" y="141"/>
                    <a:pt x="52" y="141"/>
                  </a:cubicBezTo>
                  <a:cubicBezTo>
                    <a:pt x="52" y="140"/>
                    <a:pt x="52" y="140"/>
                    <a:pt x="52" y="140"/>
                  </a:cubicBezTo>
                  <a:cubicBezTo>
                    <a:pt x="52" y="140"/>
                    <a:pt x="52" y="140"/>
                    <a:pt x="52" y="140"/>
                  </a:cubicBezTo>
                  <a:cubicBezTo>
                    <a:pt x="52" y="139"/>
                    <a:pt x="52" y="138"/>
                    <a:pt x="53" y="137"/>
                  </a:cubicBezTo>
                  <a:cubicBezTo>
                    <a:pt x="54" y="133"/>
                    <a:pt x="55" y="128"/>
                    <a:pt x="56" y="124"/>
                  </a:cubicBezTo>
                  <a:cubicBezTo>
                    <a:pt x="56" y="122"/>
                    <a:pt x="57" y="119"/>
                    <a:pt x="57" y="117"/>
                  </a:cubicBezTo>
                  <a:cubicBezTo>
                    <a:pt x="58" y="117"/>
                    <a:pt x="58" y="117"/>
                    <a:pt x="58" y="117"/>
                  </a:cubicBezTo>
                  <a:cubicBezTo>
                    <a:pt x="58" y="115"/>
                    <a:pt x="58" y="114"/>
                    <a:pt x="59" y="112"/>
                  </a:cubicBezTo>
                  <a:cubicBezTo>
                    <a:pt x="59" y="112"/>
                    <a:pt x="59" y="112"/>
                    <a:pt x="59" y="112"/>
                  </a:cubicBezTo>
                  <a:cubicBezTo>
                    <a:pt x="59" y="111"/>
                    <a:pt x="60" y="110"/>
                    <a:pt x="60" y="109"/>
                  </a:cubicBezTo>
                  <a:cubicBezTo>
                    <a:pt x="60" y="109"/>
                    <a:pt x="60" y="109"/>
                    <a:pt x="60" y="109"/>
                  </a:cubicBezTo>
                  <a:cubicBezTo>
                    <a:pt x="60" y="108"/>
                    <a:pt x="60" y="108"/>
                    <a:pt x="60" y="107"/>
                  </a:cubicBezTo>
                  <a:cubicBezTo>
                    <a:pt x="60" y="107"/>
                    <a:pt x="60" y="107"/>
                    <a:pt x="61" y="107"/>
                  </a:cubicBezTo>
                  <a:cubicBezTo>
                    <a:pt x="61" y="107"/>
                    <a:pt x="61" y="107"/>
                    <a:pt x="61" y="106"/>
                  </a:cubicBezTo>
                  <a:cubicBezTo>
                    <a:pt x="61" y="106"/>
                    <a:pt x="61" y="106"/>
                    <a:pt x="61" y="106"/>
                  </a:cubicBezTo>
                  <a:cubicBezTo>
                    <a:pt x="61" y="106"/>
                    <a:pt x="61" y="106"/>
                    <a:pt x="61" y="105"/>
                  </a:cubicBezTo>
                  <a:cubicBezTo>
                    <a:pt x="61" y="105"/>
                    <a:pt x="61" y="105"/>
                    <a:pt x="61" y="105"/>
                  </a:cubicBezTo>
                  <a:cubicBezTo>
                    <a:pt x="61" y="105"/>
                    <a:pt x="61" y="105"/>
                    <a:pt x="61" y="104"/>
                  </a:cubicBezTo>
                  <a:cubicBezTo>
                    <a:pt x="61" y="104"/>
                    <a:pt x="62" y="104"/>
                    <a:pt x="62" y="104"/>
                  </a:cubicBezTo>
                  <a:cubicBezTo>
                    <a:pt x="62" y="104"/>
                    <a:pt x="62" y="104"/>
                    <a:pt x="62" y="103"/>
                  </a:cubicBezTo>
                  <a:cubicBezTo>
                    <a:pt x="62" y="103"/>
                    <a:pt x="62" y="103"/>
                    <a:pt x="62" y="103"/>
                  </a:cubicBezTo>
                  <a:cubicBezTo>
                    <a:pt x="62" y="102"/>
                    <a:pt x="62" y="101"/>
                    <a:pt x="63" y="100"/>
                  </a:cubicBezTo>
                  <a:cubicBezTo>
                    <a:pt x="63" y="100"/>
                    <a:pt x="63" y="100"/>
                    <a:pt x="63" y="100"/>
                  </a:cubicBezTo>
                  <a:cubicBezTo>
                    <a:pt x="63" y="100"/>
                    <a:pt x="63" y="100"/>
                    <a:pt x="63" y="99"/>
                  </a:cubicBezTo>
                  <a:cubicBezTo>
                    <a:pt x="63" y="99"/>
                    <a:pt x="63" y="99"/>
                    <a:pt x="63" y="99"/>
                  </a:cubicBezTo>
                  <a:cubicBezTo>
                    <a:pt x="63" y="99"/>
                    <a:pt x="64" y="98"/>
                    <a:pt x="64" y="97"/>
                  </a:cubicBezTo>
                  <a:cubicBezTo>
                    <a:pt x="64" y="97"/>
                    <a:pt x="64" y="97"/>
                    <a:pt x="64" y="97"/>
                  </a:cubicBezTo>
                  <a:cubicBezTo>
                    <a:pt x="64" y="97"/>
                    <a:pt x="64" y="96"/>
                    <a:pt x="64" y="96"/>
                  </a:cubicBezTo>
                  <a:cubicBezTo>
                    <a:pt x="65" y="96"/>
                    <a:pt x="65" y="96"/>
                    <a:pt x="65" y="96"/>
                  </a:cubicBezTo>
                  <a:cubicBezTo>
                    <a:pt x="65" y="95"/>
                    <a:pt x="65" y="95"/>
                    <a:pt x="65" y="95"/>
                  </a:cubicBezTo>
                  <a:cubicBezTo>
                    <a:pt x="65" y="95"/>
                    <a:pt x="65" y="95"/>
                    <a:pt x="65" y="95"/>
                  </a:cubicBezTo>
                  <a:cubicBezTo>
                    <a:pt x="65" y="95"/>
                    <a:pt x="65" y="94"/>
                    <a:pt x="65" y="94"/>
                  </a:cubicBezTo>
                  <a:cubicBezTo>
                    <a:pt x="65" y="94"/>
                    <a:pt x="65" y="94"/>
                    <a:pt x="65" y="94"/>
                  </a:cubicBezTo>
                  <a:cubicBezTo>
                    <a:pt x="66" y="93"/>
                    <a:pt x="66" y="92"/>
                    <a:pt x="66" y="92"/>
                  </a:cubicBezTo>
                  <a:cubicBezTo>
                    <a:pt x="66" y="92"/>
                    <a:pt x="66" y="92"/>
                    <a:pt x="67" y="92"/>
                  </a:cubicBezTo>
                  <a:cubicBezTo>
                    <a:pt x="67" y="92"/>
                    <a:pt x="67" y="91"/>
                    <a:pt x="67" y="91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67" y="91"/>
                    <a:pt x="67" y="90"/>
                    <a:pt x="67" y="90"/>
                  </a:cubicBezTo>
                  <a:cubicBezTo>
                    <a:pt x="67" y="90"/>
                    <a:pt x="67" y="90"/>
                    <a:pt x="67" y="90"/>
                  </a:cubicBezTo>
                  <a:cubicBezTo>
                    <a:pt x="67" y="89"/>
                    <a:pt x="68" y="89"/>
                    <a:pt x="68" y="88"/>
                  </a:cubicBezTo>
                  <a:cubicBezTo>
                    <a:pt x="68" y="88"/>
                    <a:pt x="68" y="88"/>
                    <a:pt x="68" y="88"/>
                  </a:cubicBezTo>
                  <a:cubicBezTo>
                    <a:pt x="68" y="87"/>
                    <a:pt x="68" y="87"/>
                    <a:pt x="69" y="86"/>
                  </a:cubicBezTo>
                  <a:cubicBezTo>
                    <a:pt x="69" y="86"/>
                    <a:pt x="69" y="86"/>
                    <a:pt x="69" y="86"/>
                  </a:cubicBezTo>
                  <a:cubicBezTo>
                    <a:pt x="70" y="85"/>
                    <a:pt x="70" y="85"/>
                    <a:pt x="70" y="84"/>
                  </a:cubicBezTo>
                  <a:cubicBezTo>
                    <a:pt x="70" y="84"/>
                    <a:pt x="70" y="84"/>
                    <a:pt x="71" y="84"/>
                  </a:cubicBezTo>
                  <a:cubicBezTo>
                    <a:pt x="71" y="83"/>
                    <a:pt x="71" y="83"/>
                    <a:pt x="71" y="82"/>
                  </a:cubicBezTo>
                  <a:cubicBezTo>
                    <a:pt x="71" y="82"/>
                    <a:pt x="72" y="82"/>
                    <a:pt x="72" y="82"/>
                  </a:cubicBezTo>
                  <a:cubicBezTo>
                    <a:pt x="72" y="81"/>
                    <a:pt x="72" y="81"/>
                    <a:pt x="72" y="81"/>
                  </a:cubicBezTo>
                  <a:cubicBezTo>
                    <a:pt x="72" y="81"/>
                    <a:pt x="73" y="81"/>
                    <a:pt x="73" y="81"/>
                  </a:cubicBezTo>
                  <a:cubicBezTo>
                    <a:pt x="73" y="80"/>
                    <a:pt x="73" y="80"/>
                    <a:pt x="73" y="80"/>
                  </a:cubicBezTo>
                  <a:cubicBezTo>
                    <a:pt x="73" y="80"/>
                    <a:pt x="74" y="79"/>
                    <a:pt x="74" y="79"/>
                  </a:cubicBezTo>
                  <a:cubicBezTo>
                    <a:pt x="74" y="79"/>
                    <a:pt x="74" y="79"/>
                    <a:pt x="74" y="78"/>
                  </a:cubicBezTo>
                  <a:cubicBezTo>
                    <a:pt x="74" y="78"/>
                    <a:pt x="75" y="78"/>
                    <a:pt x="76" y="77"/>
                  </a:cubicBezTo>
                  <a:cubicBezTo>
                    <a:pt x="76" y="76"/>
                    <a:pt x="77" y="75"/>
                    <a:pt x="78" y="74"/>
                  </a:cubicBezTo>
                  <a:cubicBezTo>
                    <a:pt x="78" y="74"/>
                    <a:pt x="79" y="74"/>
                    <a:pt x="79" y="74"/>
                  </a:cubicBezTo>
                  <a:cubicBezTo>
                    <a:pt x="79" y="74"/>
                    <a:pt x="79" y="74"/>
                    <a:pt x="79" y="74"/>
                  </a:cubicBezTo>
                  <a:cubicBezTo>
                    <a:pt x="80" y="73"/>
                    <a:pt x="80" y="73"/>
                    <a:pt x="81" y="73"/>
                  </a:cubicBezTo>
                  <a:cubicBezTo>
                    <a:pt x="81" y="73"/>
                    <a:pt x="81" y="73"/>
                    <a:pt x="81" y="73"/>
                  </a:cubicBezTo>
                  <a:cubicBezTo>
                    <a:pt x="81" y="73"/>
                    <a:pt x="82" y="72"/>
                    <a:pt x="83" y="72"/>
                  </a:cubicBezTo>
                  <a:cubicBezTo>
                    <a:pt x="83" y="72"/>
                    <a:pt x="83" y="72"/>
                    <a:pt x="83" y="72"/>
                  </a:cubicBezTo>
                  <a:cubicBezTo>
                    <a:pt x="84" y="72"/>
                    <a:pt x="85" y="71"/>
                    <a:pt x="86" y="71"/>
                  </a:cubicBezTo>
                  <a:cubicBezTo>
                    <a:pt x="86" y="71"/>
                    <a:pt x="86" y="71"/>
                    <a:pt x="86" y="71"/>
                  </a:cubicBezTo>
                  <a:cubicBezTo>
                    <a:pt x="86" y="71"/>
                    <a:pt x="87" y="71"/>
                    <a:pt x="87" y="71"/>
                  </a:cubicBezTo>
                  <a:cubicBezTo>
                    <a:pt x="87" y="71"/>
                    <a:pt x="87" y="71"/>
                    <a:pt x="87" y="70"/>
                  </a:cubicBezTo>
                  <a:cubicBezTo>
                    <a:pt x="88" y="70"/>
                    <a:pt x="88" y="70"/>
                    <a:pt x="89" y="70"/>
                  </a:cubicBezTo>
                  <a:cubicBezTo>
                    <a:pt x="89" y="70"/>
                    <a:pt x="89" y="70"/>
                    <a:pt x="89" y="70"/>
                  </a:cubicBezTo>
                  <a:cubicBezTo>
                    <a:pt x="89" y="70"/>
                    <a:pt x="90" y="70"/>
                    <a:pt x="91" y="70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70"/>
                    <a:pt x="92" y="70"/>
                    <a:pt x="93" y="70"/>
                  </a:cubicBezTo>
                  <a:cubicBezTo>
                    <a:pt x="93" y="70"/>
                    <a:pt x="93" y="69"/>
                    <a:pt x="93" y="69"/>
                  </a:cubicBezTo>
                  <a:cubicBezTo>
                    <a:pt x="94" y="69"/>
                    <a:pt x="95" y="69"/>
                    <a:pt x="96" y="69"/>
                  </a:cubicBezTo>
                  <a:cubicBezTo>
                    <a:pt x="96" y="69"/>
                    <a:pt x="96" y="69"/>
                    <a:pt x="96" y="69"/>
                  </a:cubicBezTo>
                  <a:cubicBezTo>
                    <a:pt x="100" y="69"/>
                    <a:pt x="104" y="69"/>
                    <a:pt x="108" y="68"/>
                  </a:cubicBezTo>
                  <a:cubicBezTo>
                    <a:pt x="111" y="68"/>
                    <a:pt x="114" y="67"/>
                    <a:pt x="118" y="67"/>
                  </a:cubicBezTo>
                  <a:cubicBezTo>
                    <a:pt x="118" y="66"/>
                    <a:pt x="118" y="66"/>
                    <a:pt x="118" y="66"/>
                  </a:cubicBezTo>
                  <a:cubicBezTo>
                    <a:pt x="118" y="66"/>
                    <a:pt x="118" y="66"/>
                    <a:pt x="119" y="66"/>
                  </a:cubicBezTo>
                  <a:cubicBezTo>
                    <a:pt x="119" y="66"/>
                    <a:pt x="119" y="66"/>
                    <a:pt x="119" y="66"/>
                  </a:cubicBezTo>
                  <a:cubicBezTo>
                    <a:pt x="119" y="66"/>
                    <a:pt x="120" y="65"/>
                    <a:pt x="121" y="65"/>
                  </a:cubicBezTo>
                  <a:cubicBezTo>
                    <a:pt x="121" y="65"/>
                    <a:pt x="121" y="65"/>
                    <a:pt x="121" y="65"/>
                  </a:cubicBezTo>
                  <a:cubicBezTo>
                    <a:pt x="121" y="65"/>
                    <a:pt x="121" y="65"/>
                    <a:pt x="121" y="65"/>
                  </a:cubicBezTo>
                  <a:cubicBezTo>
                    <a:pt x="121" y="65"/>
                    <a:pt x="121" y="65"/>
                    <a:pt x="121" y="64"/>
                  </a:cubicBezTo>
                  <a:cubicBezTo>
                    <a:pt x="122" y="64"/>
                    <a:pt x="122" y="64"/>
                    <a:pt x="122" y="64"/>
                  </a:cubicBezTo>
                  <a:cubicBezTo>
                    <a:pt x="122" y="64"/>
                    <a:pt x="122" y="64"/>
                    <a:pt x="122" y="64"/>
                  </a:cubicBezTo>
                  <a:cubicBezTo>
                    <a:pt x="123" y="64"/>
                    <a:pt x="123" y="64"/>
                    <a:pt x="124" y="64"/>
                  </a:cubicBezTo>
                  <a:cubicBezTo>
                    <a:pt x="124" y="64"/>
                    <a:pt x="124" y="64"/>
                    <a:pt x="124" y="64"/>
                  </a:cubicBezTo>
                  <a:cubicBezTo>
                    <a:pt x="124" y="64"/>
                    <a:pt x="124" y="64"/>
                    <a:pt x="125" y="64"/>
                  </a:cubicBezTo>
                  <a:cubicBezTo>
                    <a:pt x="125" y="64"/>
                    <a:pt x="125" y="64"/>
                    <a:pt x="125" y="63"/>
                  </a:cubicBezTo>
                  <a:cubicBezTo>
                    <a:pt x="125" y="63"/>
                    <a:pt x="126" y="63"/>
                    <a:pt x="126" y="63"/>
                  </a:cubicBezTo>
                  <a:cubicBezTo>
                    <a:pt x="126" y="63"/>
                    <a:pt x="126" y="63"/>
                    <a:pt x="126" y="63"/>
                  </a:cubicBezTo>
                  <a:cubicBezTo>
                    <a:pt x="126" y="63"/>
                    <a:pt x="127" y="63"/>
                    <a:pt x="127" y="63"/>
                  </a:cubicBezTo>
                  <a:cubicBezTo>
                    <a:pt x="127" y="63"/>
                    <a:pt x="127" y="63"/>
                    <a:pt x="127" y="63"/>
                  </a:cubicBezTo>
                  <a:cubicBezTo>
                    <a:pt x="128" y="63"/>
                    <a:pt x="129" y="63"/>
                    <a:pt x="129" y="63"/>
                  </a:cubicBezTo>
                  <a:cubicBezTo>
                    <a:pt x="129" y="63"/>
                    <a:pt x="129" y="62"/>
                    <a:pt x="129" y="62"/>
                  </a:cubicBezTo>
                  <a:cubicBezTo>
                    <a:pt x="130" y="62"/>
                    <a:pt x="131" y="62"/>
                    <a:pt x="131" y="62"/>
                  </a:cubicBezTo>
                  <a:cubicBezTo>
                    <a:pt x="131" y="62"/>
                    <a:pt x="131" y="62"/>
                    <a:pt x="131" y="62"/>
                  </a:cubicBezTo>
                  <a:cubicBezTo>
                    <a:pt x="133" y="62"/>
                    <a:pt x="135" y="62"/>
                    <a:pt x="137" y="62"/>
                  </a:cubicBezTo>
                  <a:cubicBezTo>
                    <a:pt x="137" y="62"/>
                    <a:pt x="137" y="61"/>
                    <a:pt x="137" y="61"/>
                  </a:cubicBezTo>
                  <a:cubicBezTo>
                    <a:pt x="138" y="61"/>
                    <a:pt x="140" y="61"/>
                    <a:pt x="141" y="61"/>
                  </a:cubicBezTo>
                  <a:cubicBezTo>
                    <a:pt x="141" y="61"/>
                    <a:pt x="141" y="61"/>
                    <a:pt x="141" y="61"/>
                  </a:cubicBezTo>
                  <a:cubicBezTo>
                    <a:pt x="142" y="61"/>
                    <a:pt x="144" y="61"/>
                    <a:pt x="145" y="61"/>
                  </a:cubicBezTo>
                  <a:cubicBezTo>
                    <a:pt x="145" y="61"/>
                    <a:pt x="145" y="61"/>
                    <a:pt x="145" y="61"/>
                  </a:cubicBezTo>
                  <a:cubicBezTo>
                    <a:pt x="146" y="61"/>
                    <a:pt x="147" y="61"/>
                    <a:pt x="148" y="61"/>
                  </a:cubicBezTo>
                  <a:cubicBezTo>
                    <a:pt x="148" y="61"/>
                    <a:pt x="148" y="60"/>
                    <a:pt x="148" y="60"/>
                  </a:cubicBezTo>
                  <a:cubicBezTo>
                    <a:pt x="149" y="60"/>
                    <a:pt x="150" y="60"/>
                    <a:pt x="151" y="60"/>
                  </a:cubicBezTo>
                  <a:cubicBezTo>
                    <a:pt x="151" y="60"/>
                    <a:pt x="151" y="60"/>
                    <a:pt x="151" y="60"/>
                  </a:cubicBezTo>
                  <a:cubicBezTo>
                    <a:pt x="151" y="60"/>
                    <a:pt x="152" y="60"/>
                    <a:pt x="153" y="60"/>
                  </a:cubicBezTo>
                  <a:cubicBezTo>
                    <a:pt x="153" y="60"/>
                    <a:pt x="153" y="60"/>
                    <a:pt x="153" y="60"/>
                  </a:cubicBezTo>
                  <a:cubicBezTo>
                    <a:pt x="153" y="60"/>
                    <a:pt x="154" y="60"/>
                    <a:pt x="154" y="60"/>
                  </a:cubicBezTo>
                  <a:cubicBezTo>
                    <a:pt x="154" y="59"/>
                    <a:pt x="154" y="59"/>
                    <a:pt x="154" y="59"/>
                  </a:cubicBezTo>
                  <a:cubicBezTo>
                    <a:pt x="155" y="59"/>
                    <a:pt x="155" y="59"/>
                    <a:pt x="156" y="59"/>
                  </a:cubicBezTo>
                  <a:cubicBezTo>
                    <a:pt x="156" y="59"/>
                    <a:pt x="156" y="59"/>
                    <a:pt x="156" y="59"/>
                  </a:cubicBezTo>
                  <a:cubicBezTo>
                    <a:pt x="156" y="59"/>
                    <a:pt x="157" y="59"/>
                    <a:pt x="157" y="59"/>
                  </a:cubicBezTo>
                  <a:cubicBezTo>
                    <a:pt x="157" y="59"/>
                    <a:pt x="157" y="59"/>
                    <a:pt x="157" y="59"/>
                  </a:cubicBezTo>
                  <a:cubicBezTo>
                    <a:pt x="157" y="59"/>
                    <a:pt x="158" y="59"/>
                    <a:pt x="158" y="59"/>
                  </a:cubicBezTo>
                  <a:cubicBezTo>
                    <a:pt x="158" y="58"/>
                    <a:pt x="158" y="58"/>
                    <a:pt x="158" y="58"/>
                  </a:cubicBezTo>
                  <a:cubicBezTo>
                    <a:pt x="158" y="58"/>
                    <a:pt x="159" y="58"/>
                    <a:pt x="159" y="58"/>
                  </a:cubicBezTo>
                  <a:cubicBezTo>
                    <a:pt x="159" y="58"/>
                    <a:pt x="159" y="58"/>
                    <a:pt x="159" y="58"/>
                  </a:cubicBezTo>
                  <a:cubicBezTo>
                    <a:pt x="160" y="58"/>
                    <a:pt x="160" y="58"/>
                    <a:pt x="160" y="58"/>
                  </a:cubicBezTo>
                  <a:cubicBezTo>
                    <a:pt x="160" y="58"/>
                    <a:pt x="160" y="58"/>
                    <a:pt x="160" y="57"/>
                  </a:cubicBezTo>
                  <a:cubicBezTo>
                    <a:pt x="161" y="57"/>
                    <a:pt x="161" y="57"/>
                    <a:pt x="162" y="57"/>
                  </a:cubicBezTo>
                  <a:cubicBezTo>
                    <a:pt x="162" y="57"/>
                    <a:pt x="162" y="57"/>
                    <a:pt x="162" y="57"/>
                  </a:cubicBezTo>
                  <a:cubicBezTo>
                    <a:pt x="162" y="57"/>
                    <a:pt x="163" y="57"/>
                    <a:pt x="163" y="56"/>
                  </a:cubicBezTo>
                  <a:cubicBezTo>
                    <a:pt x="163" y="56"/>
                    <a:pt x="163" y="56"/>
                    <a:pt x="163" y="56"/>
                  </a:cubicBezTo>
                  <a:cubicBezTo>
                    <a:pt x="164" y="56"/>
                    <a:pt x="164" y="56"/>
                    <a:pt x="164" y="56"/>
                  </a:cubicBezTo>
                  <a:cubicBezTo>
                    <a:pt x="164" y="56"/>
                    <a:pt x="164" y="56"/>
                    <a:pt x="164" y="56"/>
                  </a:cubicBezTo>
                  <a:cubicBezTo>
                    <a:pt x="165" y="56"/>
                    <a:pt x="165" y="55"/>
                    <a:pt x="166" y="55"/>
                  </a:cubicBezTo>
                  <a:cubicBezTo>
                    <a:pt x="166" y="55"/>
                    <a:pt x="166" y="55"/>
                    <a:pt x="166" y="55"/>
                  </a:cubicBezTo>
                  <a:cubicBezTo>
                    <a:pt x="166" y="55"/>
                    <a:pt x="167" y="55"/>
                    <a:pt x="167" y="55"/>
                  </a:cubicBezTo>
                  <a:cubicBezTo>
                    <a:pt x="167" y="55"/>
                    <a:pt x="167" y="55"/>
                    <a:pt x="167" y="55"/>
                  </a:cubicBezTo>
                  <a:cubicBezTo>
                    <a:pt x="167" y="55"/>
                    <a:pt x="168" y="54"/>
                    <a:pt x="168" y="54"/>
                  </a:cubicBezTo>
                  <a:cubicBezTo>
                    <a:pt x="168" y="54"/>
                    <a:pt x="168" y="54"/>
                    <a:pt x="168" y="54"/>
                  </a:cubicBezTo>
                  <a:cubicBezTo>
                    <a:pt x="169" y="54"/>
                    <a:pt x="169" y="54"/>
                    <a:pt x="169" y="54"/>
                  </a:cubicBezTo>
                  <a:cubicBezTo>
                    <a:pt x="169" y="54"/>
                    <a:pt x="169" y="54"/>
                    <a:pt x="169" y="54"/>
                  </a:cubicBezTo>
                  <a:cubicBezTo>
                    <a:pt x="170" y="54"/>
                    <a:pt x="170" y="53"/>
                    <a:pt x="171" y="53"/>
                  </a:cubicBezTo>
                  <a:cubicBezTo>
                    <a:pt x="171" y="53"/>
                    <a:pt x="171" y="53"/>
                    <a:pt x="171" y="53"/>
                  </a:cubicBezTo>
                  <a:cubicBezTo>
                    <a:pt x="171" y="53"/>
                    <a:pt x="171" y="53"/>
                    <a:pt x="172" y="53"/>
                  </a:cubicBezTo>
                  <a:cubicBezTo>
                    <a:pt x="172" y="53"/>
                    <a:pt x="172" y="53"/>
                    <a:pt x="172" y="53"/>
                  </a:cubicBezTo>
                  <a:cubicBezTo>
                    <a:pt x="172" y="52"/>
                    <a:pt x="173" y="52"/>
                    <a:pt x="174" y="52"/>
                  </a:cubicBezTo>
                  <a:cubicBezTo>
                    <a:pt x="174" y="52"/>
                    <a:pt x="174" y="52"/>
                    <a:pt x="174" y="52"/>
                  </a:cubicBezTo>
                  <a:cubicBezTo>
                    <a:pt x="174" y="52"/>
                    <a:pt x="174" y="52"/>
                    <a:pt x="175" y="52"/>
                  </a:cubicBezTo>
                  <a:cubicBezTo>
                    <a:pt x="175" y="51"/>
                    <a:pt x="175" y="51"/>
                    <a:pt x="175" y="51"/>
                  </a:cubicBezTo>
                  <a:cubicBezTo>
                    <a:pt x="175" y="51"/>
                    <a:pt x="176" y="51"/>
                    <a:pt x="177" y="50"/>
                  </a:cubicBezTo>
                  <a:cubicBezTo>
                    <a:pt x="177" y="50"/>
                    <a:pt x="177" y="50"/>
                    <a:pt x="177" y="50"/>
                  </a:cubicBezTo>
                  <a:cubicBezTo>
                    <a:pt x="177" y="50"/>
                    <a:pt x="178" y="50"/>
                    <a:pt x="178" y="49"/>
                  </a:cubicBezTo>
                  <a:cubicBezTo>
                    <a:pt x="179" y="49"/>
                    <a:pt x="179" y="49"/>
                    <a:pt x="179" y="49"/>
                  </a:cubicBezTo>
                  <a:cubicBezTo>
                    <a:pt x="179" y="49"/>
                    <a:pt x="180" y="48"/>
                    <a:pt x="180" y="48"/>
                  </a:cubicBezTo>
                  <a:cubicBezTo>
                    <a:pt x="180" y="48"/>
                    <a:pt x="181" y="48"/>
                    <a:pt x="181" y="47"/>
                  </a:cubicBezTo>
                  <a:cubicBezTo>
                    <a:pt x="181" y="47"/>
                    <a:pt x="181" y="47"/>
                    <a:pt x="182" y="47"/>
                  </a:cubicBezTo>
                  <a:cubicBezTo>
                    <a:pt x="182" y="47"/>
                    <a:pt x="182" y="47"/>
                    <a:pt x="182" y="46"/>
                  </a:cubicBezTo>
                  <a:cubicBezTo>
                    <a:pt x="183" y="46"/>
                    <a:pt x="184" y="45"/>
                    <a:pt x="184" y="45"/>
                  </a:cubicBezTo>
                  <a:cubicBezTo>
                    <a:pt x="184" y="44"/>
                    <a:pt x="184" y="44"/>
                    <a:pt x="184" y="44"/>
                  </a:cubicBezTo>
                  <a:cubicBezTo>
                    <a:pt x="184" y="44"/>
                    <a:pt x="185" y="44"/>
                    <a:pt x="185" y="44"/>
                  </a:cubicBezTo>
                  <a:cubicBezTo>
                    <a:pt x="185" y="43"/>
                    <a:pt x="185" y="42"/>
                    <a:pt x="185" y="42"/>
                  </a:cubicBezTo>
                  <a:cubicBezTo>
                    <a:pt x="186" y="42"/>
                    <a:pt x="186" y="42"/>
                    <a:pt x="186" y="42"/>
                  </a:cubicBezTo>
                  <a:cubicBezTo>
                    <a:pt x="186" y="41"/>
                    <a:pt x="186" y="41"/>
                    <a:pt x="186" y="41"/>
                  </a:cubicBezTo>
                  <a:cubicBezTo>
                    <a:pt x="186" y="41"/>
                    <a:pt x="186" y="41"/>
                    <a:pt x="186" y="41"/>
                  </a:cubicBezTo>
                  <a:cubicBezTo>
                    <a:pt x="186" y="40"/>
                    <a:pt x="186" y="40"/>
                    <a:pt x="186" y="40"/>
                  </a:cubicBezTo>
                  <a:cubicBezTo>
                    <a:pt x="186" y="40"/>
                    <a:pt x="186" y="40"/>
                    <a:pt x="186" y="40"/>
                  </a:cubicBezTo>
                  <a:cubicBezTo>
                    <a:pt x="186" y="40"/>
                    <a:pt x="186" y="39"/>
                    <a:pt x="186" y="39"/>
                  </a:cubicBezTo>
                  <a:cubicBezTo>
                    <a:pt x="187" y="39"/>
                    <a:pt x="187" y="39"/>
                    <a:pt x="187" y="39"/>
                  </a:cubicBezTo>
                  <a:cubicBezTo>
                    <a:pt x="187" y="38"/>
                    <a:pt x="187" y="38"/>
                    <a:pt x="187" y="38"/>
                  </a:cubicBezTo>
                  <a:cubicBezTo>
                    <a:pt x="188" y="37"/>
                    <a:pt x="188" y="37"/>
                    <a:pt x="189" y="36"/>
                  </a:cubicBezTo>
                  <a:cubicBezTo>
                    <a:pt x="189" y="36"/>
                    <a:pt x="189" y="36"/>
                    <a:pt x="189" y="35"/>
                  </a:cubicBezTo>
                  <a:cubicBezTo>
                    <a:pt x="190" y="35"/>
                    <a:pt x="190" y="35"/>
                    <a:pt x="191" y="35"/>
                  </a:cubicBezTo>
                  <a:cubicBezTo>
                    <a:pt x="191" y="35"/>
                    <a:pt x="191" y="35"/>
                    <a:pt x="191" y="34"/>
                  </a:cubicBezTo>
                  <a:cubicBezTo>
                    <a:pt x="192" y="34"/>
                    <a:pt x="194" y="33"/>
                    <a:pt x="195" y="33"/>
                  </a:cubicBezTo>
                  <a:cubicBezTo>
                    <a:pt x="197" y="33"/>
                    <a:pt x="199" y="33"/>
                    <a:pt x="200" y="32"/>
                  </a:cubicBezTo>
                  <a:cubicBezTo>
                    <a:pt x="200" y="32"/>
                    <a:pt x="200" y="32"/>
                    <a:pt x="200" y="32"/>
                  </a:cubicBezTo>
                  <a:cubicBezTo>
                    <a:pt x="201" y="32"/>
                    <a:pt x="201" y="32"/>
                    <a:pt x="201" y="32"/>
                  </a:cubicBezTo>
                  <a:cubicBezTo>
                    <a:pt x="201" y="32"/>
                    <a:pt x="201" y="32"/>
                    <a:pt x="201" y="32"/>
                  </a:cubicBezTo>
                  <a:cubicBezTo>
                    <a:pt x="202" y="31"/>
                    <a:pt x="203" y="31"/>
                    <a:pt x="203" y="31"/>
                  </a:cubicBezTo>
                  <a:cubicBezTo>
                    <a:pt x="203" y="31"/>
                    <a:pt x="203" y="31"/>
                    <a:pt x="203" y="31"/>
                  </a:cubicBezTo>
                  <a:cubicBezTo>
                    <a:pt x="204" y="31"/>
                    <a:pt x="204" y="31"/>
                    <a:pt x="205" y="31"/>
                  </a:cubicBezTo>
                  <a:cubicBezTo>
                    <a:pt x="205" y="30"/>
                    <a:pt x="205" y="30"/>
                    <a:pt x="205" y="30"/>
                  </a:cubicBezTo>
                  <a:cubicBezTo>
                    <a:pt x="205" y="30"/>
                    <a:pt x="205" y="30"/>
                    <a:pt x="206" y="30"/>
                  </a:cubicBezTo>
                  <a:cubicBezTo>
                    <a:pt x="206" y="30"/>
                    <a:pt x="206" y="30"/>
                    <a:pt x="206" y="30"/>
                  </a:cubicBezTo>
                  <a:cubicBezTo>
                    <a:pt x="206" y="30"/>
                    <a:pt x="207" y="29"/>
                    <a:pt x="208" y="29"/>
                  </a:cubicBezTo>
                  <a:cubicBezTo>
                    <a:pt x="208" y="29"/>
                    <a:pt x="208" y="29"/>
                    <a:pt x="208" y="29"/>
                  </a:cubicBezTo>
                  <a:cubicBezTo>
                    <a:pt x="208" y="29"/>
                    <a:pt x="209" y="29"/>
                    <a:pt x="209" y="28"/>
                  </a:cubicBezTo>
                  <a:cubicBezTo>
                    <a:pt x="209" y="28"/>
                    <a:pt x="209" y="28"/>
                    <a:pt x="210" y="28"/>
                  </a:cubicBezTo>
                  <a:cubicBezTo>
                    <a:pt x="210" y="28"/>
                    <a:pt x="210" y="28"/>
                    <a:pt x="211" y="27"/>
                  </a:cubicBezTo>
                  <a:cubicBezTo>
                    <a:pt x="211" y="27"/>
                    <a:pt x="211" y="27"/>
                    <a:pt x="211" y="27"/>
                  </a:cubicBezTo>
                  <a:cubicBezTo>
                    <a:pt x="212" y="27"/>
                    <a:pt x="212" y="26"/>
                    <a:pt x="213" y="26"/>
                  </a:cubicBezTo>
                  <a:cubicBezTo>
                    <a:pt x="213" y="26"/>
                    <a:pt x="213" y="26"/>
                    <a:pt x="213" y="26"/>
                  </a:cubicBezTo>
                  <a:cubicBezTo>
                    <a:pt x="213" y="26"/>
                    <a:pt x="213" y="26"/>
                    <a:pt x="214" y="26"/>
                  </a:cubicBezTo>
                  <a:cubicBezTo>
                    <a:pt x="214" y="25"/>
                    <a:pt x="214" y="25"/>
                    <a:pt x="214" y="25"/>
                  </a:cubicBezTo>
                  <a:cubicBezTo>
                    <a:pt x="214" y="25"/>
                    <a:pt x="215" y="25"/>
                    <a:pt x="215" y="25"/>
                  </a:cubicBezTo>
                  <a:cubicBezTo>
                    <a:pt x="215" y="25"/>
                    <a:pt x="215" y="24"/>
                    <a:pt x="215" y="24"/>
                  </a:cubicBezTo>
                  <a:cubicBezTo>
                    <a:pt x="215" y="24"/>
                    <a:pt x="216" y="24"/>
                    <a:pt x="216" y="24"/>
                  </a:cubicBezTo>
                  <a:cubicBezTo>
                    <a:pt x="216" y="24"/>
                    <a:pt x="216" y="24"/>
                    <a:pt x="217" y="23"/>
                  </a:cubicBezTo>
                  <a:cubicBezTo>
                    <a:pt x="217" y="23"/>
                    <a:pt x="217" y="23"/>
                    <a:pt x="217" y="23"/>
                  </a:cubicBezTo>
                  <a:cubicBezTo>
                    <a:pt x="218" y="23"/>
                    <a:pt x="218" y="22"/>
                    <a:pt x="218" y="22"/>
                  </a:cubicBezTo>
                  <a:cubicBezTo>
                    <a:pt x="219" y="22"/>
                    <a:pt x="219" y="22"/>
                    <a:pt x="219" y="22"/>
                  </a:cubicBezTo>
                  <a:cubicBezTo>
                    <a:pt x="219" y="21"/>
                    <a:pt x="220" y="21"/>
                    <a:pt x="220" y="20"/>
                  </a:cubicBezTo>
                  <a:cubicBezTo>
                    <a:pt x="221" y="20"/>
                    <a:pt x="221" y="20"/>
                    <a:pt x="221" y="20"/>
                  </a:cubicBezTo>
                  <a:cubicBezTo>
                    <a:pt x="221" y="19"/>
                    <a:pt x="221" y="19"/>
                    <a:pt x="221" y="19"/>
                  </a:cubicBezTo>
                  <a:cubicBezTo>
                    <a:pt x="221" y="19"/>
                    <a:pt x="222" y="19"/>
                    <a:pt x="222" y="18"/>
                  </a:cubicBezTo>
                  <a:cubicBezTo>
                    <a:pt x="222" y="18"/>
                    <a:pt x="222" y="18"/>
                    <a:pt x="222" y="18"/>
                  </a:cubicBezTo>
                  <a:cubicBezTo>
                    <a:pt x="222" y="17"/>
                    <a:pt x="223" y="17"/>
                    <a:pt x="223" y="17"/>
                  </a:cubicBezTo>
                  <a:cubicBezTo>
                    <a:pt x="223" y="17"/>
                    <a:pt x="223" y="17"/>
                    <a:pt x="223" y="17"/>
                  </a:cubicBezTo>
                  <a:cubicBezTo>
                    <a:pt x="223" y="16"/>
                    <a:pt x="223" y="16"/>
                    <a:pt x="224" y="16"/>
                  </a:cubicBezTo>
                  <a:cubicBezTo>
                    <a:pt x="224" y="16"/>
                    <a:pt x="224" y="15"/>
                    <a:pt x="224" y="15"/>
                  </a:cubicBezTo>
                  <a:cubicBezTo>
                    <a:pt x="224" y="15"/>
                    <a:pt x="224" y="15"/>
                    <a:pt x="225" y="14"/>
                  </a:cubicBezTo>
                  <a:cubicBezTo>
                    <a:pt x="225" y="14"/>
                    <a:pt x="225" y="14"/>
                    <a:pt x="225" y="14"/>
                  </a:cubicBezTo>
                  <a:cubicBezTo>
                    <a:pt x="225" y="14"/>
                    <a:pt x="225" y="14"/>
                    <a:pt x="225" y="14"/>
                  </a:cubicBezTo>
                  <a:cubicBezTo>
                    <a:pt x="225" y="13"/>
                    <a:pt x="225" y="13"/>
                    <a:pt x="225" y="13"/>
                  </a:cubicBezTo>
                  <a:cubicBezTo>
                    <a:pt x="226" y="13"/>
                    <a:pt x="226" y="12"/>
                    <a:pt x="226" y="12"/>
                  </a:cubicBezTo>
                  <a:cubicBezTo>
                    <a:pt x="226" y="12"/>
                    <a:pt x="226" y="12"/>
                    <a:pt x="226" y="12"/>
                  </a:cubicBezTo>
                  <a:cubicBezTo>
                    <a:pt x="227" y="11"/>
                    <a:pt x="228" y="10"/>
                    <a:pt x="228" y="10"/>
                  </a:cubicBezTo>
                  <a:cubicBezTo>
                    <a:pt x="228" y="9"/>
                    <a:pt x="228" y="9"/>
                    <a:pt x="228" y="9"/>
                  </a:cubicBezTo>
                  <a:cubicBezTo>
                    <a:pt x="230" y="9"/>
                    <a:pt x="232" y="9"/>
                    <a:pt x="233" y="8"/>
                  </a:cubicBezTo>
                  <a:cubicBezTo>
                    <a:pt x="233" y="8"/>
                    <a:pt x="233" y="8"/>
                    <a:pt x="233" y="8"/>
                  </a:cubicBezTo>
                  <a:cubicBezTo>
                    <a:pt x="234" y="8"/>
                    <a:pt x="235" y="7"/>
                    <a:pt x="235" y="7"/>
                  </a:cubicBezTo>
                  <a:cubicBezTo>
                    <a:pt x="235" y="7"/>
                    <a:pt x="235" y="7"/>
                    <a:pt x="235" y="7"/>
                  </a:cubicBezTo>
                  <a:cubicBezTo>
                    <a:pt x="236" y="7"/>
                    <a:pt x="236" y="7"/>
                    <a:pt x="236" y="7"/>
                  </a:cubicBezTo>
                  <a:cubicBezTo>
                    <a:pt x="236" y="7"/>
                    <a:pt x="236" y="7"/>
                    <a:pt x="236" y="6"/>
                  </a:cubicBezTo>
                  <a:cubicBezTo>
                    <a:pt x="236" y="6"/>
                    <a:pt x="237" y="6"/>
                    <a:pt x="237" y="6"/>
                  </a:cubicBezTo>
                  <a:cubicBezTo>
                    <a:pt x="237" y="6"/>
                    <a:pt x="237" y="6"/>
                    <a:pt x="237" y="6"/>
                  </a:cubicBezTo>
                  <a:cubicBezTo>
                    <a:pt x="237" y="6"/>
                    <a:pt x="237" y="6"/>
                    <a:pt x="238" y="6"/>
                  </a:cubicBezTo>
                  <a:cubicBezTo>
                    <a:pt x="238" y="6"/>
                    <a:pt x="238" y="6"/>
                    <a:pt x="238" y="6"/>
                  </a:cubicBezTo>
                  <a:cubicBezTo>
                    <a:pt x="238" y="6"/>
                    <a:pt x="238" y="6"/>
                    <a:pt x="238" y="6"/>
                  </a:cubicBezTo>
                  <a:cubicBezTo>
                    <a:pt x="238" y="6"/>
                    <a:pt x="238" y="5"/>
                    <a:pt x="238" y="5"/>
                  </a:cubicBezTo>
                  <a:cubicBezTo>
                    <a:pt x="238" y="5"/>
                    <a:pt x="239" y="5"/>
                    <a:pt x="239" y="5"/>
                  </a:cubicBezTo>
                  <a:cubicBezTo>
                    <a:pt x="239" y="5"/>
                    <a:pt x="239" y="5"/>
                    <a:pt x="239" y="5"/>
                  </a:cubicBezTo>
                  <a:cubicBezTo>
                    <a:pt x="239" y="5"/>
                    <a:pt x="239" y="5"/>
                    <a:pt x="240" y="5"/>
                  </a:cubicBezTo>
                  <a:cubicBezTo>
                    <a:pt x="240" y="5"/>
                    <a:pt x="240" y="5"/>
                    <a:pt x="240" y="5"/>
                  </a:cubicBezTo>
                  <a:cubicBezTo>
                    <a:pt x="240" y="5"/>
                    <a:pt x="240" y="5"/>
                    <a:pt x="240" y="5"/>
                  </a:cubicBezTo>
                  <a:cubicBezTo>
                    <a:pt x="240" y="4"/>
                    <a:pt x="241" y="4"/>
                    <a:pt x="241" y="4"/>
                  </a:cubicBezTo>
                  <a:cubicBezTo>
                    <a:pt x="241" y="4"/>
                    <a:pt x="242" y="3"/>
                    <a:pt x="243" y="3"/>
                  </a:cubicBezTo>
                  <a:cubicBezTo>
                    <a:pt x="243" y="3"/>
                    <a:pt x="243" y="3"/>
                    <a:pt x="243" y="3"/>
                  </a:cubicBezTo>
                  <a:cubicBezTo>
                    <a:pt x="244" y="2"/>
                    <a:pt x="244" y="2"/>
                    <a:pt x="245" y="2"/>
                  </a:cubicBezTo>
                  <a:cubicBezTo>
                    <a:pt x="246" y="2"/>
                    <a:pt x="247" y="1"/>
                    <a:pt x="248" y="0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</a:ln>
            <a:effectLst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64800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4000" b="1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0000"/>
                </a:solidFill>
                <a:latin typeface="UKIJ Qolyazma" pitchFamily="18" charset="0"/>
                <a:cs typeface="UKIJ Qolyazma" pitchFamily="18" charset="0"/>
              </a:endParaRPr>
            </a:p>
          </p:txBody>
        </p:sp>
        <p:sp>
          <p:nvSpPr>
            <p:cNvPr id="94" name="Freeform 14">
              <a:extLst>
                <a:ext uri="{FF2B5EF4-FFF2-40B4-BE49-F238E27FC236}">
                  <a16:creationId xmlns:a16="http://schemas.microsoft.com/office/drawing/2014/main" id="{8DDCAE42-A679-1C35-4109-C1E6474114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8739" y="1796932"/>
              <a:ext cx="570253" cy="1088009"/>
            </a:xfrm>
            <a:custGeom>
              <a:avLst/>
              <a:gdLst>
                <a:gd name="T0" fmla="*/ 157 w 262"/>
                <a:gd name="T1" fmla="*/ 237 h 500"/>
                <a:gd name="T2" fmla="*/ 164 w 262"/>
                <a:gd name="T3" fmla="*/ 249 h 500"/>
                <a:gd name="T4" fmla="*/ 183 w 262"/>
                <a:gd name="T5" fmla="*/ 274 h 500"/>
                <a:gd name="T6" fmla="*/ 205 w 262"/>
                <a:gd name="T7" fmla="*/ 292 h 500"/>
                <a:gd name="T8" fmla="*/ 216 w 262"/>
                <a:gd name="T9" fmla="*/ 326 h 500"/>
                <a:gd name="T10" fmla="*/ 211 w 262"/>
                <a:gd name="T11" fmla="*/ 336 h 500"/>
                <a:gd name="T12" fmla="*/ 210 w 262"/>
                <a:gd name="T13" fmla="*/ 370 h 500"/>
                <a:gd name="T14" fmla="*/ 222 w 262"/>
                <a:gd name="T15" fmla="*/ 402 h 500"/>
                <a:gd name="T16" fmla="*/ 235 w 262"/>
                <a:gd name="T17" fmla="*/ 415 h 500"/>
                <a:gd name="T18" fmla="*/ 213 w 262"/>
                <a:gd name="T19" fmla="*/ 439 h 500"/>
                <a:gd name="T20" fmla="*/ 172 w 262"/>
                <a:gd name="T21" fmla="*/ 450 h 500"/>
                <a:gd name="T22" fmla="*/ 125 w 262"/>
                <a:gd name="T23" fmla="*/ 456 h 500"/>
                <a:gd name="T24" fmla="*/ 116 w 262"/>
                <a:gd name="T25" fmla="*/ 468 h 500"/>
                <a:gd name="T26" fmla="*/ 109 w 262"/>
                <a:gd name="T27" fmla="*/ 480 h 500"/>
                <a:gd name="T28" fmla="*/ 99 w 262"/>
                <a:gd name="T29" fmla="*/ 494 h 500"/>
                <a:gd name="T30" fmla="*/ 74 w 262"/>
                <a:gd name="T31" fmla="*/ 496 h 500"/>
                <a:gd name="T32" fmla="*/ 55 w 262"/>
                <a:gd name="T33" fmla="*/ 453 h 500"/>
                <a:gd name="T34" fmla="*/ 36 w 262"/>
                <a:gd name="T35" fmla="*/ 464 h 500"/>
                <a:gd name="T36" fmla="*/ 2 w 262"/>
                <a:gd name="T37" fmla="*/ 429 h 500"/>
                <a:gd name="T38" fmla="*/ 4 w 262"/>
                <a:gd name="T39" fmla="*/ 418 h 500"/>
                <a:gd name="T40" fmla="*/ 10 w 262"/>
                <a:gd name="T41" fmla="*/ 406 h 500"/>
                <a:gd name="T42" fmla="*/ 38 w 262"/>
                <a:gd name="T43" fmla="*/ 398 h 500"/>
                <a:gd name="T44" fmla="*/ 43 w 262"/>
                <a:gd name="T45" fmla="*/ 380 h 500"/>
                <a:gd name="T46" fmla="*/ 41 w 262"/>
                <a:gd name="T47" fmla="*/ 362 h 500"/>
                <a:gd name="T48" fmla="*/ 35 w 262"/>
                <a:gd name="T49" fmla="*/ 345 h 500"/>
                <a:gd name="T50" fmla="*/ 33 w 262"/>
                <a:gd name="T51" fmla="*/ 268 h 500"/>
                <a:gd name="T52" fmla="*/ 39 w 262"/>
                <a:gd name="T53" fmla="*/ 252 h 500"/>
                <a:gd name="T54" fmla="*/ 31 w 262"/>
                <a:gd name="T55" fmla="*/ 238 h 500"/>
                <a:gd name="T56" fmla="*/ 66 w 262"/>
                <a:gd name="T57" fmla="*/ 226 h 500"/>
                <a:gd name="T58" fmla="*/ 71 w 262"/>
                <a:gd name="T59" fmla="*/ 200 h 500"/>
                <a:gd name="T60" fmla="*/ 80 w 262"/>
                <a:gd name="T61" fmla="*/ 149 h 500"/>
                <a:gd name="T62" fmla="*/ 90 w 262"/>
                <a:gd name="T63" fmla="*/ 130 h 500"/>
                <a:gd name="T64" fmla="*/ 62 w 262"/>
                <a:gd name="T65" fmla="*/ 126 h 500"/>
                <a:gd name="T66" fmla="*/ 52 w 262"/>
                <a:gd name="T67" fmla="*/ 142 h 500"/>
                <a:gd name="T68" fmla="*/ 40 w 262"/>
                <a:gd name="T69" fmla="*/ 151 h 500"/>
                <a:gd name="T70" fmla="*/ 10 w 262"/>
                <a:gd name="T71" fmla="*/ 141 h 500"/>
                <a:gd name="T72" fmla="*/ 2 w 262"/>
                <a:gd name="T73" fmla="*/ 125 h 500"/>
                <a:gd name="T74" fmla="*/ 14 w 262"/>
                <a:gd name="T75" fmla="*/ 118 h 500"/>
                <a:gd name="T76" fmla="*/ 53 w 262"/>
                <a:gd name="T77" fmla="*/ 87 h 500"/>
                <a:gd name="T78" fmla="*/ 71 w 262"/>
                <a:gd name="T79" fmla="*/ 78 h 500"/>
                <a:gd name="T80" fmla="*/ 81 w 262"/>
                <a:gd name="T81" fmla="*/ 73 h 500"/>
                <a:gd name="T82" fmla="*/ 91 w 262"/>
                <a:gd name="T83" fmla="*/ 67 h 500"/>
                <a:gd name="T84" fmla="*/ 100 w 262"/>
                <a:gd name="T85" fmla="*/ 62 h 500"/>
                <a:gd name="T86" fmla="*/ 110 w 262"/>
                <a:gd name="T87" fmla="*/ 57 h 500"/>
                <a:gd name="T88" fmla="*/ 119 w 262"/>
                <a:gd name="T89" fmla="*/ 52 h 500"/>
                <a:gd name="T90" fmla="*/ 133 w 262"/>
                <a:gd name="T91" fmla="*/ 44 h 500"/>
                <a:gd name="T92" fmla="*/ 149 w 262"/>
                <a:gd name="T93" fmla="*/ 33 h 500"/>
                <a:gd name="T94" fmla="*/ 162 w 262"/>
                <a:gd name="T95" fmla="*/ 25 h 500"/>
                <a:gd name="T96" fmla="*/ 174 w 262"/>
                <a:gd name="T97" fmla="*/ 17 h 500"/>
                <a:gd name="T98" fmla="*/ 249 w 262"/>
                <a:gd name="T99" fmla="*/ 19 h 500"/>
                <a:gd name="T100" fmla="*/ 244 w 262"/>
                <a:gd name="T101" fmla="*/ 29 h 500"/>
                <a:gd name="T102" fmla="*/ 238 w 262"/>
                <a:gd name="T103" fmla="*/ 39 h 500"/>
                <a:gd name="T104" fmla="*/ 249 w 262"/>
                <a:gd name="T105" fmla="*/ 54 h 500"/>
                <a:gd name="T106" fmla="*/ 259 w 262"/>
                <a:gd name="T107" fmla="*/ 68 h 500"/>
                <a:gd name="T108" fmla="*/ 257 w 262"/>
                <a:gd name="T109" fmla="*/ 81 h 500"/>
                <a:gd name="T110" fmla="*/ 248 w 262"/>
                <a:gd name="T111" fmla="*/ 97 h 500"/>
                <a:gd name="T112" fmla="*/ 253 w 262"/>
                <a:gd name="T113" fmla="*/ 113 h 500"/>
                <a:gd name="T114" fmla="*/ 259 w 262"/>
                <a:gd name="T115" fmla="*/ 128 h 500"/>
                <a:gd name="T116" fmla="*/ 246 w 262"/>
                <a:gd name="T117" fmla="*/ 194 h 500"/>
                <a:gd name="T118" fmla="*/ 232 w 262"/>
                <a:gd name="T119" fmla="*/ 192 h 500"/>
                <a:gd name="T120" fmla="*/ 223 w 262"/>
                <a:gd name="T121" fmla="*/ 187 h 500"/>
                <a:gd name="T122" fmla="*/ 205 w 262"/>
                <a:gd name="T123" fmla="*/ 189 h 500"/>
                <a:gd name="T124" fmla="*/ 194 w 262"/>
                <a:gd name="T125" fmla="*/ 195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62" h="500">
                  <a:moveTo>
                    <a:pt x="151" y="199"/>
                  </a:moveTo>
                  <a:cubicBezTo>
                    <a:pt x="150" y="203"/>
                    <a:pt x="149" y="207"/>
                    <a:pt x="148" y="210"/>
                  </a:cubicBezTo>
                  <a:cubicBezTo>
                    <a:pt x="148" y="212"/>
                    <a:pt x="148" y="214"/>
                    <a:pt x="147" y="216"/>
                  </a:cubicBezTo>
                  <a:cubicBezTo>
                    <a:pt x="147" y="218"/>
                    <a:pt x="146" y="220"/>
                    <a:pt x="146" y="223"/>
                  </a:cubicBezTo>
                  <a:cubicBezTo>
                    <a:pt x="147" y="223"/>
                    <a:pt x="147" y="224"/>
                    <a:pt x="148" y="225"/>
                  </a:cubicBezTo>
                  <a:cubicBezTo>
                    <a:pt x="148" y="225"/>
                    <a:pt x="149" y="225"/>
                    <a:pt x="149" y="226"/>
                  </a:cubicBezTo>
                  <a:cubicBezTo>
                    <a:pt x="149" y="226"/>
                    <a:pt x="149" y="226"/>
                    <a:pt x="149" y="226"/>
                  </a:cubicBezTo>
                  <a:cubicBezTo>
                    <a:pt x="149" y="227"/>
                    <a:pt x="149" y="227"/>
                    <a:pt x="150" y="227"/>
                  </a:cubicBezTo>
                  <a:cubicBezTo>
                    <a:pt x="150" y="227"/>
                    <a:pt x="150" y="227"/>
                    <a:pt x="150" y="227"/>
                  </a:cubicBezTo>
                  <a:cubicBezTo>
                    <a:pt x="150" y="228"/>
                    <a:pt x="150" y="228"/>
                    <a:pt x="151" y="228"/>
                  </a:cubicBezTo>
                  <a:cubicBezTo>
                    <a:pt x="151" y="228"/>
                    <a:pt x="151" y="229"/>
                    <a:pt x="151" y="229"/>
                  </a:cubicBezTo>
                  <a:cubicBezTo>
                    <a:pt x="151" y="229"/>
                    <a:pt x="151" y="229"/>
                    <a:pt x="151" y="229"/>
                  </a:cubicBezTo>
                  <a:cubicBezTo>
                    <a:pt x="151" y="230"/>
                    <a:pt x="152" y="230"/>
                    <a:pt x="152" y="230"/>
                  </a:cubicBezTo>
                  <a:cubicBezTo>
                    <a:pt x="152" y="230"/>
                    <a:pt x="152" y="231"/>
                    <a:pt x="153" y="231"/>
                  </a:cubicBezTo>
                  <a:cubicBezTo>
                    <a:pt x="153" y="231"/>
                    <a:pt x="153" y="231"/>
                    <a:pt x="153" y="232"/>
                  </a:cubicBezTo>
                  <a:cubicBezTo>
                    <a:pt x="153" y="232"/>
                    <a:pt x="153" y="232"/>
                    <a:pt x="154" y="232"/>
                  </a:cubicBezTo>
                  <a:cubicBezTo>
                    <a:pt x="154" y="233"/>
                    <a:pt x="154" y="233"/>
                    <a:pt x="154" y="233"/>
                  </a:cubicBezTo>
                  <a:cubicBezTo>
                    <a:pt x="154" y="233"/>
                    <a:pt x="155" y="234"/>
                    <a:pt x="155" y="234"/>
                  </a:cubicBezTo>
                  <a:cubicBezTo>
                    <a:pt x="155" y="234"/>
                    <a:pt x="155" y="234"/>
                    <a:pt x="155" y="234"/>
                  </a:cubicBezTo>
                  <a:cubicBezTo>
                    <a:pt x="155" y="235"/>
                    <a:pt x="155" y="235"/>
                    <a:pt x="156" y="235"/>
                  </a:cubicBezTo>
                  <a:cubicBezTo>
                    <a:pt x="156" y="235"/>
                    <a:pt x="156" y="235"/>
                    <a:pt x="156" y="235"/>
                  </a:cubicBezTo>
                  <a:cubicBezTo>
                    <a:pt x="156" y="236"/>
                    <a:pt x="156" y="236"/>
                    <a:pt x="157" y="236"/>
                  </a:cubicBezTo>
                  <a:cubicBezTo>
                    <a:pt x="157" y="236"/>
                    <a:pt x="157" y="237"/>
                    <a:pt x="157" y="237"/>
                  </a:cubicBezTo>
                  <a:cubicBezTo>
                    <a:pt x="157" y="237"/>
                    <a:pt x="157" y="237"/>
                    <a:pt x="158" y="238"/>
                  </a:cubicBezTo>
                  <a:cubicBezTo>
                    <a:pt x="158" y="238"/>
                    <a:pt x="158" y="238"/>
                    <a:pt x="158" y="238"/>
                  </a:cubicBezTo>
                  <a:cubicBezTo>
                    <a:pt x="158" y="239"/>
                    <a:pt x="158" y="239"/>
                    <a:pt x="159" y="239"/>
                  </a:cubicBezTo>
                  <a:cubicBezTo>
                    <a:pt x="159" y="239"/>
                    <a:pt x="159" y="239"/>
                    <a:pt x="159" y="240"/>
                  </a:cubicBezTo>
                  <a:cubicBezTo>
                    <a:pt x="159" y="240"/>
                    <a:pt x="159" y="240"/>
                    <a:pt x="160" y="240"/>
                  </a:cubicBezTo>
                  <a:cubicBezTo>
                    <a:pt x="160" y="241"/>
                    <a:pt x="160" y="241"/>
                    <a:pt x="160" y="241"/>
                  </a:cubicBezTo>
                  <a:cubicBezTo>
                    <a:pt x="160" y="241"/>
                    <a:pt x="160" y="242"/>
                    <a:pt x="161" y="242"/>
                  </a:cubicBezTo>
                  <a:cubicBezTo>
                    <a:pt x="161" y="242"/>
                    <a:pt x="161" y="242"/>
                    <a:pt x="161" y="242"/>
                  </a:cubicBezTo>
                  <a:cubicBezTo>
                    <a:pt x="161" y="243"/>
                    <a:pt x="161" y="243"/>
                    <a:pt x="161" y="243"/>
                  </a:cubicBezTo>
                  <a:cubicBezTo>
                    <a:pt x="161" y="243"/>
                    <a:pt x="161" y="243"/>
                    <a:pt x="161" y="244"/>
                  </a:cubicBezTo>
                  <a:cubicBezTo>
                    <a:pt x="162" y="244"/>
                    <a:pt x="162" y="244"/>
                    <a:pt x="162" y="244"/>
                  </a:cubicBezTo>
                  <a:cubicBezTo>
                    <a:pt x="162" y="244"/>
                    <a:pt x="162" y="244"/>
                    <a:pt x="162" y="244"/>
                  </a:cubicBezTo>
                  <a:cubicBezTo>
                    <a:pt x="162" y="244"/>
                    <a:pt x="162" y="244"/>
                    <a:pt x="162" y="244"/>
                  </a:cubicBezTo>
                  <a:cubicBezTo>
                    <a:pt x="162" y="245"/>
                    <a:pt x="162" y="245"/>
                    <a:pt x="162" y="245"/>
                  </a:cubicBezTo>
                  <a:cubicBezTo>
                    <a:pt x="162" y="245"/>
                    <a:pt x="162" y="245"/>
                    <a:pt x="163" y="245"/>
                  </a:cubicBezTo>
                  <a:cubicBezTo>
                    <a:pt x="163" y="246"/>
                    <a:pt x="163" y="246"/>
                    <a:pt x="163" y="246"/>
                  </a:cubicBezTo>
                  <a:cubicBezTo>
                    <a:pt x="163" y="246"/>
                    <a:pt x="163" y="246"/>
                    <a:pt x="163" y="246"/>
                  </a:cubicBezTo>
                  <a:cubicBezTo>
                    <a:pt x="163" y="247"/>
                    <a:pt x="163" y="247"/>
                    <a:pt x="163" y="247"/>
                  </a:cubicBezTo>
                  <a:cubicBezTo>
                    <a:pt x="163" y="247"/>
                    <a:pt x="163" y="247"/>
                    <a:pt x="163" y="247"/>
                  </a:cubicBezTo>
                  <a:cubicBezTo>
                    <a:pt x="163" y="248"/>
                    <a:pt x="163" y="248"/>
                    <a:pt x="163" y="248"/>
                  </a:cubicBezTo>
                  <a:cubicBezTo>
                    <a:pt x="163" y="248"/>
                    <a:pt x="163" y="248"/>
                    <a:pt x="164" y="248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50"/>
                    <a:pt x="164" y="250"/>
                    <a:pt x="164" y="250"/>
                  </a:cubicBezTo>
                  <a:cubicBezTo>
                    <a:pt x="164" y="250"/>
                    <a:pt x="164" y="250"/>
                    <a:pt x="164" y="250"/>
                  </a:cubicBezTo>
                  <a:cubicBezTo>
                    <a:pt x="164" y="251"/>
                    <a:pt x="164" y="252"/>
                    <a:pt x="165" y="252"/>
                  </a:cubicBezTo>
                  <a:cubicBezTo>
                    <a:pt x="165" y="252"/>
                    <a:pt x="165" y="252"/>
                    <a:pt x="165" y="252"/>
                  </a:cubicBezTo>
                  <a:cubicBezTo>
                    <a:pt x="165" y="253"/>
                    <a:pt x="165" y="254"/>
                    <a:pt x="166" y="255"/>
                  </a:cubicBezTo>
                  <a:cubicBezTo>
                    <a:pt x="166" y="255"/>
                    <a:pt x="166" y="255"/>
                    <a:pt x="166" y="255"/>
                  </a:cubicBezTo>
                  <a:cubicBezTo>
                    <a:pt x="166" y="256"/>
                    <a:pt x="166" y="256"/>
                    <a:pt x="166" y="256"/>
                  </a:cubicBezTo>
                  <a:cubicBezTo>
                    <a:pt x="166" y="256"/>
                    <a:pt x="166" y="256"/>
                    <a:pt x="166" y="256"/>
                  </a:cubicBezTo>
                  <a:cubicBezTo>
                    <a:pt x="166" y="256"/>
                    <a:pt x="166" y="257"/>
                    <a:pt x="166" y="257"/>
                  </a:cubicBezTo>
                  <a:cubicBezTo>
                    <a:pt x="166" y="257"/>
                    <a:pt x="167" y="257"/>
                    <a:pt x="167" y="257"/>
                  </a:cubicBezTo>
                  <a:cubicBezTo>
                    <a:pt x="167" y="258"/>
                    <a:pt x="167" y="258"/>
                    <a:pt x="167" y="258"/>
                  </a:cubicBezTo>
                  <a:cubicBezTo>
                    <a:pt x="167" y="258"/>
                    <a:pt x="167" y="258"/>
                    <a:pt x="167" y="258"/>
                  </a:cubicBezTo>
                  <a:cubicBezTo>
                    <a:pt x="167" y="258"/>
                    <a:pt x="167" y="259"/>
                    <a:pt x="167" y="259"/>
                  </a:cubicBezTo>
                  <a:cubicBezTo>
                    <a:pt x="167" y="259"/>
                    <a:pt x="167" y="259"/>
                    <a:pt x="167" y="259"/>
                  </a:cubicBezTo>
                  <a:cubicBezTo>
                    <a:pt x="167" y="259"/>
                    <a:pt x="167" y="259"/>
                    <a:pt x="167" y="260"/>
                  </a:cubicBezTo>
                  <a:cubicBezTo>
                    <a:pt x="168" y="260"/>
                    <a:pt x="168" y="260"/>
                    <a:pt x="169" y="260"/>
                  </a:cubicBezTo>
                  <a:cubicBezTo>
                    <a:pt x="170" y="262"/>
                    <a:pt x="171" y="263"/>
                    <a:pt x="173" y="265"/>
                  </a:cubicBezTo>
                  <a:cubicBezTo>
                    <a:pt x="173" y="265"/>
                    <a:pt x="173" y="265"/>
                    <a:pt x="173" y="265"/>
                  </a:cubicBezTo>
                  <a:cubicBezTo>
                    <a:pt x="174" y="266"/>
                    <a:pt x="175" y="267"/>
                    <a:pt x="176" y="268"/>
                  </a:cubicBezTo>
                  <a:cubicBezTo>
                    <a:pt x="177" y="268"/>
                    <a:pt x="177" y="268"/>
                    <a:pt x="178" y="269"/>
                  </a:cubicBezTo>
                  <a:cubicBezTo>
                    <a:pt x="178" y="269"/>
                    <a:pt x="178" y="269"/>
                    <a:pt x="178" y="269"/>
                  </a:cubicBezTo>
                  <a:cubicBezTo>
                    <a:pt x="178" y="269"/>
                    <a:pt x="178" y="269"/>
                    <a:pt x="179" y="269"/>
                  </a:cubicBezTo>
                  <a:cubicBezTo>
                    <a:pt x="180" y="271"/>
                    <a:pt x="182" y="273"/>
                    <a:pt x="183" y="274"/>
                  </a:cubicBezTo>
                  <a:cubicBezTo>
                    <a:pt x="183" y="274"/>
                    <a:pt x="184" y="274"/>
                    <a:pt x="184" y="274"/>
                  </a:cubicBezTo>
                  <a:cubicBezTo>
                    <a:pt x="185" y="276"/>
                    <a:pt x="186" y="277"/>
                    <a:pt x="187" y="278"/>
                  </a:cubicBezTo>
                  <a:cubicBezTo>
                    <a:pt x="187" y="278"/>
                    <a:pt x="188" y="278"/>
                    <a:pt x="188" y="278"/>
                  </a:cubicBezTo>
                  <a:cubicBezTo>
                    <a:pt x="188" y="278"/>
                    <a:pt x="188" y="279"/>
                    <a:pt x="188" y="279"/>
                  </a:cubicBezTo>
                  <a:cubicBezTo>
                    <a:pt x="188" y="279"/>
                    <a:pt x="189" y="279"/>
                    <a:pt x="189" y="279"/>
                  </a:cubicBezTo>
                  <a:cubicBezTo>
                    <a:pt x="189" y="279"/>
                    <a:pt x="189" y="280"/>
                    <a:pt x="189" y="280"/>
                  </a:cubicBezTo>
                  <a:cubicBezTo>
                    <a:pt x="190" y="280"/>
                    <a:pt x="191" y="281"/>
                    <a:pt x="192" y="282"/>
                  </a:cubicBezTo>
                  <a:cubicBezTo>
                    <a:pt x="192" y="282"/>
                    <a:pt x="193" y="283"/>
                    <a:pt x="193" y="284"/>
                  </a:cubicBezTo>
                  <a:cubicBezTo>
                    <a:pt x="194" y="284"/>
                    <a:pt x="194" y="284"/>
                    <a:pt x="194" y="284"/>
                  </a:cubicBezTo>
                  <a:cubicBezTo>
                    <a:pt x="194" y="284"/>
                    <a:pt x="195" y="285"/>
                    <a:pt x="195" y="285"/>
                  </a:cubicBezTo>
                  <a:cubicBezTo>
                    <a:pt x="195" y="285"/>
                    <a:pt x="196" y="285"/>
                    <a:pt x="196" y="285"/>
                  </a:cubicBezTo>
                  <a:cubicBezTo>
                    <a:pt x="196" y="285"/>
                    <a:pt x="196" y="286"/>
                    <a:pt x="196" y="286"/>
                  </a:cubicBezTo>
                  <a:cubicBezTo>
                    <a:pt x="197" y="286"/>
                    <a:pt x="197" y="286"/>
                    <a:pt x="197" y="286"/>
                  </a:cubicBezTo>
                  <a:cubicBezTo>
                    <a:pt x="197" y="287"/>
                    <a:pt x="198" y="287"/>
                    <a:pt x="198" y="287"/>
                  </a:cubicBezTo>
                  <a:cubicBezTo>
                    <a:pt x="198" y="287"/>
                    <a:pt x="198" y="287"/>
                    <a:pt x="199" y="287"/>
                  </a:cubicBezTo>
                  <a:cubicBezTo>
                    <a:pt x="199" y="288"/>
                    <a:pt x="199" y="288"/>
                    <a:pt x="200" y="289"/>
                  </a:cubicBezTo>
                  <a:cubicBezTo>
                    <a:pt x="200" y="289"/>
                    <a:pt x="200" y="289"/>
                    <a:pt x="200" y="289"/>
                  </a:cubicBezTo>
                  <a:cubicBezTo>
                    <a:pt x="200" y="289"/>
                    <a:pt x="201" y="289"/>
                    <a:pt x="201" y="289"/>
                  </a:cubicBezTo>
                  <a:cubicBezTo>
                    <a:pt x="201" y="289"/>
                    <a:pt x="201" y="290"/>
                    <a:pt x="202" y="290"/>
                  </a:cubicBezTo>
                  <a:cubicBezTo>
                    <a:pt x="202" y="290"/>
                    <a:pt x="202" y="291"/>
                    <a:pt x="203" y="291"/>
                  </a:cubicBezTo>
                  <a:cubicBezTo>
                    <a:pt x="203" y="291"/>
                    <a:pt x="203" y="291"/>
                    <a:pt x="203" y="291"/>
                  </a:cubicBezTo>
                  <a:cubicBezTo>
                    <a:pt x="204" y="291"/>
                    <a:pt x="204" y="292"/>
                    <a:pt x="204" y="292"/>
                  </a:cubicBezTo>
                  <a:cubicBezTo>
                    <a:pt x="204" y="292"/>
                    <a:pt x="205" y="292"/>
                    <a:pt x="205" y="292"/>
                  </a:cubicBezTo>
                  <a:cubicBezTo>
                    <a:pt x="205" y="292"/>
                    <a:pt x="205" y="293"/>
                    <a:pt x="206" y="293"/>
                  </a:cubicBezTo>
                  <a:cubicBezTo>
                    <a:pt x="206" y="293"/>
                    <a:pt x="206" y="293"/>
                    <a:pt x="206" y="293"/>
                  </a:cubicBezTo>
                  <a:cubicBezTo>
                    <a:pt x="207" y="294"/>
                    <a:pt x="207" y="294"/>
                    <a:pt x="207" y="295"/>
                  </a:cubicBezTo>
                  <a:cubicBezTo>
                    <a:pt x="208" y="295"/>
                    <a:pt x="208" y="295"/>
                    <a:pt x="208" y="295"/>
                  </a:cubicBezTo>
                  <a:cubicBezTo>
                    <a:pt x="208" y="295"/>
                    <a:pt x="208" y="295"/>
                    <a:pt x="209" y="296"/>
                  </a:cubicBezTo>
                  <a:cubicBezTo>
                    <a:pt x="209" y="296"/>
                    <a:pt x="209" y="296"/>
                    <a:pt x="209" y="296"/>
                  </a:cubicBezTo>
                  <a:cubicBezTo>
                    <a:pt x="210" y="296"/>
                    <a:pt x="210" y="297"/>
                    <a:pt x="210" y="297"/>
                  </a:cubicBezTo>
                  <a:cubicBezTo>
                    <a:pt x="211" y="297"/>
                    <a:pt x="211" y="297"/>
                    <a:pt x="211" y="297"/>
                  </a:cubicBezTo>
                  <a:cubicBezTo>
                    <a:pt x="211" y="297"/>
                    <a:pt x="212" y="298"/>
                    <a:pt x="212" y="298"/>
                  </a:cubicBezTo>
                  <a:cubicBezTo>
                    <a:pt x="212" y="298"/>
                    <a:pt x="212" y="298"/>
                    <a:pt x="213" y="298"/>
                  </a:cubicBezTo>
                  <a:cubicBezTo>
                    <a:pt x="213" y="298"/>
                    <a:pt x="213" y="299"/>
                    <a:pt x="213" y="299"/>
                  </a:cubicBezTo>
                  <a:cubicBezTo>
                    <a:pt x="213" y="299"/>
                    <a:pt x="214" y="299"/>
                    <a:pt x="214" y="299"/>
                  </a:cubicBezTo>
                  <a:cubicBezTo>
                    <a:pt x="215" y="307"/>
                    <a:pt x="217" y="314"/>
                    <a:pt x="218" y="321"/>
                  </a:cubicBezTo>
                  <a:cubicBezTo>
                    <a:pt x="218" y="321"/>
                    <a:pt x="218" y="321"/>
                    <a:pt x="217" y="321"/>
                  </a:cubicBezTo>
                  <a:cubicBezTo>
                    <a:pt x="217" y="322"/>
                    <a:pt x="217" y="322"/>
                    <a:pt x="217" y="322"/>
                  </a:cubicBezTo>
                  <a:cubicBezTo>
                    <a:pt x="217" y="322"/>
                    <a:pt x="217" y="322"/>
                    <a:pt x="217" y="322"/>
                  </a:cubicBezTo>
                  <a:cubicBezTo>
                    <a:pt x="217" y="322"/>
                    <a:pt x="217" y="323"/>
                    <a:pt x="217" y="323"/>
                  </a:cubicBezTo>
                  <a:cubicBezTo>
                    <a:pt x="217" y="323"/>
                    <a:pt x="217" y="323"/>
                    <a:pt x="217" y="323"/>
                  </a:cubicBezTo>
                  <a:cubicBezTo>
                    <a:pt x="217" y="323"/>
                    <a:pt x="217" y="324"/>
                    <a:pt x="217" y="324"/>
                  </a:cubicBezTo>
                  <a:cubicBezTo>
                    <a:pt x="217" y="324"/>
                    <a:pt x="216" y="324"/>
                    <a:pt x="216" y="324"/>
                  </a:cubicBezTo>
                  <a:cubicBezTo>
                    <a:pt x="216" y="324"/>
                    <a:pt x="216" y="324"/>
                    <a:pt x="216" y="325"/>
                  </a:cubicBezTo>
                  <a:cubicBezTo>
                    <a:pt x="216" y="325"/>
                    <a:pt x="216" y="325"/>
                    <a:pt x="216" y="325"/>
                  </a:cubicBezTo>
                  <a:cubicBezTo>
                    <a:pt x="216" y="325"/>
                    <a:pt x="216" y="325"/>
                    <a:pt x="216" y="326"/>
                  </a:cubicBezTo>
                  <a:cubicBezTo>
                    <a:pt x="216" y="326"/>
                    <a:pt x="216" y="326"/>
                    <a:pt x="216" y="326"/>
                  </a:cubicBezTo>
                  <a:cubicBezTo>
                    <a:pt x="216" y="326"/>
                    <a:pt x="216" y="326"/>
                    <a:pt x="216" y="326"/>
                  </a:cubicBezTo>
                  <a:cubicBezTo>
                    <a:pt x="216" y="326"/>
                    <a:pt x="215" y="326"/>
                    <a:pt x="215" y="326"/>
                  </a:cubicBezTo>
                  <a:cubicBezTo>
                    <a:pt x="215" y="327"/>
                    <a:pt x="215" y="327"/>
                    <a:pt x="215" y="327"/>
                  </a:cubicBezTo>
                  <a:cubicBezTo>
                    <a:pt x="215" y="327"/>
                    <a:pt x="215" y="327"/>
                    <a:pt x="215" y="327"/>
                  </a:cubicBezTo>
                  <a:cubicBezTo>
                    <a:pt x="215" y="328"/>
                    <a:pt x="215" y="328"/>
                    <a:pt x="215" y="328"/>
                  </a:cubicBezTo>
                  <a:cubicBezTo>
                    <a:pt x="215" y="328"/>
                    <a:pt x="215" y="328"/>
                    <a:pt x="215" y="328"/>
                  </a:cubicBezTo>
                  <a:cubicBezTo>
                    <a:pt x="215" y="329"/>
                    <a:pt x="215" y="329"/>
                    <a:pt x="215" y="329"/>
                  </a:cubicBezTo>
                  <a:cubicBezTo>
                    <a:pt x="215" y="329"/>
                    <a:pt x="214" y="329"/>
                    <a:pt x="214" y="329"/>
                  </a:cubicBezTo>
                  <a:cubicBezTo>
                    <a:pt x="214" y="329"/>
                    <a:pt x="214" y="330"/>
                    <a:pt x="214" y="330"/>
                  </a:cubicBezTo>
                  <a:cubicBezTo>
                    <a:pt x="214" y="330"/>
                    <a:pt x="214" y="330"/>
                    <a:pt x="214" y="330"/>
                  </a:cubicBezTo>
                  <a:cubicBezTo>
                    <a:pt x="214" y="330"/>
                    <a:pt x="214" y="331"/>
                    <a:pt x="214" y="331"/>
                  </a:cubicBezTo>
                  <a:cubicBezTo>
                    <a:pt x="214" y="331"/>
                    <a:pt x="214" y="331"/>
                    <a:pt x="214" y="331"/>
                  </a:cubicBezTo>
                  <a:cubicBezTo>
                    <a:pt x="213" y="332"/>
                    <a:pt x="213" y="332"/>
                    <a:pt x="213" y="333"/>
                  </a:cubicBezTo>
                  <a:cubicBezTo>
                    <a:pt x="213" y="333"/>
                    <a:pt x="213" y="333"/>
                    <a:pt x="213" y="333"/>
                  </a:cubicBezTo>
                  <a:cubicBezTo>
                    <a:pt x="213" y="333"/>
                    <a:pt x="213" y="333"/>
                    <a:pt x="213" y="333"/>
                  </a:cubicBezTo>
                  <a:cubicBezTo>
                    <a:pt x="213" y="333"/>
                    <a:pt x="213" y="333"/>
                    <a:pt x="213" y="333"/>
                  </a:cubicBezTo>
                  <a:cubicBezTo>
                    <a:pt x="213" y="334"/>
                    <a:pt x="213" y="334"/>
                    <a:pt x="213" y="334"/>
                  </a:cubicBezTo>
                  <a:cubicBezTo>
                    <a:pt x="212" y="334"/>
                    <a:pt x="212" y="334"/>
                    <a:pt x="212" y="334"/>
                  </a:cubicBezTo>
                  <a:cubicBezTo>
                    <a:pt x="212" y="335"/>
                    <a:pt x="212" y="335"/>
                    <a:pt x="212" y="335"/>
                  </a:cubicBezTo>
                  <a:cubicBezTo>
                    <a:pt x="212" y="335"/>
                    <a:pt x="212" y="335"/>
                    <a:pt x="212" y="335"/>
                  </a:cubicBezTo>
                  <a:cubicBezTo>
                    <a:pt x="212" y="336"/>
                    <a:pt x="212" y="336"/>
                    <a:pt x="212" y="336"/>
                  </a:cubicBezTo>
                  <a:cubicBezTo>
                    <a:pt x="212" y="336"/>
                    <a:pt x="212" y="336"/>
                    <a:pt x="211" y="336"/>
                  </a:cubicBezTo>
                  <a:cubicBezTo>
                    <a:pt x="211" y="336"/>
                    <a:pt x="211" y="337"/>
                    <a:pt x="211" y="337"/>
                  </a:cubicBezTo>
                  <a:cubicBezTo>
                    <a:pt x="211" y="337"/>
                    <a:pt x="211" y="337"/>
                    <a:pt x="211" y="337"/>
                  </a:cubicBezTo>
                  <a:cubicBezTo>
                    <a:pt x="211" y="337"/>
                    <a:pt x="211" y="338"/>
                    <a:pt x="211" y="338"/>
                  </a:cubicBezTo>
                  <a:cubicBezTo>
                    <a:pt x="211" y="338"/>
                    <a:pt x="211" y="338"/>
                    <a:pt x="211" y="338"/>
                  </a:cubicBezTo>
                  <a:cubicBezTo>
                    <a:pt x="211" y="338"/>
                    <a:pt x="211" y="338"/>
                    <a:pt x="211" y="339"/>
                  </a:cubicBezTo>
                  <a:cubicBezTo>
                    <a:pt x="211" y="339"/>
                    <a:pt x="211" y="339"/>
                    <a:pt x="210" y="339"/>
                  </a:cubicBezTo>
                  <a:cubicBezTo>
                    <a:pt x="210" y="339"/>
                    <a:pt x="210" y="339"/>
                    <a:pt x="210" y="340"/>
                  </a:cubicBezTo>
                  <a:cubicBezTo>
                    <a:pt x="210" y="340"/>
                    <a:pt x="210" y="340"/>
                    <a:pt x="210" y="340"/>
                  </a:cubicBezTo>
                  <a:cubicBezTo>
                    <a:pt x="210" y="340"/>
                    <a:pt x="210" y="340"/>
                    <a:pt x="210" y="340"/>
                  </a:cubicBezTo>
                  <a:cubicBezTo>
                    <a:pt x="210" y="340"/>
                    <a:pt x="210" y="340"/>
                    <a:pt x="210" y="340"/>
                  </a:cubicBezTo>
                  <a:cubicBezTo>
                    <a:pt x="210" y="341"/>
                    <a:pt x="210" y="341"/>
                    <a:pt x="210" y="341"/>
                  </a:cubicBezTo>
                  <a:cubicBezTo>
                    <a:pt x="210" y="341"/>
                    <a:pt x="209" y="341"/>
                    <a:pt x="209" y="341"/>
                  </a:cubicBezTo>
                  <a:cubicBezTo>
                    <a:pt x="209" y="342"/>
                    <a:pt x="209" y="342"/>
                    <a:pt x="209" y="342"/>
                  </a:cubicBezTo>
                  <a:cubicBezTo>
                    <a:pt x="209" y="342"/>
                    <a:pt x="209" y="342"/>
                    <a:pt x="209" y="342"/>
                  </a:cubicBezTo>
                  <a:cubicBezTo>
                    <a:pt x="209" y="343"/>
                    <a:pt x="209" y="344"/>
                    <a:pt x="209" y="345"/>
                  </a:cubicBezTo>
                  <a:cubicBezTo>
                    <a:pt x="209" y="345"/>
                    <a:pt x="208" y="345"/>
                    <a:pt x="208" y="345"/>
                  </a:cubicBezTo>
                  <a:cubicBezTo>
                    <a:pt x="208" y="346"/>
                    <a:pt x="208" y="347"/>
                    <a:pt x="208" y="349"/>
                  </a:cubicBezTo>
                  <a:cubicBezTo>
                    <a:pt x="207" y="352"/>
                    <a:pt x="207" y="357"/>
                    <a:pt x="206" y="361"/>
                  </a:cubicBezTo>
                  <a:cubicBezTo>
                    <a:pt x="206" y="361"/>
                    <a:pt x="206" y="362"/>
                    <a:pt x="206" y="363"/>
                  </a:cubicBezTo>
                  <a:cubicBezTo>
                    <a:pt x="205" y="363"/>
                    <a:pt x="205" y="363"/>
                    <a:pt x="205" y="363"/>
                  </a:cubicBezTo>
                  <a:cubicBezTo>
                    <a:pt x="205" y="364"/>
                    <a:pt x="205" y="364"/>
                    <a:pt x="205" y="365"/>
                  </a:cubicBezTo>
                  <a:cubicBezTo>
                    <a:pt x="205" y="365"/>
                    <a:pt x="205" y="365"/>
                    <a:pt x="205" y="365"/>
                  </a:cubicBezTo>
                  <a:cubicBezTo>
                    <a:pt x="206" y="367"/>
                    <a:pt x="209" y="369"/>
                    <a:pt x="210" y="370"/>
                  </a:cubicBezTo>
                  <a:cubicBezTo>
                    <a:pt x="212" y="372"/>
                    <a:pt x="214" y="374"/>
                    <a:pt x="215" y="375"/>
                  </a:cubicBezTo>
                  <a:cubicBezTo>
                    <a:pt x="216" y="376"/>
                    <a:pt x="217" y="377"/>
                    <a:pt x="218" y="378"/>
                  </a:cubicBezTo>
                  <a:cubicBezTo>
                    <a:pt x="214" y="384"/>
                    <a:pt x="211" y="390"/>
                    <a:pt x="208" y="396"/>
                  </a:cubicBezTo>
                  <a:cubicBezTo>
                    <a:pt x="209" y="396"/>
                    <a:pt x="210" y="397"/>
                    <a:pt x="211" y="397"/>
                  </a:cubicBezTo>
                  <a:cubicBezTo>
                    <a:pt x="211" y="397"/>
                    <a:pt x="211" y="397"/>
                    <a:pt x="211" y="397"/>
                  </a:cubicBezTo>
                  <a:cubicBezTo>
                    <a:pt x="212" y="398"/>
                    <a:pt x="213" y="398"/>
                    <a:pt x="213" y="398"/>
                  </a:cubicBezTo>
                  <a:cubicBezTo>
                    <a:pt x="213" y="398"/>
                    <a:pt x="213" y="398"/>
                    <a:pt x="213" y="398"/>
                  </a:cubicBezTo>
                  <a:cubicBezTo>
                    <a:pt x="213" y="398"/>
                    <a:pt x="214" y="398"/>
                    <a:pt x="214" y="398"/>
                  </a:cubicBezTo>
                  <a:cubicBezTo>
                    <a:pt x="214" y="398"/>
                    <a:pt x="214" y="398"/>
                    <a:pt x="214" y="398"/>
                  </a:cubicBezTo>
                  <a:cubicBezTo>
                    <a:pt x="214" y="398"/>
                    <a:pt x="215" y="398"/>
                    <a:pt x="215" y="398"/>
                  </a:cubicBezTo>
                  <a:cubicBezTo>
                    <a:pt x="215" y="399"/>
                    <a:pt x="215" y="399"/>
                    <a:pt x="215" y="399"/>
                  </a:cubicBezTo>
                  <a:cubicBezTo>
                    <a:pt x="215" y="399"/>
                    <a:pt x="215" y="399"/>
                    <a:pt x="216" y="399"/>
                  </a:cubicBezTo>
                  <a:cubicBezTo>
                    <a:pt x="216" y="399"/>
                    <a:pt x="216" y="399"/>
                    <a:pt x="216" y="399"/>
                  </a:cubicBezTo>
                  <a:cubicBezTo>
                    <a:pt x="216" y="399"/>
                    <a:pt x="216" y="399"/>
                    <a:pt x="217" y="399"/>
                  </a:cubicBezTo>
                  <a:cubicBezTo>
                    <a:pt x="217" y="399"/>
                    <a:pt x="217" y="399"/>
                    <a:pt x="217" y="400"/>
                  </a:cubicBezTo>
                  <a:cubicBezTo>
                    <a:pt x="217" y="400"/>
                    <a:pt x="218" y="400"/>
                    <a:pt x="218" y="400"/>
                  </a:cubicBezTo>
                  <a:cubicBezTo>
                    <a:pt x="218" y="400"/>
                    <a:pt x="218" y="400"/>
                    <a:pt x="218" y="400"/>
                  </a:cubicBezTo>
                  <a:cubicBezTo>
                    <a:pt x="218" y="400"/>
                    <a:pt x="219" y="400"/>
                    <a:pt x="219" y="400"/>
                  </a:cubicBezTo>
                  <a:cubicBezTo>
                    <a:pt x="219" y="400"/>
                    <a:pt x="219" y="400"/>
                    <a:pt x="219" y="401"/>
                  </a:cubicBezTo>
                  <a:cubicBezTo>
                    <a:pt x="220" y="401"/>
                    <a:pt x="220" y="401"/>
                    <a:pt x="221" y="401"/>
                  </a:cubicBezTo>
                  <a:cubicBezTo>
                    <a:pt x="221" y="401"/>
                    <a:pt x="221" y="401"/>
                    <a:pt x="221" y="401"/>
                  </a:cubicBezTo>
                  <a:cubicBezTo>
                    <a:pt x="221" y="401"/>
                    <a:pt x="221" y="401"/>
                    <a:pt x="222" y="401"/>
                  </a:cubicBezTo>
                  <a:cubicBezTo>
                    <a:pt x="222" y="401"/>
                    <a:pt x="222" y="401"/>
                    <a:pt x="222" y="402"/>
                  </a:cubicBezTo>
                  <a:cubicBezTo>
                    <a:pt x="222" y="402"/>
                    <a:pt x="223" y="402"/>
                    <a:pt x="223" y="402"/>
                  </a:cubicBezTo>
                  <a:cubicBezTo>
                    <a:pt x="223" y="402"/>
                    <a:pt x="223" y="402"/>
                    <a:pt x="223" y="402"/>
                  </a:cubicBezTo>
                  <a:cubicBezTo>
                    <a:pt x="223" y="402"/>
                    <a:pt x="224" y="402"/>
                    <a:pt x="224" y="402"/>
                  </a:cubicBezTo>
                  <a:cubicBezTo>
                    <a:pt x="224" y="402"/>
                    <a:pt x="224" y="403"/>
                    <a:pt x="224" y="403"/>
                  </a:cubicBezTo>
                  <a:cubicBezTo>
                    <a:pt x="224" y="403"/>
                    <a:pt x="225" y="403"/>
                    <a:pt x="225" y="403"/>
                  </a:cubicBezTo>
                  <a:cubicBezTo>
                    <a:pt x="225" y="403"/>
                    <a:pt x="225" y="403"/>
                    <a:pt x="225" y="403"/>
                  </a:cubicBezTo>
                  <a:cubicBezTo>
                    <a:pt x="225" y="403"/>
                    <a:pt x="225" y="403"/>
                    <a:pt x="226" y="403"/>
                  </a:cubicBezTo>
                  <a:cubicBezTo>
                    <a:pt x="226" y="403"/>
                    <a:pt x="226" y="403"/>
                    <a:pt x="226" y="403"/>
                  </a:cubicBezTo>
                  <a:cubicBezTo>
                    <a:pt x="226" y="403"/>
                    <a:pt x="227" y="404"/>
                    <a:pt x="227" y="404"/>
                  </a:cubicBezTo>
                  <a:cubicBezTo>
                    <a:pt x="227" y="404"/>
                    <a:pt x="227" y="404"/>
                    <a:pt x="227" y="404"/>
                  </a:cubicBezTo>
                  <a:cubicBezTo>
                    <a:pt x="228" y="404"/>
                    <a:pt x="228" y="404"/>
                    <a:pt x="228" y="404"/>
                  </a:cubicBezTo>
                  <a:cubicBezTo>
                    <a:pt x="228" y="404"/>
                    <a:pt x="228" y="404"/>
                    <a:pt x="228" y="404"/>
                  </a:cubicBezTo>
                  <a:cubicBezTo>
                    <a:pt x="228" y="404"/>
                    <a:pt x="229" y="404"/>
                    <a:pt x="229" y="404"/>
                  </a:cubicBezTo>
                  <a:cubicBezTo>
                    <a:pt x="229" y="405"/>
                    <a:pt x="229" y="405"/>
                    <a:pt x="229" y="405"/>
                  </a:cubicBezTo>
                  <a:cubicBezTo>
                    <a:pt x="230" y="405"/>
                    <a:pt x="231" y="405"/>
                    <a:pt x="232" y="406"/>
                  </a:cubicBezTo>
                  <a:cubicBezTo>
                    <a:pt x="233" y="407"/>
                    <a:pt x="233" y="410"/>
                    <a:pt x="234" y="411"/>
                  </a:cubicBezTo>
                  <a:cubicBezTo>
                    <a:pt x="234" y="411"/>
                    <a:pt x="234" y="411"/>
                    <a:pt x="234" y="411"/>
                  </a:cubicBezTo>
                  <a:cubicBezTo>
                    <a:pt x="234" y="412"/>
                    <a:pt x="234" y="412"/>
                    <a:pt x="234" y="412"/>
                  </a:cubicBezTo>
                  <a:cubicBezTo>
                    <a:pt x="234" y="412"/>
                    <a:pt x="234" y="412"/>
                    <a:pt x="234" y="412"/>
                  </a:cubicBezTo>
                  <a:cubicBezTo>
                    <a:pt x="234" y="413"/>
                    <a:pt x="234" y="413"/>
                    <a:pt x="234" y="413"/>
                  </a:cubicBezTo>
                  <a:cubicBezTo>
                    <a:pt x="234" y="413"/>
                    <a:pt x="234" y="413"/>
                    <a:pt x="235" y="413"/>
                  </a:cubicBezTo>
                  <a:cubicBezTo>
                    <a:pt x="235" y="414"/>
                    <a:pt x="235" y="414"/>
                    <a:pt x="235" y="415"/>
                  </a:cubicBezTo>
                  <a:cubicBezTo>
                    <a:pt x="235" y="415"/>
                    <a:pt x="235" y="415"/>
                    <a:pt x="235" y="415"/>
                  </a:cubicBezTo>
                  <a:cubicBezTo>
                    <a:pt x="235" y="415"/>
                    <a:pt x="235" y="415"/>
                    <a:pt x="235" y="416"/>
                  </a:cubicBezTo>
                  <a:cubicBezTo>
                    <a:pt x="235" y="416"/>
                    <a:pt x="235" y="416"/>
                    <a:pt x="235" y="416"/>
                  </a:cubicBezTo>
                  <a:cubicBezTo>
                    <a:pt x="235" y="416"/>
                    <a:pt x="235" y="416"/>
                    <a:pt x="235" y="417"/>
                  </a:cubicBezTo>
                  <a:cubicBezTo>
                    <a:pt x="235" y="417"/>
                    <a:pt x="235" y="417"/>
                    <a:pt x="236" y="417"/>
                  </a:cubicBezTo>
                  <a:cubicBezTo>
                    <a:pt x="236" y="418"/>
                    <a:pt x="236" y="419"/>
                    <a:pt x="236" y="420"/>
                  </a:cubicBezTo>
                  <a:cubicBezTo>
                    <a:pt x="236" y="420"/>
                    <a:pt x="237" y="420"/>
                    <a:pt x="237" y="420"/>
                  </a:cubicBezTo>
                  <a:cubicBezTo>
                    <a:pt x="237" y="421"/>
                    <a:pt x="237" y="422"/>
                    <a:pt x="237" y="424"/>
                  </a:cubicBezTo>
                  <a:cubicBezTo>
                    <a:pt x="237" y="424"/>
                    <a:pt x="238" y="424"/>
                    <a:pt x="238" y="424"/>
                  </a:cubicBezTo>
                  <a:cubicBezTo>
                    <a:pt x="238" y="425"/>
                    <a:pt x="238" y="426"/>
                    <a:pt x="238" y="427"/>
                  </a:cubicBezTo>
                  <a:cubicBezTo>
                    <a:pt x="239" y="427"/>
                    <a:pt x="239" y="427"/>
                    <a:pt x="239" y="427"/>
                  </a:cubicBezTo>
                  <a:cubicBezTo>
                    <a:pt x="239" y="428"/>
                    <a:pt x="239" y="428"/>
                    <a:pt x="239" y="429"/>
                  </a:cubicBezTo>
                  <a:cubicBezTo>
                    <a:pt x="239" y="429"/>
                    <a:pt x="239" y="429"/>
                    <a:pt x="239" y="429"/>
                  </a:cubicBezTo>
                  <a:cubicBezTo>
                    <a:pt x="239" y="429"/>
                    <a:pt x="239" y="429"/>
                    <a:pt x="239" y="430"/>
                  </a:cubicBezTo>
                  <a:cubicBezTo>
                    <a:pt x="239" y="430"/>
                    <a:pt x="239" y="430"/>
                    <a:pt x="239" y="430"/>
                  </a:cubicBezTo>
                  <a:cubicBezTo>
                    <a:pt x="239" y="430"/>
                    <a:pt x="239" y="430"/>
                    <a:pt x="239" y="431"/>
                  </a:cubicBezTo>
                  <a:cubicBezTo>
                    <a:pt x="240" y="432"/>
                    <a:pt x="240" y="433"/>
                    <a:pt x="241" y="434"/>
                  </a:cubicBezTo>
                  <a:cubicBezTo>
                    <a:pt x="239" y="434"/>
                    <a:pt x="238" y="434"/>
                    <a:pt x="236" y="434"/>
                  </a:cubicBezTo>
                  <a:cubicBezTo>
                    <a:pt x="235" y="435"/>
                    <a:pt x="234" y="434"/>
                    <a:pt x="233" y="435"/>
                  </a:cubicBezTo>
                  <a:cubicBezTo>
                    <a:pt x="233" y="435"/>
                    <a:pt x="233" y="435"/>
                    <a:pt x="233" y="435"/>
                  </a:cubicBezTo>
                  <a:cubicBezTo>
                    <a:pt x="232" y="435"/>
                    <a:pt x="231" y="435"/>
                    <a:pt x="230" y="435"/>
                  </a:cubicBezTo>
                  <a:cubicBezTo>
                    <a:pt x="230" y="435"/>
                    <a:pt x="230" y="435"/>
                    <a:pt x="230" y="436"/>
                  </a:cubicBezTo>
                  <a:cubicBezTo>
                    <a:pt x="230" y="436"/>
                    <a:pt x="229" y="436"/>
                    <a:pt x="228" y="436"/>
                  </a:cubicBezTo>
                  <a:cubicBezTo>
                    <a:pt x="223" y="437"/>
                    <a:pt x="218" y="438"/>
                    <a:pt x="213" y="439"/>
                  </a:cubicBezTo>
                  <a:cubicBezTo>
                    <a:pt x="212" y="439"/>
                    <a:pt x="210" y="439"/>
                    <a:pt x="209" y="440"/>
                  </a:cubicBezTo>
                  <a:cubicBezTo>
                    <a:pt x="204" y="441"/>
                    <a:pt x="199" y="442"/>
                    <a:pt x="194" y="444"/>
                  </a:cubicBezTo>
                  <a:cubicBezTo>
                    <a:pt x="193" y="444"/>
                    <a:pt x="192" y="444"/>
                    <a:pt x="192" y="444"/>
                  </a:cubicBezTo>
                  <a:cubicBezTo>
                    <a:pt x="192" y="444"/>
                    <a:pt x="192" y="445"/>
                    <a:pt x="192" y="445"/>
                  </a:cubicBezTo>
                  <a:cubicBezTo>
                    <a:pt x="191" y="445"/>
                    <a:pt x="190" y="445"/>
                    <a:pt x="189" y="445"/>
                  </a:cubicBezTo>
                  <a:cubicBezTo>
                    <a:pt x="189" y="445"/>
                    <a:pt x="189" y="445"/>
                    <a:pt x="189" y="445"/>
                  </a:cubicBezTo>
                  <a:cubicBezTo>
                    <a:pt x="188" y="445"/>
                    <a:pt x="187" y="446"/>
                    <a:pt x="187" y="446"/>
                  </a:cubicBezTo>
                  <a:cubicBezTo>
                    <a:pt x="187" y="446"/>
                    <a:pt x="187" y="446"/>
                    <a:pt x="187" y="446"/>
                  </a:cubicBezTo>
                  <a:cubicBezTo>
                    <a:pt x="186" y="446"/>
                    <a:pt x="185" y="446"/>
                    <a:pt x="184" y="446"/>
                  </a:cubicBezTo>
                  <a:cubicBezTo>
                    <a:pt x="184" y="446"/>
                    <a:pt x="184" y="447"/>
                    <a:pt x="184" y="447"/>
                  </a:cubicBezTo>
                  <a:cubicBezTo>
                    <a:pt x="183" y="447"/>
                    <a:pt x="183" y="447"/>
                    <a:pt x="182" y="447"/>
                  </a:cubicBezTo>
                  <a:cubicBezTo>
                    <a:pt x="182" y="447"/>
                    <a:pt x="182" y="447"/>
                    <a:pt x="182" y="447"/>
                  </a:cubicBezTo>
                  <a:cubicBezTo>
                    <a:pt x="181" y="447"/>
                    <a:pt x="181" y="447"/>
                    <a:pt x="181" y="447"/>
                  </a:cubicBezTo>
                  <a:cubicBezTo>
                    <a:pt x="181" y="448"/>
                    <a:pt x="181" y="448"/>
                    <a:pt x="181" y="448"/>
                  </a:cubicBezTo>
                  <a:cubicBezTo>
                    <a:pt x="180" y="448"/>
                    <a:pt x="180" y="448"/>
                    <a:pt x="180" y="448"/>
                  </a:cubicBezTo>
                  <a:cubicBezTo>
                    <a:pt x="180" y="448"/>
                    <a:pt x="180" y="448"/>
                    <a:pt x="180" y="448"/>
                  </a:cubicBezTo>
                  <a:cubicBezTo>
                    <a:pt x="179" y="448"/>
                    <a:pt x="179" y="448"/>
                    <a:pt x="178" y="448"/>
                  </a:cubicBezTo>
                  <a:cubicBezTo>
                    <a:pt x="178" y="448"/>
                    <a:pt x="178" y="448"/>
                    <a:pt x="178" y="448"/>
                  </a:cubicBezTo>
                  <a:cubicBezTo>
                    <a:pt x="178" y="448"/>
                    <a:pt x="178" y="448"/>
                    <a:pt x="177" y="448"/>
                  </a:cubicBezTo>
                  <a:cubicBezTo>
                    <a:pt x="177" y="449"/>
                    <a:pt x="177" y="449"/>
                    <a:pt x="177" y="449"/>
                  </a:cubicBezTo>
                  <a:cubicBezTo>
                    <a:pt x="177" y="449"/>
                    <a:pt x="176" y="449"/>
                    <a:pt x="176" y="449"/>
                  </a:cubicBezTo>
                  <a:cubicBezTo>
                    <a:pt x="176" y="449"/>
                    <a:pt x="176" y="449"/>
                    <a:pt x="176" y="449"/>
                  </a:cubicBezTo>
                  <a:cubicBezTo>
                    <a:pt x="175" y="449"/>
                    <a:pt x="173" y="450"/>
                    <a:pt x="172" y="450"/>
                  </a:cubicBezTo>
                  <a:cubicBezTo>
                    <a:pt x="172" y="450"/>
                    <a:pt x="172" y="450"/>
                    <a:pt x="172" y="450"/>
                  </a:cubicBezTo>
                  <a:cubicBezTo>
                    <a:pt x="172" y="450"/>
                    <a:pt x="172" y="450"/>
                    <a:pt x="171" y="450"/>
                  </a:cubicBezTo>
                  <a:cubicBezTo>
                    <a:pt x="171" y="450"/>
                    <a:pt x="171" y="450"/>
                    <a:pt x="171" y="451"/>
                  </a:cubicBezTo>
                  <a:cubicBezTo>
                    <a:pt x="171" y="451"/>
                    <a:pt x="171" y="451"/>
                    <a:pt x="170" y="451"/>
                  </a:cubicBezTo>
                  <a:cubicBezTo>
                    <a:pt x="170" y="451"/>
                    <a:pt x="170" y="451"/>
                    <a:pt x="170" y="451"/>
                  </a:cubicBezTo>
                  <a:cubicBezTo>
                    <a:pt x="170" y="451"/>
                    <a:pt x="170" y="451"/>
                    <a:pt x="169" y="451"/>
                  </a:cubicBezTo>
                  <a:cubicBezTo>
                    <a:pt x="169" y="451"/>
                    <a:pt x="169" y="451"/>
                    <a:pt x="169" y="451"/>
                  </a:cubicBezTo>
                  <a:cubicBezTo>
                    <a:pt x="168" y="451"/>
                    <a:pt x="168" y="451"/>
                    <a:pt x="167" y="452"/>
                  </a:cubicBezTo>
                  <a:cubicBezTo>
                    <a:pt x="167" y="452"/>
                    <a:pt x="167" y="452"/>
                    <a:pt x="167" y="452"/>
                  </a:cubicBezTo>
                  <a:cubicBezTo>
                    <a:pt x="166" y="452"/>
                    <a:pt x="166" y="452"/>
                    <a:pt x="166" y="452"/>
                  </a:cubicBezTo>
                  <a:cubicBezTo>
                    <a:pt x="166" y="452"/>
                    <a:pt x="166" y="452"/>
                    <a:pt x="166" y="452"/>
                  </a:cubicBezTo>
                  <a:cubicBezTo>
                    <a:pt x="165" y="452"/>
                    <a:pt x="165" y="452"/>
                    <a:pt x="165" y="452"/>
                  </a:cubicBezTo>
                  <a:cubicBezTo>
                    <a:pt x="165" y="452"/>
                    <a:pt x="165" y="453"/>
                    <a:pt x="165" y="453"/>
                  </a:cubicBezTo>
                  <a:cubicBezTo>
                    <a:pt x="152" y="452"/>
                    <a:pt x="140" y="451"/>
                    <a:pt x="128" y="451"/>
                  </a:cubicBezTo>
                  <a:cubicBezTo>
                    <a:pt x="127" y="451"/>
                    <a:pt x="127" y="452"/>
                    <a:pt x="127" y="452"/>
                  </a:cubicBezTo>
                  <a:cubicBezTo>
                    <a:pt x="127" y="452"/>
                    <a:pt x="127" y="452"/>
                    <a:pt x="127" y="452"/>
                  </a:cubicBezTo>
                  <a:cubicBezTo>
                    <a:pt x="127" y="452"/>
                    <a:pt x="127" y="452"/>
                    <a:pt x="127" y="453"/>
                  </a:cubicBezTo>
                  <a:cubicBezTo>
                    <a:pt x="127" y="453"/>
                    <a:pt x="126" y="453"/>
                    <a:pt x="126" y="453"/>
                  </a:cubicBezTo>
                  <a:cubicBezTo>
                    <a:pt x="126" y="453"/>
                    <a:pt x="126" y="453"/>
                    <a:pt x="126" y="454"/>
                  </a:cubicBezTo>
                  <a:cubicBezTo>
                    <a:pt x="126" y="454"/>
                    <a:pt x="126" y="454"/>
                    <a:pt x="125" y="454"/>
                  </a:cubicBezTo>
                  <a:cubicBezTo>
                    <a:pt x="125" y="454"/>
                    <a:pt x="125" y="455"/>
                    <a:pt x="125" y="455"/>
                  </a:cubicBezTo>
                  <a:cubicBezTo>
                    <a:pt x="125" y="455"/>
                    <a:pt x="125" y="455"/>
                    <a:pt x="125" y="455"/>
                  </a:cubicBezTo>
                  <a:cubicBezTo>
                    <a:pt x="125" y="455"/>
                    <a:pt x="125" y="456"/>
                    <a:pt x="125" y="456"/>
                  </a:cubicBezTo>
                  <a:cubicBezTo>
                    <a:pt x="125" y="456"/>
                    <a:pt x="124" y="456"/>
                    <a:pt x="124" y="456"/>
                  </a:cubicBezTo>
                  <a:cubicBezTo>
                    <a:pt x="124" y="456"/>
                    <a:pt x="124" y="457"/>
                    <a:pt x="124" y="457"/>
                  </a:cubicBezTo>
                  <a:cubicBezTo>
                    <a:pt x="124" y="457"/>
                    <a:pt x="124" y="457"/>
                    <a:pt x="124" y="457"/>
                  </a:cubicBezTo>
                  <a:cubicBezTo>
                    <a:pt x="124" y="457"/>
                    <a:pt x="123" y="458"/>
                    <a:pt x="123" y="458"/>
                  </a:cubicBezTo>
                  <a:cubicBezTo>
                    <a:pt x="123" y="458"/>
                    <a:pt x="123" y="458"/>
                    <a:pt x="123" y="458"/>
                  </a:cubicBezTo>
                  <a:cubicBezTo>
                    <a:pt x="123" y="458"/>
                    <a:pt x="123" y="459"/>
                    <a:pt x="123" y="459"/>
                  </a:cubicBezTo>
                  <a:cubicBezTo>
                    <a:pt x="122" y="459"/>
                    <a:pt x="122" y="459"/>
                    <a:pt x="122" y="459"/>
                  </a:cubicBezTo>
                  <a:cubicBezTo>
                    <a:pt x="122" y="460"/>
                    <a:pt x="122" y="460"/>
                    <a:pt x="122" y="460"/>
                  </a:cubicBezTo>
                  <a:cubicBezTo>
                    <a:pt x="122" y="460"/>
                    <a:pt x="121" y="460"/>
                    <a:pt x="121" y="460"/>
                  </a:cubicBezTo>
                  <a:cubicBezTo>
                    <a:pt x="121" y="461"/>
                    <a:pt x="121" y="461"/>
                    <a:pt x="121" y="461"/>
                  </a:cubicBezTo>
                  <a:cubicBezTo>
                    <a:pt x="121" y="461"/>
                    <a:pt x="121" y="461"/>
                    <a:pt x="121" y="461"/>
                  </a:cubicBezTo>
                  <a:cubicBezTo>
                    <a:pt x="121" y="462"/>
                    <a:pt x="121" y="462"/>
                    <a:pt x="121" y="462"/>
                  </a:cubicBezTo>
                  <a:cubicBezTo>
                    <a:pt x="120" y="462"/>
                    <a:pt x="120" y="462"/>
                    <a:pt x="120" y="462"/>
                  </a:cubicBezTo>
                  <a:cubicBezTo>
                    <a:pt x="120" y="463"/>
                    <a:pt x="120" y="463"/>
                    <a:pt x="120" y="463"/>
                  </a:cubicBezTo>
                  <a:cubicBezTo>
                    <a:pt x="120" y="463"/>
                    <a:pt x="119" y="463"/>
                    <a:pt x="119" y="464"/>
                  </a:cubicBezTo>
                  <a:cubicBezTo>
                    <a:pt x="119" y="464"/>
                    <a:pt x="119" y="464"/>
                    <a:pt x="119" y="464"/>
                  </a:cubicBezTo>
                  <a:cubicBezTo>
                    <a:pt x="119" y="464"/>
                    <a:pt x="119" y="464"/>
                    <a:pt x="118" y="465"/>
                  </a:cubicBezTo>
                  <a:cubicBezTo>
                    <a:pt x="118" y="465"/>
                    <a:pt x="118" y="465"/>
                    <a:pt x="118" y="465"/>
                  </a:cubicBezTo>
                  <a:cubicBezTo>
                    <a:pt x="118" y="465"/>
                    <a:pt x="118" y="465"/>
                    <a:pt x="118" y="466"/>
                  </a:cubicBezTo>
                  <a:cubicBezTo>
                    <a:pt x="118" y="466"/>
                    <a:pt x="118" y="466"/>
                    <a:pt x="118" y="466"/>
                  </a:cubicBezTo>
                  <a:cubicBezTo>
                    <a:pt x="118" y="466"/>
                    <a:pt x="118" y="466"/>
                    <a:pt x="117" y="466"/>
                  </a:cubicBezTo>
                  <a:cubicBezTo>
                    <a:pt x="117" y="467"/>
                    <a:pt x="117" y="467"/>
                    <a:pt x="117" y="467"/>
                  </a:cubicBezTo>
                  <a:cubicBezTo>
                    <a:pt x="117" y="467"/>
                    <a:pt x="117" y="468"/>
                    <a:pt x="116" y="468"/>
                  </a:cubicBezTo>
                  <a:cubicBezTo>
                    <a:pt x="116" y="468"/>
                    <a:pt x="116" y="468"/>
                    <a:pt x="116" y="468"/>
                  </a:cubicBezTo>
                  <a:cubicBezTo>
                    <a:pt x="116" y="469"/>
                    <a:pt x="116" y="469"/>
                    <a:pt x="116" y="469"/>
                  </a:cubicBezTo>
                  <a:cubicBezTo>
                    <a:pt x="116" y="469"/>
                    <a:pt x="116" y="469"/>
                    <a:pt x="116" y="469"/>
                  </a:cubicBezTo>
                  <a:cubicBezTo>
                    <a:pt x="115" y="470"/>
                    <a:pt x="115" y="470"/>
                    <a:pt x="115" y="470"/>
                  </a:cubicBezTo>
                  <a:cubicBezTo>
                    <a:pt x="115" y="470"/>
                    <a:pt x="115" y="470"/>
                    <a:pt x="115" y="471"/>
                  </a:cubicBezTo>
                  <a:cubicBezTo>
                    <a:pt x="115" y="471"/>
                    <a:pt x="115" y="471"/>
                    <a:pt x="115" y="471"/>
                  </a:cubicBezTo>
                  <a:cubicBezTo>
                    <a:pt x="114" y="471"/>
                    <a:pt x="114" y="471"/>
                    <a:pt x="114" y="472"/>
                  </a:cubicBezTo>
                  <a:cubicBezTo>
                    <a:pt x="114" y="472"/>
                    <a:pt x="114" y="472"/>
                    <a:pt x="114" y="472"/>
                  </a:cubicBezTo>
                  <a:cubicBezTo>
                    <a:pt x="114" y="472"/>
                    <a:pt x="114" y="472"/>
                    <a:pt x="114" y="473"/>
                  </a:cubicBezTo>
                  <a:cubicBezTo>
                    <a:pt x="113" y="473"/>
                    <a:pt x="113" y="473"/>
                    <a:pt x="113" y="473"/>
                  </a:cubicBezTo>
                  <a:cubicBezTo>
                    <a:pt x="113" y="473"/>
                    <a:pt x="113" y="473"/>
                    <a:pt x="113" y="474"/>
                  </a:cubicBezTo>
                  <a:cubicBezTo>
                    <a:pt x="113" y="474"/>
                    <a:pt x="112" y="474"/>
                    <a:pt x="112" y="474"/>
                  </a:cubicBezTo>
                  <a:cubicBezTo>
                    <a:pt x="112" y="474"/>
                    <a:pt x="112" y="474"/>
                    <a:pt x="112" y="475"/>
                  </a:cubicBezTo>
                  <a:cubicBezTo>
                    <a:pt x="112" y="475"/>
                    <a:pt x="112" y="475"/>
                    <a:pt x="112" y="475"/>
                  </a:cubicBezTo>
                  <a:cubicBezTo>
                    <a:pt x="112" y="475"/>
                    <a:pt x="112" y="475"/>
                    <a:pt x="111" y="476"/>
                  </a:cubicBezTo>
                  <a:cubicBezTo>
                    <a:pt x="111" y="476"/>
                    <a:pt x="111" y="476"/>
                    <a:pt x="111" y="476"/>
                  </a:cubicBezTo>
                  <a:cubicBezTo>
                    <a:pt x="111" y="476"/>
                    <a:pt x="111" y="477"/>
                    <a:pt x="111" y="477"/>
                  </a:cubicBezTo>
                  <a:cubicBezTo>
                    <a:pt x="111" y="477"/>
                    <a:pt x="110" y="477"/>
                    <a:pt x="110" y="477"/>
                  </a:cubicBezTo>
                  <a:cubicBezTo>
                    <a:pt x="110" y="477"/>
                    <a:pt x="110" y="478"/>
                    <a:pt x="110" y="478"/>
                  </a:cubicBezTo>
                  <a:cubicBezTo>
                    <a:pt x="110" y="478"/>
                    <a:pt x="110" y="478"/>
                    <a:pt x="110" y="478"/>
                  </a:cubicBezTo>
                  <a:cubicBezTo>
                    <a:pt x="110" y="478"/>
                    <a:pt x="109" y="479"/>
                    <a:pt x="109" y="479"/>
                  </a:cubicBezTo>
                  <a:cubicBezTo>
                    <a:pt x="109" y="479"/>
                    <a:pt x="109" y="479"/>
                    <a:pt x="109" y="479"/>
                  </a:cubicBezTo>
                  <a:cubicBezTo>
                    <a:pt x="109" y="479"/>
                    <a:pt x="109" y="480"/>
                    <a:pt x="109" y="480"/>
                  </a:cubicBezTo>
                  <a:cubicBezTo>
                    <a:pt x="108" y="480"/>
                    <a:pt x="108" y="480"/>
                    <a:pt x="108" y="480"/>
                  </a:cubicBezTo>
                  <a:cubicBezTo>
                    <a:pt x="108" y="481"/>
                    <a:pt x="108" y="481"/>
                    <a:pt x="108" y="481"/>
                  </a:cubicBezTo>
                  <a:cubicBezTo>
                    <a:pt x="108" y="481"/>
                    <a:pt x="107" y="481"/>
                    <a:pt x="107" y="481"/>
                  </a:cubicBezTo>
                  <a:cubicBezTo>
                    <a:pt x="107" y="482"/>
                    <a:pt x="107" y="482"/>
                    <a:pt x="107" y="482"/>
                  </a:cubicBezTo>
                  <a:cubicBezTo>
                    <a:pt x="107" y="482"/>
                    <a:pt x="107" y="482"/>
                    <a:pt x="107" y="482"/>
                  </a:cubicBezTo>
                  <a:cubicBezTo>
                    <a:pt x="107" y="483"/>
                    <a:pt x="107" y="483"/>
                    <a:pt x="107" y="483"/>
                  </a:cubicBezTo>
                  <a:cubicBezTo>
                    <a:pt x="106" y="483"/>
                    <a:pt x="106" y="483"/>
                    <a:pt x="106" y="483"/>
                  </a:cubicBezTo>
                  <a:cubicBezTo>
                    <a:pt x="106" y="484"/>
                    <a:pt x="106" y="484"/>
                    <a:pt x="106" y="484"/>
                  </a:cubicBezTo>
                  <a:cubicBezTo>
                    <a:pt x="106" y="484"/>
                    <a:pt x="105" y="484"/>
                    <a:pt x="105" y="484"/>
                  </a:cubicBezTo>
                  <a:cubicBezTo>
                    <a:pt x="105" y="485"/>
                    <a:pt x="105" y="485"/>
                    <a:pt x="105" y="485"/>
                  </a:cubicBezTo>
                  <a:cubicBezTo>
                    <a:pt x="105" y="485"/>
                    <a:pt x="105" y="485"/>
                    <a:pt x="105" y="485"/>
                  </a:cubicBezTo>
                  <a:cubicBezTo>
                    <a:pt x="105" y="486"/>
                    <a:pt x="105" y="486"/>
                    <a:pt x="104" y="486"/>
                  </a:cubicBezTo>
                  <a:cubicBezTo>
                    <a:pt x="104" y="486"/>
                    <a:pt x="104" y="486"/>
                    <a:pt x="104" y="487"/>
                  </a:cubicBezTo>
                  <a:cubicBezTo>
                    <a:pt x="104" y="487"/>
                    <a:pt x="104" y="487"/>
                    <a:pt x="104" y="487"/>
                  </a:cubicBezTo>
                  <a:cubicBezTo>
                    <a:pt x="104" y="487"/>
                    <a:pt x="103" y="488"/>
                    <a:pt x="103" y="488"/>
                  </a:cubicBezTo>
                  <a:cubicBezTo>
                    <a:pt x="103" y="488"/>
                    <a:pt x="103" y="488"/>
                    <a:pt x="103" y="488"/>
                  </a:cubicBezTo>
                  <a:cubicBezTo>
                    <a:pt x="103" y="488"/>
                    <a:pt x="103" y="489"/>
                    <a:pt x="102" y="489"/>
                  </a:cubicBezTo>
                  <a:cubicBezTo>
                    <a:pt x="102" y="489"/>
                    <a:pt x="102" y="489"/>
                    <a:pt x="102" y="489"/>
                  </a:cubicBezTo>
                  <a:cubicBezTo>
                    <a:pt x="102" y="490"/>
                    <a:pt x="102" y="490"/>
                    <a:pt x="102" y="490"/>
                  </a:cubicBezTo>
                  <a:cubicBezTo>
                    <a:pt x="102" y="490"/>
                    <a:pt x="101" y="490"/>
                    <a:pt x="101" y="491"/>
                  </a:cubicBezTo>
                  <a:cubicBezTo>
                    <a:pt x="101" y="491"/>
                    <a:pt x="101" y="491"/>
                    <a:pt x="101" y="491"/>
                  </a:cubicBezTo>
                  <a:cubicBezTo>
                    <a:pt x="101" y="491"/>
                    <a:pt x="101" y="491"/>
                    <a:pt x="101" y="491"/>
                  </a:cubicBezTo>
                  <a:cubicBezTo>
                    <a:pt x="100" y="492"/>
                    <a:pt x="100" y="493"/>
                    <a:pt x="99" y="494"/>
                  </a:cubicBezTo>
                  <a:cubicBezTo>
                    <a:pt x="99" y="494"/>
                    <a:pt x="99" y="494"/>
                    <a:pt x="98" y="494"/>
                  </a:cubicBezTo>
                  <a:cubicBezTo>
                    <a:pt x="98" y="494"/>
                    <a:pt x="98" y="494"/>
                    <a:pt x="98" y="494"/>
                  </a:cubicBezTo>
                  <a:cubicBezTo>
                    <a:pt x="98" y="494"/>
                    <a:pt x="97" y="494"/>
                    <a:pt x="97" y="494"/>
                  </a:cubicBezTo>
                  <a:cubicBezTo>
                    <a:pt x="97" y="494"/>
                    <a:pt x="97" y="495"/>
                    <a:pt x="97" y="495"/>
                  </a:cubicBezTo>
                  <a:cubicBezTo>
                    <a:pt x="96" y="495"/>
                    <a:pt x="95" y="495"/>
                    <a:pt x="95" y="495"/>
                  </a:cubicBezTo>
                  <a:cubicBezTo>
                    <a:pt x="95" y="495"/>
                    <a:pt x="95" y="495"/>
                    <a:pt x="95" y="495"/>
                  </a:cubicBezTo>
                  <a:cubicBezTo>
                    <a:pt x="94" y="495"/>
                    <a:pt x="94" y="495"/>
                    <a:pt x="94" y="495"/>
                  </a:cubicBezTo>
                  <a:cubicBezTo>
                    <a:pt x="94" y="495"/>
                    <a:pt x="94" y="496"/>
                    <a:pt x="94" y="496"/>
                  </a:cubicBezTo>
                  <a:cubicBezTo>
                    <a:pt x="93" y="496"/>
                    <a:pt x="93" y="496"/>
                    <a:pt x="92" y="496"/>
                  </a:cubicBezTo>
                  <a:cubicBezTo>
                    <a:pt x="92" y="496"/>
                    <a:pt x="92" y="496"/>
                    <a:pt x="92" y="496"/>
                  </a:cubicBezTo>
                  <a:cubicBezTo>
                    <a:pt x="91" y="496"/>
                    <a:pt x="91" y="496"/>
                    <a:pt x="90" y="496"/>
                  </a:cubicBezTo>
                  <a:cubicBezTo>
                    <a:pt x="90" y="496"/>
                    <a:pt x="90" y="497"/>
                    <a:pt x="90" y="497"/>
                  </a:cubicBezTo>
                  <a:cubicBezTo>
                    <a:pt x="89" y="497"/>
                    <a:pt x="89" y="497"/>
                    <a:pt x="89" y="497"/>
                  </a:cubicBezTo>
                  <a:cubicBezTo>
                    <a:pt x="89" y="497"/>
                    <a:pt x="89" y="497"/>
                    <a:pt x="89" y="497"/>
                  </a:cubicBezTo>
                  <a:cubicBezTo>
                    <a:pt x="88" y="497"/>
                    <a:pt x="88" y="497"/>
                    <a:pt x="88" y="497"/>
                  </a:cubicBezTo>
                  <a:cubicBezTo>
                    <a:pt x="88" y="497"/>
                    <a:pt x="88" y="497"/>
                    <a:pt x="88" y="497"/>
                  </a:cubicBezTo>
                  <a:cubicBezTo>
                    <a:pt x="87" y="498"/>
                    <a:pt x="86" y="498"/>
                    <a:pt x="85" y="498"/>
                  </a:cubicBezTo>
                  <a:cubicBezTo>
                    <a:pt x="85" y="498"/>
                    <a:pt x="85" y="498"/>
                    <a:pt x="85" y="498"/>
                  </a:cubicBezTo>
                  <a:cubicBezTo>
                    <a:pt x="85" y="498"/>
                    <a:pt x="84" y="498"/>
                    <a:pt x="84" y="498"/>
                  </a:cubicBezTo>
                  <a:cubicBezTo>
                    <a:pt x="82" y="499"/>
                    <a:pt x="80" y="500"/>
                    <a:pt x="78" y="500"/>
                  </a:cubicBezTo>
                  <a:cubicBezTo>
                    <a:pt x="77" y="499"/>
                    <a:pt x="76" y="499"/>
                    <a:pt x="76" y="498"/>
                  </a:cubicBezTo>
                  <a:cubicBezTo>
                    <a:pt x="76" y="498"/>
                    <a:pt x="76" y="498"/>
                    <a:pt x="76" y="497"/>
                  </a:cubicBezTo>
                  <a:cubicBezTo>
                    <a:pt x="75" y="497"/>
                    <a:pt x="75" y="497"/>
                    <a:pt x="74" y="496"/>
                  </a:cubicBezTo>
                  <a:cubicBezTo>
                    <a:pt x="73" y="495"/>
                    <a:pt x="73" y="494"/>
                    <a:pt x="72" y="493"/>
                  </a:cubicBezTo>
                  <a:cubicBezTo>
                    <a:pt x="71" y="493"/>
                    <a:pt x="70" y="492"/>
                    <a:pt x="70" y="492"/>
                  </a:cubicBezTo>
                  <a:cubicBezTo>
                    <a:pt x="70" y="492"/>
                    <a:pt x="70" y="491"/>
                    <a:pt x="70" y="491"/>
                  </a:cubicBezTo>
                  <a:cubicBezTo>
                    <a:pt x="68" y="489"/>
                    <a:pt x="66" y="487"/>
                    <a:pt x="64" y="486"/>
                  </a:cubicBezTo>
                  <a:cubicBezTo>
                    <a:pt x="64" y="485"/>
                    <a:pt x="64" y="485"/>
                    <a:pt x="64" y="485"/>
                  </a:cubicBezTo>
                  <a:cubicBezTo>
                    <a:pt x="64" y="485"/>
                    <a:pt x="64" y="485"/>
                    <a:pt x="64" y="485"/>
                  </a:cubicBezTo>
                  <a:cubicBezTo>
                    <a:pt x="63" y="484"/>
                    <a:pt x="63" y="484"/>
                    <a:pt x="62" y="483"/>
                  </a:cubicBezTo>
                  <a:cubicBezTo>
                    <a:pt x="60" y="481"/>
                    <a:pt x="57" y="479"/>
                    <a:pt x="57" y="475"/>
                  </a:cubicBezTo>
                  <a:cubicBezTo>
                    <a:pt x="58" y="474"/>
                    <a:pt x="57" y="470"/>
                    <a:pt x="57" y="468"/>
                  </a:cubicBezTo>
                  <a:cubicBezTo>
                    <a:pt x="57" y="468"/>
                    <a:pt x="57" y="468"/>
                    <a:pt x="58" y="468"/>
                  </a:cubicBezTo>
                  <a:cubicBezTo>
                    <a:pt x="58" y="466"/>
                    <a:pt x="58" y="465"/>
                    <a:pt x="58" y="464"/>
                  </a:cubicBezTo>
                  <a:cubicBezTo>
                    <a:pt x="58" y="464"/>
                    <a:pt x="58" y="464"/>
                    <a:pt x="58" y="464"/>
                  </a:cubicBezTo>
                  <a:cubicBezTo>
                    <a:pt x="58" y="463"/>
                    <a:pt x="58" y="462"/>
                    <a:pt x="58" y="460"/>
                  </a:cubicBezTo>
                  <a:cubicBezTo>
                    <a:pt x="58" y="460"/>
                    <a:pt x="58" y="460"/>
                    <a:pt x="58" y="460"/>
                  </a:cubicBezTo>
                  <a:cubicBezTo>
                    <a:pt x="59" y="457"/>
                    <a:pt x="59" y="454"/>
                    <a:pt x="59" y="451"/>
                  </a:cubicBezTo>
                  <a:cubicBezTo>
                    <a:pt x="59" y="451"/>
                    <a:pt x="58" y="451"/>
                    <a:pt x="58" y="451"/>
                  </a:cubicBezTo>
                  <a:cubicBezTo>
                    <a:pt x="58" y="451"/>
                    <a:pt x="58" y="451"/>
                    <a:pt x="58" y="451"/>
                  </a:cubicBezTo>
                  <a:cubicBezTo>
                    <a:pt x="58" y="451"/>
                    <a:pt x="57" y="451"/>
                    <a:pt x="57" y="451"/>
                  </a:cubicBezTo>
                  <a:cubicBezTo>
                    <a:pt x="57" y="451"/>
                    <a:pt x="57" y="451"/>
                    <a:pt x="57" y="452"/>
                  </a:cubicBezTo>
                  <a:cubicBezTo>
                    <a:pt x="57" y="452"/>
                    <a:pt x="57" y="452"/>
                    <a:pt x="57" y="452"/>
                  </a:cubicBezTo>
                  <a:cubicBezTo>
                    <a:pt x="56" y="452"/>
                    <a:pt x="56" y="452"/>
                    <a:pt x="56" y="452"/>
                  </a:cubicBezTo>
                  <a:cubicBezTo>
                    <a:pt x="56" y="452"/>
                    <a:pt x="56" y="452"/>
                    <a:pt x="55" y="452"/>
                  </a:cubicBezTo>
                  <a:cubicBezTo>
                    <a:pt x="55" y="453"/>
                    <a:pt x="55" y="453"/>
                    <a:pt x="55" y="453"/>
                  </a:cubicBezTo>
                  <a:cubicBezTo>
                    <a:pt x="55" y="453"/>
                    <a:pt x="54" y="453"/>
                    <a:pt x="54" y="453"/>
                  </a:cubicBezTo>
                  <a:cubicBezTo>
                    <a:pt x="54" y="454"/>
                    <a:pt x="54" y="454"/>
                    <a:pt x="53" y="454"/>
                  </a:cubicBezTo>
                  <a:cubicBezTo>
                    <a:pt x="53" y="454"/>
                    <a:pt x="53" y="454"/>
                    <a:pt x="53" y="454"/>
                  </a:cubicBezTo>
                  <a:cubicBezTo>
                    <a:pt x="53" y="454"/>
                    <a:pt x="52" y="455"/>
                    <a:pt x="52" y="455"/>
                  </a:cubicBezTo>
                  <a:cubicBezTo>
                    <a:pt x="52" y="455"/>
                    <a:pt x="52" y="455"/>
                    <a:pt x="52" y="455"/>
                  </a:cubicBezTo>
                  <a:cubicBezTo>
                    <a:pt x="52" y="455"/>
                    <a:pt x="52" y="455"/>
                    <a:pt x="52" y="455"/>
                  </a:cubicBezTo>
                  <a:cubicBezTo>
                    <a:pt x="51" y="455"/>
                    <a:pt x="51" y="455"/>
                    <a:pt x="51" y="455"/>
                  </a:cubicBezTo>
                  <a:cubicBezTo>
                    <a:pt x="51" y="455"/>
                    <a:pt x="51" y="456"/>
                    <a:pt x="51" y="456"/>
                  </a:cubicBezTo>
                  <a:cubicBezTo>
                    <a:pt x="50" y="456"/>
                    <a:pt x="50" y="456"/>
                    <a:pt x="49" y="456"/>
                  </a:cubicBezTo>
                  <a:cubicBezTo>
                    <a:pt x="49" y="456"/>
                    <a:pt x="49" y="457"/>
                    <a:pt x="49" y="457"/>
                  </a:cubicBezTo>
                  <a:cubicBezTo>
                    <a:pt x="48" y="457"/>
                    <a:pt x="48" y="457"/>
                    <a:pt x="48" y="457"/>
                  </a:cubicBezTo>
                  <a:cubicBezTo>
                    <a:pt x="48" y="457"/>
                    <a:pt x="48" y="457"/>
                    <a:pt x="48" y="458"/>
                  </a:cubicBezTo>
                  <a:cubicBezTo>
                    <a:pt x="47" y="458"/>
                    <a:pt x="46" y="458"/>
                    <a:pt x="46" y="458"/>
                  </a:cubicBezTo>
                  <a:cubicBezTo>
                    <a:pt x="46" y="458"/>
                    <a:pt x="45" y="459"/>
                    <a:pt x="45" y="459"/>
                  </a:cubicBezTo>
                  <a:cubicBezTo>
                    <a:pt x="45" y="459"/>
                    <a:pt x="44" y="459"/>
                    <a:pt x="44" y="459"/>
                  </a:cubicBezTo>
                  <a:cubicBezTo>
                    <a:pt x="44" y="460"/>
                    <a:pt x="44" y="460"/>
                    <a:pt x="44" y="460"/>
                  </a:cubicBezTo>
                  <a:cubicBezTo>
                    <a:pt x="43" y="460"/>
                    <a:pt x="42" y="460"/>
                    <a:pt x="42" y="461"/>
                  </a:cubicBezTo>
                  <a:cubicBezTo>
                    <a:pt x="41" y="461"/>
                    <a:pt x="41" y="461"/>
                    <a:pt x="41" y="461"/>
                  </a:cubicBezTo>
                  <a:cubicBezTo>
                    <a:pt x="41" y="462"/>
                    <a:pt x="40" y="462"/>
                    <a:pt x="40" y="462"/>
                  </a:cubicBezTo>
                  <a:cubicBezTo>
                    <a:pt x="40" y="462"/>
                    <a:pt x="40" y="462"/>
                    <a:pt x="39" y="462"/>
                  </a:cubicBezTo>
                  <a:cubicBezTo>
                    <a:pt x="39" y="463"/>
                    <a:pt x="38" y="463"/>
                    <a:pt x="37" y="463"/>
                  </a:cubicBezTo>
                  <a:cubicBezTo>
                    <a:pt x="37" y="463"/>
                    <a:pt x="37" y="464"/>
                    <a:pt x="37" y="464"/>
                  </a:cubicBezTo>
                  <a:cubicBezTo>
                    <a:pt x="36" y="464"/>
                    <a:pt x="36" y="464"/>
                    <a:pt x="36" y="464"/>
                  </a:cubicBezTo>
                  <a:cubicBezTo>
                    <a:pt x="35" y="464"/>
                    <a:pt x="35" y="465"/>
                    <a:pt x="35" y="465"/>
                  </a:cubicBezTo>
                  <a:cubicBezTo>
                    <a:pt x="35" y="465"/>
                    <a:pt x="34" y="465"/>
                    <a:pt x="34" y="466"/>
                  </a:cubicBezTo>
                  <a:cubicBezTo>
                    <a:pt x="33" y="465"/>
                    <a:pt x="34" y="466"/>
                    <a:pt x="33" y="465"/>
                  </a:cubicBezTo>
                  <a:cubicBezTo>
                    <a:pt x="33" y="465"/>
                    <a:pt x="33" y="465"/>
                    <a:pt x="33" y="465"/>
                  </a:cubicBezTo>
                  <a:cubicBezTo>
                    <a:pt x="33" y="465"/>
                    <a:pt x="33" y="465"/>
                    <a:pt x="32" y="464"/>
                  </a:cubicBezTo>
                  <a:cubicBezTo>
                    <a:pt x="32" y="464"/>
                    <a:pt x="31" y="463"/>
                    <a:pt x="30" y="462"/>
                  </a:cubicBezTo>
                  <a:cubicBezTo>
                    <a:pt x="30" y="462"/>
                    <a:pt x="30" y="462"/>
                    <a:pt x="30" y="461"/>
                  </a:cubicBezTo>
                  <a:cubicBezTo>
                    <a:pt x="29" y="461"/>
                    <a:pt x="28" y="460"/>
                    <a:pt x="28" y="459"/>
                  </a:cubicBezTo>
                  <a:cubicBezTo>
                    <a:pt x="28" y="459"/>
                    <a:pt x="28" y="459"/>
                    <a:pt x="28" y="459"/>
                  </a:cubicBezTo>
                  <a:cubicBezTo>
                    <a:pt x="27" y="458"/>
                    <a:pt x="26" y="457"/>
                    <a:pt x="25" y="457"/>
                  </a:cubicBezTo>
                  <a:cubicBezTo>
                    <a:pt x="25" y="457"/>
                    <a:pt x="25" y="456"/>
                    <a:pt x="25" y="456"/>
                  </a:cubicBezTo>
                  <a:cubicBezTo>
                    <a:pt x="25" y="456"/>
                    <a:pt x="25" y="456"/>
                    <a:pt x="24" y="455"/>
                  </a:cubicBezTo>
                  <a:cubicBezTo>
                    <a:pt x="24" y="455"/>
                    <a:pt x="24" y="455"/>
                    <a:pt x="23" y="454"/>
                  </a:cubicBezTo>
                  <a:cubicBezTo>
                    <a:pt x="23" y="454"/>
                    <a:pt x="23" y="454"/>
                    <a:pt x="23" y="454"/>
                  </a:cubicBezTo>
                  <a:cubicBezTo>
                    <a:pt x="23" y="454"/>
                    <a:pt x="23" y="454"/>
                    <a:pt x="23" y="453"/>
                  </a:cubicBezTo>
                  <a:cubicBezTo>
                    <a:pt x="22" y="453"/>
                    <a:pt x="21" y="452"/>
                    <a:pt x="21" y="451"/>
                  </a:cubicBezTo>
                  <a:cubicBezTo>
                    <a:pt x="17" y="446"/>
                    <a:pt x="12" y="442"/>
                    <a:pt x="9" y="437"/>
                  </a:cubicBezTo>
                  <a:cubicBezTo>
                    <a:pt x="8" y="436"/>
                    <a:pt x="7" y="436"/>
                    <a:pt x="7" y="435"/>
                  </a:cubicBezTo>
                  <a:cubicBezTo>
                    <a:pt x="7" y="435"/>
                    <a:pt x="7" y="435"/>
                    <a:pt x="7" y="434"/>
                  </a:cubicBezTo>
                  <a:cubicBezTo>
                    <a:pt x="6" y="434"/>
                    <a:pt x="5" y="433"/>
                    <a:pt x="4" y="432"/>
                  </a:cubicBezTo>
                  <a:cubicBezTo>
                    <a:pt x="4" y="432"/>
                    <a:pt x="4" y="432"/>
                    <a:pt x="4" y="432"/>
                  </a:cubicBezTo>
                  <a:cubicBezTo>
                    <a:pt x="3" y="431"/>
                    <a:pt x="2" y="430"/>
                    <a:pt x="2" y="430"/>
                  </a:cubicBezTo>
                  <a:cubicBezTo>
                    <a:pt x="2" y="429"/>
                    <a:pt x="2" y="429"/>
                    <a:pt x="2" y="429"/>
                  </a:cubicBezTo>
                  <a:cubicBezTo>
                    <a:pt x="2" y="429"/>
                    <a:pt x="1" y="429"/>
                    <a:pt x="1" y="429"/>
                  </a:cubicBezTo>
                  <a:cubicBezTo>
                    <a:pt x="1" y="428"/>
                    <a:pt x="0" y="428"/>
                    <a:pt x="0" y="426"/>
                  </a:cubicBezTo>
                  <a:cubicBezTo>
                    <a:pt x="0" y="426"/>
                    <a:pt x="0" y="426"/>
                    <a:pt x="0" y="426"/>
                  </a:cubicBezTo>
                  <a:cubicBezTo>
                    <a:pt x="0" y="426"/>
                    <a:pt x="0" y="425"/>
                    <a:pt x="0" y="425"/>
                  </a:cubicBezTo>
                  <a:cubicBezTo>
                    <a:pt x="0" y="425"/>
                    <a:pt x="0" y="425"/>
                    <a:pt x="1" y="425"/>
                  </a:cubicBezTo>
                  <a:cubicBezTo>
                    <a:pt x="1" y="424"/>
                    <a:pt x="1" y="424"/>
                    <a:pt x="1" y="424"/>
                  </a:cubicBezTo>
                  <a:cubicBezTo>
                    <a:pt x="1" y="424"/>
                    <a:pt x="1" y="424"/>
                    <a:pt x="1" y="424"/>
                  </a:cubicBezTo>
                  <a:cubicBezTo>
                    <a:pt x="1" y="424"/>
                    <a:pt x="1" y="424"/>
                    <a:pt x="1" y="423"/>
                  </a:cubicBezTo>
                  <a:cubicBezTo>
                    <a:pt x="1" y="423"/>
                    <a:pt x="1" y="423"/>
                    <a:pt x="1" y="423"/>
                  </a:cubicBezTo>
                  <a:cubicBezTo>
                    <a:pt x="1" y="423"/>
                    <a:pt x="1" y="423"/>
                    <a:pt x="1" y="423"/>
                  </a:cubicBezTo>
                  <a:cubicBezTo>
                    <a:pt x="1" y="423"/>
                    <a:pt x="2" y="423"/>
                    <a:pt x="2" y="423"/>
                  </a:cubicBezTo>
                  <a:cubicBezTo>
                    <a:pt x="2" y="422"/>
                    <a:pt x="2" y="422"/>
                    <a:pt x="2" y="422"/>
                  </a:cubicBezTo>
                  <a:cubicBezTo>
                    <a:pt x="2" y="422"/>
                    <a:pt x="2" y="422"/>
                    <a:pt x="2" y="422"/>
                  </a:cubicBezTo>
                  <a:cubicBezTo>
                    <a:pt x="2" y="422"/>
                    <a:pt x="2" y="421"/>
                    <a:pt x="2" y="421"/>
                  </a:cubicBezTo>
                  <a:cubicBezTo>
                    <a:pt x="2" y="421"/>
                    <a:pt x="2" y="421"/>
                    <a:pt x="2" y="421"/>
                  </a:cubicBezTo>
                  <a:cubicBezTo>
                    <a:pt x="2" y="421"/>
                    <a:pt x="2" y="421"/>
                    <a:pt x="2" y="420"/>
                  </a:cubicBezTo>
                  <a:cubicBezTo>
                    <a:pt x="2" y="420"/>
                    <a:pt x="3" y="420"/>
                    <a:pt x="3" y="420"/>
                  </a:cubicBezTo>
                  <a:cubicBezTo>
                    <a:pt x="3" y="420"/>
                    <a:pt x="3" y="420"/>
                    <a:pt x="3" y="420"/>
                  </a:cubicBezTo>
                  <a:cubicBezTo>
                    <a:pt x="3" y="420"/>
                    <a:pt x="3" y="420"/>
                    <a:pt x="3" y="420"/>
                  </a:cubicBezTo>
                  <a:cubicBezTo>
                    <a:pt x="3" y="420"/>
                    <a:pt x="3" y="419"/>
                    <a:pt x="3" y="419"/>
                  </a:cubicBezTo>
                  <a:cubicBezTo>
                    <a:pt x="3" y="419"/>
                    <a:pt x="3" y="419"/>
                    <a:pt x="3" y="419"/>
                  </a:cubicBezTo>
                  <a:cubicBezTo>
                    <a:pt x="3" y="419"/>
                    <a:pt x="3" y="419"/>
                    <a:pt x="3" y="418"/>
                  </a:cubicBezTo>
                  <a:cubicBezTo>
                    <a:pt x="4" y="418"/>
                    <a:pt x="4" y="418"/>
                    <a:pt x="4" y="418"/>
                  </a:cubicBezTo>
                  <a:cubicBezTo>
                    <a:pt x="4" y="418"/>
                    <a:pt x="4" y="418"/>
                    <a:pt x="4" y="418"/>
                  </a:cubicBezTo>
                  <a:cubicBezTo>
                    <a:pt x="4" y="418"/>
                    <a:pt x="4" y="418"/>
                    <a:pt x="4" y="418"/>
                  </a:cubicBezTo>
                  <a:cubicBezTo>
                    <a:pt x="4" y="417"/>
                    <a:pt x="4" y="417"/>
                    <a:pt x="4" y="417"/>
                  </a:cubicBezTo>
                  <a:cubicBezTo>
                    <a:pt x="4" y="417"/>
                    <a:pt x="4" y="417"/>
                    <a:pt x="4" y="417"/>
                  </a:cubicBezTo>
                  <a:cubicBezTo>
                    <a:pt x="4" y="417"/>
                    <a:pt x="4" y="417"/>
                    <a:pt x="4" y="416"/>
                  </a:cubicBezTo>
                  <a:cubicBezTo>
                    <a:pt x="5" y="416"/>
                    <a:pt x="5" y="416"/>
                    <a:pt x="5" y="416"/>
                  </a:cubicBezTo>
                  <a:cubicBezTo>
                    <a:pt x="5" y="416"/>
                    <a:pt x="5" y="415"/>
                    <a:pt x="5" y="414"/>
                  </a:cubicBezTo>
                  <a:cubicBezTo>
                    <a:pt x="6" y="414"/>
                    <a:pt x="6" y="414"/>
                    <a:pt x="6" y="414"/>
                  </a:cubicBezTo>
                  <a:cubicBezTo>
                    <a:pt x="6" y="413"/>
                    <a:pt x="6" y="413"/>
                    <a:pt x="7" y="412"/>
                  </a:cubicBezTo>
                  <a:cubicBezTo>
                    <a:pt x="7" y="412"/>
                    <a:pt x="7" y="412"/>
                    <a:pt x="7" y="412"/>
                  </a:cubicBezTo>
                  <a:cubicBezTo>
                    <a:pt x="7" y="412"/>
                    <a:pt x="7" y="411"/>
                    <a:pt x="7" y="411"/>
                  </a:cubicBezTo>
                  <a:cubicBezTo>
                    <a:pt x="7" y="411"/>
                    <a:pt x="7" y="411"/>
                    <a:pt x="8" y="411"/>
                  </a:cubicBezTo>
                  <a:cubicBezTo>
                    <a:pt x="8" y="410"/>
                    <a:pt x="8" y="410"/>
                    <a:pt x="8" y="409"/>
                  </a:cubicBezTo>
                  <a:cubicBezTo>
                    <a:pt x="8" y="409"/>
                    <a:pt x="8" y="409"/>
                    <a:pt x="8" y="409"/>
                  </a:cubicBezTo>
                  <a:cubicBezTo>
                    <a:pt x="8" y="409"/>
                    <a:pt x="8" y="409"/>
                    <a:pt x="8" y="409"/>
                  </a:cubicBezTo>
                  <a:cubicBezTo>
                    <a:pt x="8" y="409"/>
                    <a:pt x="9" y="409"/>
                    <a:pt x="9" y="409"/>
                  </a:cubicBezTo>
                  <a:cubicBezTo>
                    <a:pt x="9" y="408"/>
                    <a:pt x="9" y="408"/>
                    <a:pt x="9" y="408"/>
                  </a:cubicBezTo>
                  <a:cubicBezTo>
                    <a:pt x="9" y="408"/>
                    <a:pt x="9" y="408"/>
                    <a:pt x="9" y="408"/>
                  </a:cubicBezTo>
                  <a:cubicBezTo>
                    <a:pt x="9" y="408"/>
                    <a:pt x="9" y="407"/>
                    <a:pt x="9" y="407"/>
                  </a:cubicBezTo>
                  <a:cubicBezTo>
                    <a:pt x="9" y="407"/>
                    <a:pt x="9" y="407"/>
                    <a:pt x="9" y="407"/>
                  </a:cubicBezTo>
                  <a:cubicBezTo>
                    <a:pt x="9" y="407"/>
                    <a:pt x="9" y="407"/>
                    <a:pt x="9" y="406"/>
                  </a:cubicBezTo>
                  <a:cubicBezTo>
                    <a:pt x="9" y="406"/>
                    <a:pt x="10" y="406"/>
                    <a:pt x="10" y="406"/>
                  </a:cubicBezTo>
                  <a:cubicBezTo>
                    <a:pt x="10" y="406"/>
                    <a:pt x="10" y="406"/>
                    <a:pt x="10" y="406"/>
                  </a:cubicBezTo>
                  <a:cubicBezTo>
                    <a:pt x="10" y="406"/>
                    <a:pt x="10" y="406"/>
                    <a:pt x="10" y="406"/>
                  </a:cubicBezTo>
                  <a:cubicBezTo>
                    <a:pt x="10" y="405"/>
                    <a:pt x="10" y="405"/>
                    <a:pt x="10" y="404"/>
                  </a:cubicBezTo>
                  <a:cubicBezTo>
                    <a:pt x="10" y="404"/>
                    <a:pt x="11" y="404"/>
                    <a:pt x="11" y="404"/>
                  </a:cubicBezTo>
                  <a:cubicBezTo>
                    <a:pt x="11" y="404"/>
                    <a:pt x="11" y="404"/>
                    <a:pt x="11" y="404"/>
                  </a:cubicBezTo>
                  <a:cubicBezTo>
                    <a:pt x="11" y="404"/>
                    <a:pt x="11" y="404"/>
                    <a:pt x="11" y="404"/>
                  </a:cubicBezTo>
                  <a:cubicBezTo>
                    <a:pt x="11" y="403"/>
                    <a:pt x="11" y="403"/>
                    <a:pt x="11" y="403"/>
                  </a:cubicBezTo>
                  <a:cubicBezTo>
                    <a:pt x="11" y="403"/>
                    <a:pt x="11" y="403"/>
                    <a:pt x="11" y="403"/>
                  </a:cubicBezTo>
                  <a:cubicBezTo>
                    <a:pt x="11" y="403"/>
                    <a:pt x="11" y="403"/>
                    <a:pt x="11" y="402"/>
                  </a:cubicBezTo>
                  <a:cubicBezTo>
                    <a:pt x="12" y="402"/>
                    <a:pt x="12" y="402"/>
                    <a:pt x="12" y="402"/>
                  </a:cubicBezTo>
                  <a:cubicBezTo>
                    <a:pt x="12" y="402"/>
                    <a:pt x="12" y="402"/>
                    <a:pt x="12" y="402"/>
                  </a:cubicBezTo>
                  <a:cubicBezTo>
                    <a:pt x="12" y="402"/>
                    <a:pt x="12" y="402"/>
                    <a:pt x="12" y="402"/>
                  </a:cubicBezTo>
                  <a:cubicBezTo>
                    <a:pt x="12" y="401"/>
                    <a:pt x="12" y="401"/>
                    <a:pt x="12" y="401"/>
                  </a:cubicBezTo>
                  <a:cubicBezTo>
                    <a:pt x="12" y="401"/>
                    <a:pt x="12" y="401"/>
                    <a:pt x="12" y="401"/>
                  </a:cubicBezTo>
                  <a:cubicBezTo>
                    <a:pt x="13" y="400"/>
                    <a:pt x="13" y="399"/>
                    <a:pt x="13" y="399"/>
                  </a:cubicBezTo>
                  <a:cubicBezTo>
                    <a:pt x="14" y="399"/>
                    <a:pt x="15" y="399"/>
                    <a:pt x="15" y="399"/>
                  </a:cubicBezTo>
                  <a:cubicBezTo>
                    <a:pt x="16" y="400"/>
                    <a:pt x="18" y="399"/>
                    <a:pt x="19" y="400"/>
                  </a:cubicBezTo>
                  <a:cubicBezTo>
                    <a:pt x="19" y="400"/>
                    <a:pt x="19" y="400"/>
                    <a:pt x="19" y="400"/>
                  </a:cubicBezTo>
                  <a:cubicBezTo>
                    <a:pt x="20" y="400"/>
                    <a:pt x="21" y="400"/>
                    <a:pt x="22" y="400"/>
                  </a:cubicBezTo>
                  <a:cubicBezTo>
                    <a:pt x="23" y="401"/>
                    <a:pt x="26" y="401"/>
                    <a:pt x="28" y="402"/>
                  </a:cubicBezTo>
                  <a:cubicBezTo>
                    <a:pt x="29" y="402"/>
                    <a:pt x="29" y="402"/>
                    <a:pt x="30" y="402"/>
                  </a:cubicBezTo>
                  <a:cubicBezTo>
                    <a:pt x="32" y="402"/>
                    <a:pt x="34" y="403"/>
                    <a:pt x="36" y="403"/>
                  </a:cubicBezTo>
                  <a:cubicBezTo>
                    <a:pt x="37" y="401"/>
                    <a:pt x="37" y="400"/>
                    <a:pt x="37" y="398"/>
                  </a:cubicBezTo>
                  <a:cubicBezTo>
                    <a:pt x="37" y="398"/>
                    <a:pt x="38" y="398"/>
                    <a:pt x="38" y="398"/>
                  </a:cubicBezTo>
                  <a:cubicBezTo>
                    <a:pt x="38" y="398"/>
                    <a:pt x="38" y="397"/>
                    <a:pt x="38" y="397"/>
                  </a:cubicBezTo>
                  <a:cubicBezTo>
                    <a:pt x="38" y="397"/>
                    <a:pt x="38" y="397"/>
                    <a:pt x="38" y="397"/>
                  </a:cubicBezTo>
                  <a:cubicBezTo>
                    <a:pt x="38" y="396"/>
                    <a:pt x="38" y="395"/>
                    <a:pt x="38" y="394"/>
                  </a:cubicBezTo>
                  <a:cubicBezTo>
                    <a:pt x="38" y="394"/>
                    <a:pt x="39" y="394"/>
                    <a:pt x="39" y="394"/>
                  </a:cubicBezTo>
                  <a:cubicBezTo>
                    <a:pt x="39" y="394"/>
                    <a:pt x="39" y="394"/>
                    <a:pt x="39" y="393"/>
                  </a:cubicBezTo>
                  <a:cubicBezTo>
                    <a:pt x="39" y="393"/>
                    <a:pt x="39" y="393"/>
                    <a:pt x="39" y="393"/>
                  </a:cubicBezTo>
                  <a:cubicBezTo>
                    <a:pt x="39" y="393"/>
                    <a:pt x="39" y="393"/>
                    <a:pt x="39" y="392"/>
                  </a:cubicBezTo>
                  <a:cubicBezTo>
                    <a:pt x="39" y="392"/>
                    <a:pt x="39" y="392"/>
                    <a:pt x="39" y="392"/>
                  </a:cubicBezTo>
                  <a:cubicBezTo>
                    <a:pt x="39" y="392"/>
                    <a:pt x="39" y="391"/>
                    <a:pt x="39" y="391"/>
                  </a:cubicBezTo>
                  <a:cubicBezTo>
                    <a:pt x="40" y="391"/>
                    <a:pt x="40" y="391"/>
                    <a:pt x="40" y="391"/>
                  </a:cubicBezTo>
                  <a:cubicBezTo>
                    <a:pt x="40" y="390"/>
                    <a:pt x="40" y="389"/>
                    <a:pt x="40" y="388"/>
                  </a:cubicBezTo>
                  <a:cubicBezTo>
                    <a:pt x="40" y="388"/>
                    <a:pt x="40" y="388"/>
                    <a:pt x="40" y="388"/>
                  </a:cubicBezTo>
                  <a:cubicBezTo>
                    <a:pt x="41" y="387"/>
                    <a:pt x="41" y="387"/>
                    <a:pt x="41" y="386"/>
                  </a:cubicBezTo>
                  <a:cubicBezTo>
                    <a:pt x="41" y="386"/>
                    <a:pt x="41" y="386"/>
                    <a:pt x="41" y="386"/>
                  </a:cubicBezTo>
                  <a:cubicBezTo>
                    <a:pt x="41" y="386"/>
                    <a:pt x="41" y="385"/>
                    <a:pt x="41" y="385"/>
                  </a:cubicBezTo>
                  <a:cubicBezTo>
                    <a:pt x="41" y="385"/>
                    <a:pt x="41" y="385"/>
                    <a:pt x="42" y="385"/>
                  </a:cubicBezTo>
                  <a:cubicBezTo>
                    <a:pt x="42" y="384"/>
                    <a:pt x="42" y="384"/>
                    <a:pt x="42" y="384"/>
                  </a:cubicBezTo>
                  <a:cubicBezTo>
                    <a:pt x="42" y="384"/>
                    <a:pt x="42" y="384"/>
                    <a:pt x="42" y="384"/>
                  </a:cubicBezTo>
                  <a:cubicBezTo>
                    <a:pt x="42" y="383"/>
                    <a:pt x="42" y="383"/>
                    <a:pt x="42" y="382"/>
                  </a:cubicBezTo>
                  <a:cubicBezTo>
                    <a:pt x="42" y="382"/>
                    <a:pt x="42" y="382"/>
                    <a:pt x="42" y="382"/>
                  </a:cubicBezTo>
                  <a:cubicBezTo>
                    <a:pt x="42" y="382"/>
                    <a:pt x="42" y="382"/>
                    <a:pt x="42" y="381"/>
                  </a:cubicBezTo>
                  <a:cubicBezTo>
                    <a:pt x="42" y="381"/>
                    <a:pt x="42" y="381"/>
                    <a:pt x="43" y="381"/>
                  </a:cubicBezTo>
                  <a:cubicBezTo>
                    <a:pt x="43" y="381"/>
                    <a:pt x="43" y="380"/>
                    <a:pt x="43" y="380"/>
                  </a:cubicBezTo>
                  <a:cubicBezTo>
                    <a:pt x="43" y="380"/>
                    <a:pt x="43" y="380"/>
                    <a:pt x="43" y="380"/>
                  </a:cubicBezTo>
                  <a:cubicBezTo>
                    <a:pt x="43" y="379"/>
                    <a:pt x="43" y="378"/>
                    <a:pt x="43" y="377"/>
                  </a:cubicBezTo>
                  <a:cubicBezTo>
                    <a:pt x="43" y="377"/>
                    <a:pt x="43" y="377"/>
                    <a:pt x="44" y="377"/>
                  </a:cubicBezTo>
                  <a:cubicBezTo>
                    <a:pt x="44" y="375"/>
                    <a:pt x="45" y="374"/>
                    <a:pt x="45" y="372"/>
                  </a:cubicBezTo>
                  <a:cubicBezTo>
                    <a:pt x="45" y="372"/>
                    <a:pt x="45" y="372"/>
                    <a:pt x="45" y="372"/>
                  </a:cubicBezTo>
                  <a:cubicBezTo>
                    <a:pt x="45" y="371"/>
                    <a:pt x="45" y="371"/>
                    <a:pt x="45" y="370"/>
                  </a:cubicBezTo>
                  <a:cubicBezTo>
                    <a:pt x="45" y="370"/>
                    <a:pt x="44" y="370"/>
                    <a:pt x="44" y="370"/>
                  </a:cubicBezTo>
                  <a:cubicBezTo>
                    <a:pt x="44" y="370"/>
                    <a:pt x="44" y="370"/>
                    <a:pt x="44" y="370"/>
                  </a:cubicBezTo>
                  <a:cubicBezTo>
                    <a:pt x="44" y="370"/>
                    <a:pt x="44" y="370"/>
                    <a:pt x="44" y="370"/>
                  </a:cubicBezTo>
                  <a:cubicBezTo>
                    <a:pt x="44" y="369"/>
                    <a:pt x="44" y="369"/>
                    <a:pt x="44" y="369"/>
                  </a:cubicBezTo>
                  <a:cubicBezTo>
                    <a:pt x="44" y="369"/>
                    <a:pt x="44" y="369"/>
                    <a:pt x="44" y="369"/>
                  </a:cubicBezTo>
                  <a:cubicBezTo>
                    <a:pt x="44" y="368"/>
                    <a:pt x="44" y="368"/>
                    <a:pt x="44" y="368"/>
                  </a:cubicBezTo>
                  <a:cubicBezTo>
                    <a:pt x="43" y="368"/>
                    <a:pt x="43" y="368"/>
                    <a:pt x="43" y="368"/>
                  </a:cubicBezTo>
                  <a:cubicBezTo>
                    <a:pt x="43" y="368"/>
                    <a:pt x="43" y="367"/>
                    <a:pt x="43" y="367"/>
                  </a:cubicBezTo>
                  <a:cubicBezTo>
                    <a:pt x="43" y="367"/>
                    <a:pt x="43" y="367"/>
                    <a:pt x="43" y="367"/>
                  </a:cubicBezTo>
                  <a:cubicBezTo>
                    <a:pt x="43" y="367"/>
                    <a:pt x="43" y="366"/>
                    <a:pt x="43" y="366"/>
                  </a:cubicBezTo>
                  <a:cubicBezTo>
                    <a:pt x="42" y="366"/>
                    <a:pt x="42" y="366"/>
                    <a:pt x="42" y="366"/>
                  </a:cubicBezTo>
                  <a:cubicBezTo>
                    <a:pt x="42" y="365"/>
                    <a:pt x="42" y="365"/>
                    <a:pt x="42" y="365"/>
                  </a:cubicBezTo>
                  <a:cubicBezTo>
                    <a:pt x="42" y="365"/>
                    <a:pt x="42" y="365"/>
                    <a:pt x="42" y="365"/>
                  </a:cubicBezTo>
                  <a:cubicBezTo>
                    <a:pt x="42" y="364"/>
                    <a:pt x="42" y="364"/>
                    <a:pt x="42" y="364"/>
                  </a:cubicBezTo>
                  <a:cubicBezTo>
                    <a:pt x="42" y="364"/>
                    <a:pt x="42" y="364"/>
                    <a:pt x="42" y="364"/>
                  </a:cubicBezTo>
                  <a:cubicBezTo>
                    <a:pt x="41" y="363"/>
                    <a:pt x="41" y="363"/>
                    <a:pt x="41" y="362"/>
                  </a:cubicBezTo>
                  <a:cubicBezTo>
                    <a:pt x="41" y="362"/>
                    <a:pt x="41" y="362"/>
                    <a:pt x="41" y="362"/>
                  </a:cubicBezTo>
                  <a:cubicBezTo>
                    <a:pt x="41" y="362"/>
                    <a:pt x="41" y="361"/>
                    <a:pt x="41" y="361"/>
                  </a:cubicBezTo>
                  <a:cubicBezTo>
                    <a:pt x="41" y="361"/>
                    <a:pt x="41" y="361"/>
                    <a:pt x="40" y="361"/>
                  </a:cubicBezTo>
                  <a:cubicBezTo>
                    <a:pt x="40" y="361"/>
                    <a:pt x="40" y="360"/>
                    <a:pt x="40" y="360"/>
                  </a:cubicBezTo>
                  <a:cubicBezTo>
                    <a:pt x="40" y="360"/>
                    <a:pt x="40" y="360"/>
                    <a:pt x="40" y="360"/>
                  </a:cubicBezTo>
                  <a:cubicBezTo>
                    <a:pt x="40" y="359"/>
                    <a:pt x="40" y="358"/>
                    <a:pt x="39" y="358"/>
                  </a:cubicBezTo>
                  <a:cubicBezTo>
                    <a:pt x="39" y="358"/>
                    <a:pt x="39" y="358"/>
                    <a:pt x="39" y="358"/>
                  </a:cubicBezTo>
                  <a:cubicBezTo>
                    <a:pt x="39" y="358"/>
                    <a:pt x="39" y="357"/>
                    <a:pt x="39" y="357"/>
                  </a:cubicBezTo>
                  <a:cubicBezTo>
                    <a:pt x="39" y="357"/>
                    <a:pt x="39" y="357"/>
                    <a:pt x="39" y="357"/>
                  </a:cubicBezTo>
                  <a:cubicBezTo>
                    <a:pt x="39" y="357"/>
                    <a:pt x="39" y="356"/>
                    <a:pt x="39" y="356"/>
                  </a:cubicBezTo>
                  <a:cubicBezTo>
                    <a:pt x="39" y="356"/>
                    <a:pt x="38" y="356"/>
                    <a:pt x="38" y="356"/>
                  </a:cubicBezTo>
                  <a:cubicBezTo>
                    <a:pt x="38" y="356"/>
                    <a:pt x="38" y="355"/>
                    <a:pt x="38" y="355"/>
                  </a:cubicBezTo>
                  <a:cubicBezTo>
                    <a:pt x="38" y="355"/>
                    <a:pt x="38" y="355"/>
                    <a:pt x="38" y="355"/>
                  </a:cubicBezTo>
                  <a:cubicBezTo>
                    <a:pt x="38" y="355"/>
                    <a:pt x="38" y="354"/>
                    <a:pt x="38" y="354"/>
                  </a:cubicBezTo>
                  <a:cubicBezTo>
                    <a:pt x="38" y="354"/>
                    <a:pt x="37" y="354"/>
                    <a:pt x="37" y="354"/>
                  </a:cubicBezTo>
                  <a:cubicBezTo>
                    <a:pt x="37" y="353"/>
                    <a:pt x="37" y="353"/>
                    <a:pt x="37" y="353"/>
                  </a:cubicBezTo>
                  <a:cubicBezTo>
                    <a:pt x="37" y="353"/>
                    <a:pt x="37" y="353"/>
                    <a:pt x="37" y="353"/>
                  </a:cubicBezTo>
                  <a:cubicBezTo>
                    <a:pt x="37" y="352"/>
                    <a:pt x="37" y="352"/>
                    <a:pt x="37" y="352"/>
                  </a:cubicBezTo>
                  <a:cubicBezTo>
                    <a:pt x="37" y="352"/>
                    <a:pt x="37" y="352"/>
                    <a:pt x="37" y="352"/>
                  </a:cubicBezTo>
                  <a:cubicBezTo>
                    <a:pt x="37" y="352"/>
                    <a:pt x="37" y="351"/>
                    <a:pt x="37" y="351"/>
                  </a:cubicBezTo>
                  <a:cubicBezTo>
                    <a:pt x="36" y="351"/>
                    <a:pt x="36" y="351"/>
                    <a:pt x="36" y="351"/>
                  </a:cubicBezTo>
                  <a:cubicBezTo>
                    <a:pt x="36" y="351"/>
                    <a:pt x="36" y="350"/>
                    <a:pt x="36" y="350"/>
                  </a:cubicBezTo>
                  <a:cubicBezTo>
                    <a:pt x="36" y="350"/>
                    <a:pt x="36" y="350"/>
                    <a:pt x="36" y="350"/>
                  </a:cubicBezTo>
                  <a:cubicBezTo>
                    <a:pt x="36" y="348"/>
                    <a:pt x="35" y="347"/>
                    <a:pt x="35" y="345"/>
                  </a:cubicBezTo>
                  <a:cubicBezTo>
                    <a:pt x="34" y="340"/>
                    <a:pt x="33" y="335"/>
                    <a:pt x="32" y="330"/>
                  </a:cubicBezTo>
                  <a:cubicBezTo>
                    <a:pt x="31" y="329"/>
                    <a:pt x="31" y="327"/>
                    <a:pt x="31" y="326"/>
                  </a:cubicBezTo>
                  <a:cubicBezTo>
                    <a:pt x="27" y="318"/>
                    <a:pt x="24" y="310"/>
                    <a:pt x="20" y="303"/>
                  </a:cubicBezTo>
                  <a:cubicBezTo>
                    <a:pt x="20" y="299"/>
                    <a:pt x="20" y="296"/>
                    <a:pt x="21" y="293"/>
                  </a:cubicBezTo>
                  <a:cubicBezTo>
                    <a:pt x="21" y="293"/>
                    <a:pt x="21" y="293"/>
                    <a:pt x="21" y="293"/>
                  </a:cubicBezTo>
                  <a:cubicBezTo>
                    <a:pt x="21" y="291"/>
                    <a:pt x="21" y="289"/>
                    <a:pt x="21" y="287"/>
                  </a:cubicBezTo>
                  <a:cubicBezTo>
                    <a:pt x="21" y="287"/>
                    <a:pt x="21" y="287"/>
                    <a:pt x="22" y="287"/>
                  </a:cubicBezTo>
                  <a:cubicBezTo>
                    <a:pt x="22" y="286"/>
                    <a:pt x="22" y="285"/>
                    <a:pt x="22" y="284"/>
                  </a:cubicBezTo>
                  <a:cubicBezTo>
                    <a:pt x="22" y="284"/>
                    <a:pt x="22" y="284"/>
                    <a:pt x="22" y="284"/>
                  </a:cubicBezTo>
                  <a:cubicBezTo>
                    <a:pt x="22" y="283"/>
                    <a:pt x="22" y="282"/>
                    <a:pt x="22" y="281"/>
                  </a:cubicBezTo>
                  <a:cubicBezTo>
                    <a:pt x="22" y="281"/>
                    <a:pt x="22" y="281"/>
                    <a:pt x="22" y="281"/>
                  </a:cubicBezTo>
                  <a:cubicBezTo>
                    <a:pt x="22" y="280"/>
                    <a:pt x="22" y="278"/>
                    <a:pt x="22" y="277"/>
                  </a:cubicBezTo>
                  <a:cubicBezTo>
                    <a:pt x="22" y="277"/>
                    <a:pt x="23" y="277"/>
                    <a:pt x="23" y="277"/>
                  </a:cubicBezTo>
                  <a:cubicBezTo>
                    <a:pt x="23" y="277"/>
                    <a:pt x="23" y="276"/>
                    <a:pt x="23" y="275"/>
                  </a:cubicBezTo>
                  <a:cubicBezTo>
                    <a:pt x="23" y="275"/>
                    <a:pt x="23" y="275"/>
                    <a:pt x="23" y="275"/>
                  </a:cubicBezTo>
                  <a:cubicBezTo>
                    <a:pt x="23" y="274"/>
                    <a:pt x="23" y="273"/>
                    <a:pt x="23" y="272"/>
                  </a:cubicBezTo>
                  <a:cubicBezTo>
                    <a:pt x="23" y="272"/>
                    <a:pt x="23" y="272"/>
                    <a:pt x="23" y="272"/>
                  </a:cubicBezTo>
                  <a:cubicBezTo>
                    <a:pt x="23" y="271"/>
                    <a:pt x="23" y="270"/>
                    <a:pt x="23" y="269"/>
                  </a:cubicBezTo>
                  <a:cubicBezTo>
                    <a:pt x="23" y="269"/>
                    <a:pt x="24" y="269"/>
                    <a:pt x="24" y="269"/>
                  </a:cubicBezTo>
                  <a:cubicBezTo>
                    <a:pt x="24" y="269"/>
                    <a:pt x="24" y="269"/>
                    <a:pt x="24" y="269"/>
                  </a:cubicBezTo>
                  <a:cubicBezTo>
                    <a:pt x="26" y="269"/>
                    <a:pt x="28" y="269"/>
                    <a:pt x="30" y="268"/>
                  </a:cubicBezTo>
                  <a:cubicBezTo>
                    <a:pt x="31" y="268"/>
                    <a:pt x="32" y="268"/>
                    <a:pt x="33" y="268"/>
                  </a:cubicBezTo>
                  <a:cubicBezTo>
                    <a:pt x="33" y="268"/>
                    <a:pt x="33" y="268"/>
                    <a:pt x="33" y="268"/>
                  </a:cubicBezTo>
                  <a:cubicBezTo>
                    <a:pt x="33" y="268"/>
                    <a:pt x="34" y="268"/>
                    <a:pt x="35" y="268"/>
                  </a:cubicBezTo>
                  <a:cubicBezTo>
                    <a:pt x="35" y="268"/>
                    <a:pt x="35" y="267"/>
                    <a:pt x="35" y="267"/>
                  </a:cubicBezTo>
                  <a:cubicBezTo>
                    <a:pt x="36" y="267"/>
                    <a:pt x="36" y="267"/>
                    <a:pt x="37" y="267"/>
                  </a:cubicBezTo>
                  <a:cubicBezTo>
                    <a:pt x="37" y="267"/>
                    <a:pt x="37" y="267"/>
                    <a:pt x="37" y="267"/>
                  </a:cubicBezTo>
                  <a:cubicBezTo>
                    <a:pt x="38" y="267"/>
                    <a:pt x="39" y="267"/>
                    <a:pt x="39" y="267"/>
                  </a:cubicBezTo>
                  <a:cubicBezTo>
                    <a:pt x="39" y="267"/>
                    <a:pt x="39" y="267"/>
                    <a:pt x="39" y="267"/>
                  </a:cubicBezTo>
                  <a:cubicBezTo>
                    <a:pt x="40" y="266"/>
                    <a:pt x="40" y="266"/>
                    <a:pt x="41" y="266"/>
                  </a:cubicBezTo>
                  <a:cubicBezTo>
                    <a:pt x="41" y="265"/>
                    <a:pt x="41" y="265"/>
                    <a:pt x="41" y="263"/>
                  </a:cubicBezTo>
                  <a:cubicBezTo>
                    <a:pt x="42" y="263"/>
                    <a:pt x="41" y="261"/>
                    <a:pt x="42" y="260"/>
                  </a:cubicBezTo>
                  <a:cubicBezTo>
                    <a:pt x="42" y="259"/>
                    <a:pt x="42" y="258"/>
                    <a:pt x="42" y="256"/>
                  </a:cubicBezTo>
                  <a:cubicBezTo>
                    <a:pt x="42" y="256"/>
                    <a:pt x="41" y="256"/>
                    <a:pt x="41" y="256"/>
                  </a:cubicBezTo>
                  <a:cubicBezTo>
                    <a:pt x="41" y="256"/>
                    <a:pt x="41" y="256"/>
                    <a:pt x="41" y="255"/>
                  </a:cubicBezTo>
                  <a:cubicBezTo>
                    <a:pt x="41" y="255"/>
                    <a:pt x="41" y="255"/>
                    <a:pt x="41" y="255"/>
                  </a:cubicBezTo>
                  <a:cubicBezTo>
                    <a:pt x="41" y="255"/>
                    <a:pt x="41" y="255"/>
                    <a:pt x="41" y="255"/>
                  </a:cubicBezTo>
                  <a:cubicBezTo>
                    <a:pt x="41" y="255"/>
                    <a:pt x="41" y="255"/>
                    <a:pt x="40" y="255"/>
                  </a:cubicBezTo>
                  <a:cubicBezTo>
                    <a:pt x="40" y="254"/>
                    <a:pt x="40" y="254"/>
                    <a:pt x="40" y="254"/>
                  </a:cubicBezTo>
                  <a:cubicBezTo>
                    <a:pt x="40" y="254"/>
                    <a:pt x="40" y="254"/>
                    <a:pt x="40" y="254"/>
                  </a:cubicBezTo>
                  <a:cubicBezTo>
                    <a:pt x="40" y="254"/>
                    <a:pt x="40" y="254"/>
                    <a:pt x="40" y="253"/>
                  </a:cubicBezTo>
                  <a:cubicBezTo>
                    <a:pt x="40" y="253"/>
                    <a:pt x="40" y="253"/>
                    <a:pt x="40" y="253"/>
                  </a:cubicBezTo>
                  <a:cubicBezTo>
                    <a:pt x="40" y="253"/>
                    <a:pt x="40" y="253"/>
                    <a:pt x="40" y="253"/>
                  </a:cubicBezTo>
                  <a:cubicBezTo>
                    <a:pt x="40" y="253"/>
                    <a:pt x="40" y="253"/>
                    <a:pt x="39" y="253"/>
                  </a:cubicBezTo>
                  <a:cubicBezTo>
                    <a:pt x="39" y="252"/>
                    <a:pt x="39" y="252"/>
                    <a:pt x="39" y="252"/>
                  </a:cubicBezTo>
                  <a:cubicBezTo>
                    <a:pt x="39" y="252"/>
                    <a:pt x="39" y="252"/>
                    <a:pt x="39" y="252"/>
                  </a:cubicBezTo>
                  <a:cubicBezTo>
                    <a:pt x="39" y="251"/>
                    <a:pt x="39" y="251"/>
                    <a:pt x="39" y="251"/>
                  </a:cubicBezTo>
                  <a:cubicBezTo>
                    <a:pt x="39" y="251"/>
                    <a:pt x="38" y="251"/>
                    <a:pt x="38" y="251"/>
                  </a:cubicBezTo>
                  <a:cubicBezTo>
                    <a:pt x="38" y="250"/>
                    <a:pt x="38" y="249"/>
                    <a:pt x="38" y="248"/>
                  </a:cubicBezTo>
                  <a:cubicBezTo>
                    <a:pt x="37" y="248"/>
                    <a:pt x="37" y="248"/>
                    <a:pt x="37" y="248"/>
                  </a:cubicBezTo>
                  <a:cubicBezTo>
                    <a:pt x="37" y="248"/>
                    <a:pt x="37" y="248"/>
                    <a:pt x="37" y="247"/>
                  </a:cubicBezTo>
                  <a:cubicBezTo>
                    <a:pt x="37" y="247"/>
                    <a:pt x="37" y="247"/>
                    <a:pt x="37" y="247"/>
                  </a:cubicBezTo>
                  <a:cubicBezTo>
                    <a:pt x="37" y="247"/>
                    <a:pt x="37" y="247"/>
                    <a:pt x="37" y="247"/>
                  </a:cubicBezTo>
                  <a:cubicBezTo>
                    <a:pt x="36" y="247"/>
                    <a:pt x="36" y="247"/>
                    <a:pt x="36" y="247"/>
                  </a:cubicBezTo>
                  <a:cubicBezTo>
                    <a:pt x="36" y="246"/>
                    <a:pt x="36" y="246"/>
                    <a:pt x="36" y="246"/>
                  </a:cubicBezTo>
                  <a:cubicBezTo>
                    <a:pt x="36" y="246"/>
                    <a:pt x="36" y="246"/>
                    <a:pt x="36" y="246"/>
                  </a:cubicBezTo>
                  <a:cubicBezTo>
                    <a:pt x="36" y="246"/>
                    <a:pt x="36" y="246"/>
                    <a:pt x="36" y="245"/>
                  </a:cubicBezTo>
                  <a:cubicBezTo>
                    <a:pt x="36" y="245"/>
                    <a:pt x="35" y="245"/>
                    <a:pt x="35" y="245"/>
                  </a:cubicBezTo>
                  <a:cubicBezTo>
                    <a:pt x="35" y="245"/>
                    <a:pt x="35" y="244"/>
                    <a:pt x="35" y="244"/>
                  </a:cubicBezTo>
                  <a:cubicBezTo>
                    <a:pt x="35" y="244"/>
                    <a:pt x="35" y="244"/>
                    <a:pt x="35" y="244"/>
                  </a:cubicBezTo>
                  <a:cubicBezTo>
                    <a:pt x="35" y="244"/>
                    <a:pt x="35" y="243"/>
                    <a:pt x="35" y="243"/>
                  </a:cubicBezTo>
                  <a:cubicBezTo>
                    <a:pt x="34" y="243"/>
                    <a:pt x="34" y="243"/>
                    <a:pt x="34" y="243"/>
                  </a:cubicBezTo>
                  <a:cubicBezTo>
                    <a:pt x="34" y="242"/>
                    <a:pt x="34" y="242"/>
                    <a:pt x="33" y="241"/>
                  </a:cubicBezTo>
                  <a:cubicBezTo>
                    <a:pt x="33" y="241"/>
                    <a:pt x="33" y="241"/>
                    <a:pt x="33" y="241"/>
                  </a:cubicBezTo>
                  <a:cubicBezTo>
                    <a:pt x="33" y="241"/>
                    <a:pt x="33" y="241"/>
                    <a:pt x="33" y="240"/>
                  </a:cubicBezTo>
                  <a:cubicBezTo>
                    <a:pt x="33" y="240"/>
                    <a:pt x="32" y="240"/>
                    <a:pt x="32" y="240"/>
                  </a:cubicBezTo>
                  <a:cubicBezTo>
                    <a:pt x="32" y="240"/>
                    <a:pt x="32" y="240"/>
                    <a:pt x="32" y="239"/>
                  </a:cubicBezTo>
                  <a:cubicBezTo>
                    <a:pt x="32" y="239"/>
                    <a:pt x="32" y="239"/>
                    <a:pt x="31" y="239"/>
                  </a:cubicBezTo>
                  <a:cubicBezTo>
                    <a:pt x="31" y="239"/>
                    <a:pt x="31" y="239"/>
                    <a:pt x="31" y="238"/>
                  </a:cubicBezTo>
                  <a:cubicBezTo>
                    <a:pt x="31" y="238"/>
                    <a:pt x="31" y="238"/>
                    <a:pt x="31" y="238"/>
                  </a:cubicBezTo>
                  <a:cubicBezTo>
                    <a:pt x="31" y="238"/>
                    <a:pt x="31" y="237"/>
                    <a:pt x="31" y="237"/>
                  </a:cubicBezTo>
                  <a:cubicBezTo>
                    <a:pt x="31" y="237"/>
                    <a:pt x="30" y="237"/>
                    <a:pt x="30" y="237"/>
                  </a:cubicBezTo>
                  <a:cubicBezTo>
                    <a:pt x="30" y="237"/>
                    <a:pt x="30" y="237"/>
                    <a:pt x="30" y="237"/>
                  </a:cubicBezTo>
                  <a:cubicBezTo>
                    <a:pt x="30" y="237"/>
                    <a:pt x="30" y="237"/>
                    <a:pt x="30" y="237"/>
                  </a:cubicBezTo>
                  <a:cubicBezTo>
                    <a:pt x="30" y="236"/>
                    <a:pt x="30" y="236"/>
                    <a:pt x="30" y="235"/>
                  </a:cubicBezTo>
                  <a:cubicBezTo>
                    <a:pt x="33" y="235"/>
                    <a:pt x="37" y="235"/>
                    <a:pt x="40" y="234"/>
                  </a:cubicBezTo>
                  <a:cubicBezTo>
                    <a:pt x="40" y="234"/>
                    <a:pt x="40" y="234"/>
                    <a:pt x="40" y="234"/>
                  </a:cubicBezTo>
                  <a:cubicBezTo>
                    <a:pt x="42" y="234"/>
                    <a:pt x="44" y="234"/>
                    <a:pt x="46" y="234"/>
                  </a:cubicBezTo>
                  <a:cubicBezTo>
                    <a:pt x="48" y="233"/>
                    <a:pt x="51" y="233"/>
                    <a:pt x="53" y="232"/>
                  </a:cubicBezTo>
                  <a:cubicBezTo>
                    <a:pt x="54" y="232"/>
                    <a:pt x="55" y="232"/>
                    <a:pt x="57" y="232"/>
                  </a:cubicBezTo>
                  <a:cubicBezTo>
                    <a:pt x="57" y="232"/>
                    <a:pt x="57" y="231"/>
                    <a:pt x="57" y="231"/>
                  </a:cubicBezTo>
                  <a:cubicBezTo>
                    <a:pt x="57" y="231"/>
                    <a:pt x="57" y="231"/>
                    <a:pt x="58" y="231"/>
                  </a:cubicBezTo>
                  <a:cubicBezTo>
                    <a:pt x="58" y="231"/>
                    <a:pt x="58" y="231"/>
                    <a:pt x="58" y="231"/>
                  </a:cubicBezTo>
                  <a:cubicBezTo>
                    <a:pt x="58" y="231"/>
                    <a:pt x="59" y="231"/>
                    <a:pt x="59" y="231"/>
                  </a:cubicBezTo>
                  <a:cubicBezTo>
                    <a:pt x="59" y="231"/>
                    <a:pt x="59" y="231"/>
                    <a:pt x="59" y="231"/>
                  </a:cubicBezTo>
                  <a:cubicBezTo>
                    <a:pt x="59" y="231"/>
                    <a:pt x="60" y="231"/>
                    <a:pt x="60" y="231"/>
                  </a:cubicBezTo>
                  <a:cubicBezTo>
                    <a:pt x="60" y="230"/>
                    <a:pt x="60" y="230"/>
                    <a:pt x="60" y="230"/>
                  </a:cubicBezTo>
                  <a:cubicBezTo>
                    <a:pt x="60" y="230"/>
                    <a:pt x="61" y="230"/>
                    <a:pt x="61" y="230"/>
                  </a:cubicBezTo>
                  <a:cubicBezTo>
                    <a:pt x="61" y="230"/>
                    <a:pt x="61" y="230"/>
                    <a:pt x="61" y="230"/>
                  </a:cubicBezTo>
                  <a:cubicBezTo>
                    <a:pt x="61" y="230"/>
                    <a:pt x="61" y="230"/>
                    <a:pt x="62" y="230"/>
                  </a:cubicBezTo>
                  <a:cubicBezTo>
                    <a:pt x="62" y="230"/>
                    <a:pt x="62" y="230"/>
                    <a:pt x="62" y="230"/>
                  </a:cubicBezTo>
                  <a:cubicBezTo>
                    <a:pt x="63" y="229"/>
                    <a:pt x="65" y="228"/>
                    <a:pt x="66" y="226"/>
                  </a:cubicBezTo>
                  <a:cubicBezTo>
                    <a:pt x="66" y="226"/>
                    <a:pt x="66" y="226"/>
                    <a:pt x="66" y="226"/>
                  </a:cubicBezTo>
                  <a:cubicBezTo>
                    <a:pt x="66" y="225"/>
                    <a:pt x="66" y="223"/>
                    <a:pt x="67" y="221"/>
                  </a:cubicBezTo>
                  <a:cubicBezTo>
                    <a:pt x="67" y="221"/>
                    <a:pt x="66" y="221"/>
                    <a:pt x="66" y="221"/>
                  </a:cubicBezTo>
                  <a:cubicBezTo>
                    <a:pt x="66" y="220"/>
                    <a:pt x="66" y="219"/>
                    <a:pt x="66" y="218"/>
                  </a:cubicBezTo>
                  <a:cubicBezTo>
                    <a:pt x="66" y="218"/>
                    <a:pt x="66" y="218"/>
                    <a:pt x="66" y="218"/>
                  </a:cubicBezTo>
                  <a:cubicBezTo>
                    <a:pt x="66" y="218"/>
                    <a:pt x="66" y="217"/>
                    <a:pt x="66" y="216"/>
                  </a:cubicBezTo>
                  <a:cubicBezTo>
                    <a:pt x="66" y="216"/>
                    <a:pt x="66" y="216"/>
                    <a:pt x="66" y="216"/>
                  </a:cubicBezTo>
                  <a:cubicBezTo>
                    <a:pt x="66" y="215"/>
                    <a:pt x="65" y="214"/>
                    <a:pt x="65" y="213"/>
                  </a:cubicBezTo>
                  <a:cubicBezTo>
                    <a:pt x="65" y="213"/>
                    <a:pt x="65" y="213"/>
                    <a:pt x="65" y="213"/>
                  </a:cubicBezTo>
                  <a:cubicBezTo>
                    <a:pt x="65" y="213"/>
                    <a:pt x="65" y="212"/>
                    <a:pt x="65" y="212"/>
                  </a:cubicBezTo>
                  <a:cubicBezTo>
                    <a:pt x="65" y="212"/>
                    <a:pt x="65" y="212"/>
                    <a:pt x="65" y="212"/>
                  </a:cubicBezTo>
                  <a:cubicBezTo>
                    <a:pt x="65" y="211"/>
                    <a:pt x="65" y="211"/>
                    <a:pt x="65" y="210"/>
                  </a:cubicBezTo>
                  <a:cubicBezTo>
                    <a:pt x="64" y="210"/>
                    <a:pt x="64" y="210"/>
                    <a:pt x="64" y="210"/>
                  </a:cubicBezTo>
                  <a:cubicBezTo>
                    <a:pt x="64" y="210"/>
                    <a:pt x="64" y="209"/>
                    <a:pt x="64" y="209"/>
                  </a:cubicBezTo>
                  <a:cubicBezTo>
                    <a:pt x="64" y="208"/>
                    <a:pt x="63" y="205"/>
                    <a:pt x="64" y="204"/>
                  </a:cubicBezTo>
                  <a:cubicBezTo>
                    <a:pt x="64" y="204"/>
                    <a:pt x="64" y="204"/>
                    <a:pt x="64" y="204"/>
                  </a:cubicBezTo>
                  <a:cubicBezTo>
                    <a:pt x="64" y="204"/>
                    <a:pt x="64" y="203"/>
                    <a:pt x="64" y="203"/>
                  </a:cubicBezTo>
                  <a:cubicBezTo>
                    <a:pt x="65" y="202"/>
                    <a:pt x="65" y="202"/>
                    <a:pt x="65" y="202"/>
                  </a:cubicBezTo>
                  <a:cubicBezTo>
                    <a:pt x="65" y="202"/>
                    <a:pt x="65" y="202"/>
                    <a:pt x="65" y="202"/>
                  </a:cubicBezTo>
                  <a:cubicBezTo>
                    <a:pt x="66" y="201"/>
                    <a:pt x="67" y="201"/>
                    <a:pt x="68" y="201"/>
                  </a:cubicBezTo>
                  <a:cubicBezTo>
                    <a:pt x="68" y="201"/>
                    <a:pt x="68" y="201"/>
                    <a:pt x="68" y="201"/>
                  </a:cubicBezTo>
                  <a:cubicBezTo>
                    <a:pt x="69" y="200"/>
                    <a:pt x="70" y="200"/>
                    <a:pt x="71" y="200"/>
                  </a:cubicBezTo>
                  <a:cubicBezTo>
                    <a:pt x="71" y="200"/>
                    <a:pt x="71" y="200"/>
                    <a:pt x="71" y="200"/>
                  </a:cubicBezTo>
                  <a:cubicBezTo>
                    <a:pt x="72" y="200"/>
                    <a:pt x="72" y="200"/>
                    <a:pt x="73" y="199"/>
                  </a:cubicBezTo>
                  <a:cubicBezTo>
                    <a:pt x="73" y="199"/>
                    <a:pt x="73" y="199"/>
                    <a:pt x="73" y="199"/>
                  </a:cubicBezTo>
                  <a:cubicBezTo>
                    <a:pt x="74" y="199"/>
                    <a:pt x="74" y="199"/>
                    <a:pt x="74" y="198"/>
                  </a:cubicBezTo>
                  <a:cubicBezTo>
                    <a:pt x="74" y="198"/>
                    <a:pt x="75" y="198"/>
                    <a:pt x="75" y="197"/>
                  </a:cubicBezTo>
                  <a:cubicBezTo>
                    <a:pt x="75" y="197"/>
                    <a:pt x="75" y="197"/>
                    <a:pt x="75" y="197"/>
                  </a:cubicBezTo>
                  <a:cubicBezTo>
                    <a:pt x="75" y="197"/>
                    <a:pt x="75" y="197"/>
                    <a:pt x="75" y="197"/>
                  </a:cubicBezTo>
                  <a:cubicBezTo>
                    <a:pt x="75" y="197"/>
                    <a:pt x="75" y="197"/>
                    <a:pt x="75" y="197"/>
                  </a:cubicBezTo>
                  <a:cubicBezTo>
                    <a:pt x="75" y="196"/>
                    <a:pt x="75" y="195"/>
                    <a:pt x="75" y="195"/>
                  </a:cubicBezTo>
                  <a:cubicBezTo>
                    <a:pt x="76" y="195"/>
                    <a:pt x="76" y="195"/>
                    <a:pt x="76" y="195"/>
                  </a:cubicBezTo>
                  <a:cubicBezTo>
                    <a:pt x="76" y="191"/>
                    <a:pt x="76" y="187"/>
                    <a:pt x="76" y="183"/>
                  </a:cubicBezTo>
                  <a:cubicBezTo>
                    <a:pt x="76" y="178"/>
                    <a:pt x="75" y="170"/>
                    <a:pt x="76" y="167"/>
                  </a:cubicBezTo>
                  <a:cubicBezTo>
                    <a:pt x="76" y="165"/>
                    <a:pt x="76" y="163"/>
                    <a:pt x="76" y="161"/>
                  </a:cubicBezTo>
                  <a:cubicBezTo>
                    <a:pt x="77" y="161"/>
                    <a:pt x="77" y="161"/>
                    <a:pt x="77" y="161"/>
                  </a:cubicBezTo>
                  <a:cubicBezTo>
                    <a:pt x="77" y="160"/>
                    <a:pt x="77" y="159"/>
                    <a:pt x="77" y="159"/>
                  </a:cubicBezTo>
                  <a:cubicBezTo>
                    <a:pt x="77" y="159"/>
                    <a:pt x="77" y="159"/>
                    <a:pt x="77" y="159"/>
                  </a:cubicBezTo>
                  <a:cubicBezTo>
                    <a:pt x="77" y="158"/>
                    <a:pt x="77" y="157"/>
                    <a:pt x="77" y="156"/>
                  </a:cubicBezTo>
                  <a:cubicBezTo>
                    <a:pt x="77" y="156"/>
                    <a:pt x="77" y="156"/>
                    <a:pt x="78" y="156"/>
                  </a:cubicBezTo>
                  <a:cubicBezTo>
                    <a:pt x="78" y="156"/>
                    <a:pt x="78" y="155"/>
                    <a:pt x="78" y="154"/>
                  </a:cubicBezTo>
                  <a:cubicBezTo>
                    <a:pt x="78" y="154"/>
                    <a:pt x="78" y="154"/>
                    <a:pt x="78" y="154"/>
                  </a:cubicBezTo>
                  <a:cubicBezTo>
                    <a:pt x="78" y="153"/>
                    <a:pt x="78" y="152"/>
                    <a:pt x="79" y="152"/>
                  </a:cubicBezTo>
                  <a:cubicBezTo>
                    <a:pt x="79" y="152"/>
                    <a:pt x="79" y="152"/>
                    <a:pt x="79" y="152"/>
                  </a:cubicBezTo>
                  <a:cubicBezTo>
                    <a:pt x="79" y="151"/>
                    <a:pt x="79" y="150"/>
                    <a:pt x="80" y="149"/>
                  </a:cubicBezTo>
                  <a:cubicBezTo>
                    <a:pt x="80" y="149"/>
                    <a:pt x="80" y="149"/>
                    <a:pt x="80" y="149"/>
                  </a:cubicBezTo>
                  <a:cubicBezTo>
                    <a:pt x="80" y="149"/>
                    <a:pt x="80" y="149"/>
                    <a:pt x="80" y="148"/>
                  </a:cubicBezTo>
                  <a:cubicBezTo>
                    <a:pt x="81" y="148"/>
                    <a:pt x="81" y="148"/>
                    <a:pt x="81" y="148"/>
                  </a:cubicBezTo>
                  <a:cubicBezTo>
                    <a:pt x="81" y="147"/>
                    <a:pt x="81" y="147"/>
                    <a:pt x="81" y="146"/>
                  </a:cubicBezTo>
                  <a:cubicBezTo>
                    <a:pt x="82" y="146"/>
                    <a:pt x="82" y="146"/>
                    <a:pt x="82" y="146"/>
                  </a:cubicBezTo>
                  <a:cubicBezTo>
                    <a:pt x="82" y="146"/>
                    <a:pt x="82" y="145"/>
                    <a:pt x="82" y="145"/>
                  </a:cubicBezTo>
                  <a:cubicBezTo>
                    <a:pt x="82" y="145"/>
                    <a:pt x="83" y="145"/>
                    <a:pt x="83" y="145"/>
                  </a:cubicBezTo>
                  <a:cubicBezTo>
                    <a:pt x="83" y="145"/>
                    <a:pt x="83" y="144"/>
                    <a:pt x="83" y="144"/>
                  </a:cubicBezTo>
                  <a:cubicBezTo>
                    <a:pt x="83" y="144"/>
                    <a:pt x="83" y="144"/>
                    <a:pt x="84" y="143"/>
                  </a:cubicBezTo>
                  <a:cubicBezTo>
                    <a:pt x="84" y="143"/>
                    <a:pt x="84" y="143"/>
                    <a:pt x="84" y="143"/>
                  </a:cubicBezTo>
                  <a:cubicBezTo>
                    <a:pt x="84" y="143"/>
                    <a:pt x="84" y="143"/>
                    <a:pt x="85" y="142"/>
                  </a:cubicBezTo>
                  <a:cubicBezTo>
                    <a:pt x="85" y="142"/>
                    <a:pt x="85" y="142"/>
                    <a:pt x="85" y="142"/>
                  </a:cubicBezTo>
                  <a:cubicBezTo>
                    <a:pt x="85" y="141"/>
                    <a:pt x="85" y="141"/>
                    <a:pt x="86" y="141"/>
                  </a:cubicBezTo>
                  <a:cubicBezTo>
                    <a:pt x="86" y="140"/>
                    <a:pt x="86" y="140"/>
                    <a:pt x="86" y="140"/>
                  </a:cubicBezTo>
                  <a:cubicBezTo>
                    <a:pt x="87" y="140"/>
                    <a:pt x="87" y="139"/>
                    <a:pt x="87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87" y="138"/>
                    <a:pt x="88" y="138"/>
                    <a:pt x="88" y="138"/>
                  </a:cubicBezTo>
                  <a:cubicBezTo>
                    <a:pt x="88" y="138"/>
                    <a:pt x="88" y="137"/>
                    <a:pt x="88" y="137"/>
                  </a:cubicBezTo>
                  <a:cubicBezTo>
                    <a:pt x="88" y="137"/>
                    <a:pt x="89" y="137"/>
                    <a:pt x="89" y="137"/>
                  </a:cubicBezTo>
                  <a:cubicBezTo>
                    <a:pt x="90" y="136"/>
                    <a:pt x="91" y="133"/>
                    <a:pt x="91" y="131"/>
                  </a:cubicBezTo>
                  <a:cubicBezTo>
                    <a:pt x="91" y="131"/>
                    <a:pt x="91" y="131"/>
                    <a:pt x="90" y="131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90" y="131"/>
                    <a:pt x="90" y="131"/>
                    <a:pt x="90" y="131"/>
                  </a:cubicBezTo>
                  <a:cubicBezTo>
                    <a:pt x="90" y="130"/>
                    <a:pt x="90" y="130"/>
                    <a:pt x="90" y="130"/>
                  </a:cubicBezTo>
                  <a:cubicBezTo>
                    <a:pt x="90" y="130"/>
                    <a:pt x="89" y="130"/>
                    <a:pt x="89" y="130"/>
                  </a:cubicBezTo>
                  <a:cubicBezTo>
                    <a:pt x="89" y="130"/>
                    <a:pt x="89" y="129"/>
                    <a:pt x="89" y="129"/>
                  </a:cubicBezTo>
                  <a:cubicBezTo>
                    <a:pt x="88" y="129"/>
                    <a:pt x="88" y="129"/>
                    <a:pt x="88" y="129"/>
                  </a:cubicBezTo>
                  <a:cubicBezTo>
                    <a:pt x="88" y="129"/>
                    <a:pt x="88" y="129"/>
                    <a:pt x="88" y="128"/>
                  </a:cubicBezTo>
                  <a:cubicBezTo>
                    <a:pt x="87" y="128"/>
                    <a:pt x="87" y="128"/>
                    <a:pt x="87" y="128"/>
                  </a:cubicBezTo>
                  <a:cubicBezTo>
                    <a:pt x="87" y="128"/>
                    <a:pt x="87" y="128"/>
                    <a:pt x="87" y="128"/>
                  </a:cubicBezTo>
                  <a:cubicBezTo>
                    <a:pt x="87" y="128"/>
                    <a:pt x="87" y="128"/>
                    <a:pt x="86" y="128"/>
                  </a:cubicBezTo>
                  <a:cubicBezTo>
                    <a:pt x="86" y="128"/>
                    <a:pt x="86" y="128"/>
                    <a:pt x="86" y="128"/>
                  </a:cubicBezTo>
                  <a:cubicBezTo>
                    <a:pt x="86" y="128"/>
                    <a:pt x="86" y="128"/>
                    <a:pt x="86" y="128"/>
                  </a:cubicBezTo>
                  <a:cubicBezTo>
                    <a:pt x="86" y="128"/>
                    <a:pt x="86" y="128"/>
                    <a:pt x="86" y="127"/>
                  </a:cubicBezTo>
                  <a:cubicBezTo>
                    <a:pt x="85" y="127"/>
                    <a:pt x="85" y="127"/>
                    <a:pt x="85" y="127"/>
                  </a:cubicBezTo>
                  <a:cubicBezTo>
                    <a:pt x="85" y="127"/>
                    <a:pt x="85" y="127"/>
                    <a:pt x="85" y="127"/>
                  </a:cubicBezTo>
                  <a:cubicBezTo>
                    <a:pt x="84" y="127"/>
                    <a:pt x="83" y="127"/>
                    <a:pt x="83" y="126"/>
                  </a:cubicBezTo>
                  <a:cubicBezTo>
                    <a:pt x="83" y="126"/>
                    <a:pt x="83" y="126"/>
                    <a:pt x="83" y="126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1" y="126"/>
                    <a:pt x="81" y="126"/>
                    <a:pt x="81" y="126"/>
                  </a:cubicBezTo>
                  <a:cubicBezTo>
                    <a:pt x="81" y="126"/>
                    <a:pt x="81" y="125"/>
                    <a:pt x="81" y="125"/>
                  </a:cubicBezTo>
                  <a:cubicBezTo>
                    <a:pt x="78" y="124"/>
                    <a:pt x="74" y="123"/>
                    <a:pt x="71" y="123"/>
                  </a:cubicBezTo>
                  <a:cubicBezTo>
                    <a:pt x="69" y="122"/>
                    <a:pt x="65" y="123"/>
                    <a:pt x="65" y="123"/>
                  </a:cubicBezTo>
                  <a:cubicBezTo>
                    <a:pt x="64" y="124"/>
                    <a:pt x="63" y="125"/>
                    <a:pt x="63" y="125"/>
                  </a:cubicBezTo>
                  <a:cubicBezTo>
                    <a:pt x="63" y="125"/>
                    <a:pt x="62" y="126"/>
                    <a:pt x="62" y="126"/>
                  </a:cubicBezTo>
                  <a:cubicBezTo>
                    <a:pt x="62" y="126"/>
                    <a:pt x="62" y="126"/>
                    <a:pt x="62" y="126"/>
                  </a:cubicBezTo>
                  <a:cubicBezTo>
                    <a:pt x="62" y="127"/>
                    <a:pt x="61" y="127"/>
                    <a:pt x="61" y="127"/>
                  </a:cubicBezTo>
                  <a:cubicBezTo>
                    <a:pt x="61" y="127"/>
                    <a:pt x="61" y="128"/>
                    <a:pt x="61" y="128"/>
                  </a:cubicBezTo>
                  <a:cubicBezTo>
                    <a:pt x="61" y="128"/>
                    <a:pt x="60" y="128"/>
                    <a:pt x="60" y="128"/>
                  </a:cubicBezTo>
                  <a:cubicBezTo>
                    <a:pt x="60" y="129"/>
                    <a:pt x="60" y="129"/>
                    <a:pt x="60" y="129"/>
                  </a:cubicBezTo>
                  <a:cubicBezTo>
                    <a:pt x="60" y="129"/>
                    <a:pt x="60" y="129"/>
                    <a:pt x="59" y="130"/>
                  </a:cubicBezTo>
                  <a:cubicBezTo>
                    <a:pt x="59" y="130"/>
                    <a:pt x="59" y="130"/>
                    <a:pt x="59" y="130"/>
                  </a:cubicBezTo>
                  <a:cubicBezTo>
                    <a:pt x="59" y="130"/>
                    <a:pt x="59" y="130"/>
                    <a:pt x="59" y="131"/>
                  </a:cubicBezTo>
                  <a:cubicBezTo>
                    <a:pt x="59" y="131"/>
                    <a:pt x="58" y="131"/>
                    <a:pt x="58" y="132"/>
                  </a:cubicBezTo>
                  <a:cubicBezTo>
                    <a:pt x="58" y="132"/>
                    <a:pt x="58" y="132"/>
                    <a:pt x="58" y="132"/>
                  </a:cubicBezTo>
                  <a:cubicBezTo>
                    <a:pt x="58" y="132"/>
                    <a:pt x="58" y="133"/>
                    <a:pt x="58" y="133"/>
                  </a:cubicBezTo>
                  <a:cubicBezTo>
                    <a:pt x="57" y="133"/>
                    <a:pt x="57" y="133"/>
                    <a:pt x="57" y="133"/>
                  </a:cubicBezTo>
                  <a:cubicBezTo>
                    <a:pt x="57" y="134"/>
                    <a:pt x="57" y="134"/>
                    <a:pt x="57" y="134"/>
                  </a:cubicBezTo>
                  <a:cubicBezTo>
                    <a:pt x="57" y="134"/>
                    <a:pt x="56" y="134"/>
                    <a:pt x="56" y="134"/>
                  </a:cubicBezTo>
                  <a:cubicBezTo>
                    <a:pt x="56" y="135"/>
                    <a:pt x="56" y="135"/>
                    <a:pt x="56" y="136"/>
                  </a:cubicBezTo>
                  <a:cubicBezTo>
                    <a:pt x="56" y="136"/>
                    <a:pt x="55" y="136"/>
                    <a:pt x="55" y="136"/>
                  </a:cubicBezTo>
                  <a:cubicBezTo>
                    <a:pt x="55" y="136"/>
                    <a:pt x="55" y="137"/>
                    <a:pt x="55" y="137"/>
                  </a:cubicBezTo>
                  <a:cubicBezTo>
                    <a:pt x="55" y="137"/>
                    <a:pt x="55" y="137"/>
                    <a:pt x="54" y="137"/>
                  </a:cubicBezTo>
                  <a:cubicBezTo>
                    <a:pt x="54" y="138"/>
                    <a:pt x="54" y="138"/>
                    <a:pt x="54" y="139"/>
                  </a:cubicBezTo>
                  <a:cubicBezTo>
                    <a:pt x="54" y="139"/>
                    <a:pt x="54" y="139"/>
                    <a:pt x="54" y="139"/>
                  </a:cubicBezTo>
                  <a:cubicBezTo>
                    <a:pt x="54" y="139"/>
                    <a:pt x="54" y="139"/>
                    <a:pt x="53" y="140"/>
                  </a:cubicBezTo>
                  <a:cubicBezTo>
                    <a:pt x="53" y="140"/>
                    <a:pt x="53" y="140"/>
                    <a:pt x="53" y="140"/>
                  </a:cubicBezTo>
                  <a:cubicBezTo>
                    <a:pt x="53" y="140"/>
                    <a:pt x="52" y="141"/>
                    <a:pt x="52" y="141"/>
                  </a:cubicBezTo>
                  <a:cubicBezTo>
                    <a:pt x="52" y="142"/>
                    <a:pt x="52" y="142"/>
                    <a:pt x="52" y="142"/>
                  </a:cubicBezTo>
                  <a:cubicBezTo>
                    <a:pt x="52" y="142"/>
                    <a:pt x="52" y="142"/>
                    <a:pt x="52" y="142"/>
                  </a:cubicBezTo>
                  <a:cubicBezTo>
                    <a:pt x="51" y="143"/>
                    <a:pt x="51" y="143"/>
                    <a:pt x="51" y="143"/>
                  </a:cubicBezTo>
                  <a:cubicBezTo>
                    <a:pt x="51" y="143"/>
                    <a:pt x="51" y="143"/>
                    <a:pt x="51" y="143"/>
                  </a:cubicBezTo>
                  <a:cubicBezTo>
                    <a:pt x="51" y="144"/>
                    <a:pt x="50" y="144"/>
                    <a:pt x="50" y="144"/>
                  </a:cubicBezTo>
                  <a:cubicBezTo>
                    <a:pt x="50" y="144"/>
                    <a:pt x="50" y="144"/>
                    <a:pt x="50" y="145"/>
                  </a:cubicBezTo>
                  <a:cubicBezTo>
                    <a:pt x="50" y="145"/>
                    <a:pt x="50" y="145"/>
                    <a:pt x="50" y="145"/>
                  </a:cubicBezTo>
                  <a:cubicBezTo>
                    <a:pt x="50" y="145"/>
                    <a:pt x="50" y="145"/>
                    <a:pt x="50" y="146"/>
                  </a:cubicBezTo>
                  <a:cubicBezTo>
                    <a:pt x="49" y="146"/>
                    <a:pt x="49" y="146"/>
                    <a:pt x="48" y="147"/>
                  </a:cubicBezTo>
                  <a:cubicBezTo>
                    <a:pt x="48" y="147"/>
                    <a:pt x="48" y="147"/>
                    <a:pt x="48" y="147"/>
                  </a:cubicBezTo>
                  <a:cubicBezTo>
                    <a:pt x="48" y="147"/>
                    <a:pt x="48" y="148"/>
                    <a:pt x="47" y="148"/>
                  </a:cubicBezTo>
                  <a:cubicBezTo>
                    <a:pt x="47" y="148"/>
                    <a:pt x="47" y="148"/>
                    <a:pt x="47" y="148"/>
                  </a:cubicBezTo>
                  <a:cubicBezTo>
                    <a:pt x="47" y="148"/>
                    <a:pt x="47" y="148"/>
                    <a:pt x="47" y="148"/>
                  </a:cubicBezTo>
                  <a:cubicBezTo>
                    <a:pt x="47" y="148"/>
                    <a:pt x="47" y="149"/>
                    <a:pt x="46" y="149"/>
                  </a:cubicBezTo>
                  <a:cubicBezTo>
                    <a:pt x="46" y="149"/>
                    <a:pt x="45" y="149"/>
                    <a:pt x="45" y="149"/>
                  </a:cubicBezTo>
                  <a:cubicBezTo>
                    <a:pt x="45" y="149"/>
                    <a:pt x="45" y="149"/>
                    <a:pt x="45" y="149"/>
                  </a:cubicBezTo>
                  <a:cubicBezTo>
                    <a:pt x="44" y="149"/>
                    <a:pt x="44" y="149"/>
                    <a:pt x="44" y="149"/>
                  </a:cubicBezTo>
                  <a:cubicBezTo>
                    <a:pt x="44" y="150"/>
                    <a:pt x="44" y="150"/>
                    <a:pt x="44" y="150"/>
                  </a:cubicBezTo>
                  <a:cubicBezTo>
                    <a:pt x="44" y="150"/>
                    <a:pt x="43" y="150"/>
                    <a:pt x="43" y="150"/>
                  </a:cubicBezTo>
                  <a:cubicBezTo>
                    <a:pt x="43" y="150"/>
                    <a:pt x="43" y="150"/>
                    <a:pt x="43" y="150"/>
                  </a:cubicBezTo>
                  <a:cubicBezTo>
                    <a:pt x="43" y="150"/>
                    <a:pt x="42" y="150"/>
                    <a:pt x="42" y="150"/>
                  </a:cubicBezTo>
                  <a:cubicBezTo>
                    <a:pt x="42" y="150"/>
                    <a:pt x="42" y="150"/>
                    <a:pt x="42" y="150"/>
                  </a:cubicBezTo>
                  <a:cubicBezTo>
                    <a:pt x="41" y="150"/>
                    <a:pt x="41" y="150"/>
                    <a:pt x="40" y="150"/>
                  </a:cubicBezTo>
                  <a:cubicBezTo>
                    <a:pt x="40" y="151"/>
                    <a:pt x="40" y="151"/>
                    <a:pt x="40" y="151"/>
                  </a:cubicBezTo>
                  <a:cubicBezTo>
                    <a:pt x="40" y="151"/>
                    <a:pt x="40" y="151"/>
                    <a:pt x="39" y="151"/>
                  </a:cubicBezTo>
                  <a:cubicBezTo>
                    <a:pt x="39" y="151"/>
                    <a:pt x="39" y="151"/>
                    <a:pt x="39" y="151"/>
                  </a:cubicBezTo>
                  <a:cubicBezTo>
                    <a:pt x="38" y="151"/>
                    <a:pt x="38" y="151"/>
                    <a:pt x="37" y="151"/>
                  </a:cubicBezTo>
                  <a:cubicBezTo>
                    <a:pt x="37" y="151"/>
                    <a:pt x="37" y="151"/>
                    <a:pt x="37" y="152"/>
                  </a:cubicBezTo>
                  <a:cubicBezTo>
                    <a:pt x="37" y="152"/>
                    <a:pt x="36" y="152"/>
                    <a:pt x="35" y="152"/>
                  </a:cubicBezTo>
                  <a:cubicBezTo>
                    <a:pt x="32" y="153"/>
                    <a:pt x="25" y="153"/>
                    <a:pt x="22" y="152"/>
                  </a:cubicBezTo>
                  <a:cubicBezTo>
                    <a:pt x="21" y="152"/>
                    <a:pt x="21" y="152"/>
                    <a:pt x="21" y="152"/>
                  </a:cubicBezTo>
                  <a:cubicBezTo>
                    <a:pt x="21" y="152"/>
                    <a:pt x="21" y="152"/>
                    <a:pt x="21" y="152"/>
                  </a:cubicBezTo>
                  <a:cubicBezTo>
                    <a:pt x="20" y="151"/>
                    <a:pt x="20" y="151"/>
                    <a:pt x="19" y="151"/>
                  </a:cubicBezTo>
                  <a:cubicBezTo>
                    <a:pt x="19" y="151"/>
                    <a:pt x="18" y="150"/>
                    <a:pt x="18" y="149"/>
                  </a:cubicBezTo>
                  <a:cubicBezTo>
                    <a:pt x="17" y="149"/>
                    <a:pt x="17" y="149"/>
                    <a:pt x="17" y="149"/>
                  </a:cubicBezTo>
                  <a:cubicBezTo>
                    <a:pt x="17" y="149"/>
                    <a:pt x="17" y="149"/>
                    <a:pt x="17" y="148"/>
                  </a:cubicBezTo>
                  <a:cubicBezTo>
                    <a:pt x="17" y="148"/>
                    <a:pt x="16" y="148"/>
                    <a:pt x="16" y="148"/>
                  </a:cubicBezTo>
                  <a:cubicBezTo>
                    <a:pt x="16" y="148"/>
                    <a:pt x="16" y="148"/>
                    <a:pt x="16" y="147"/>
                  </a:cubicBezTo>
                  <a:cubicBezTo>
                    <a:pt x="15" y="147"/>
                    <a:pt x="14" y="146"/>
                    <a:pt x="14" y="146"/>
                  </a:cubicBezTo>
                  <a:cubicBezTo>
                    <a:pt x="14" y="146"/>
                    <a:pt x="14" y="145"/>
                    <a:pt x="14" y="145"/>
                  </a:cubicBezTo>
                  <a:cubicBezTo>
                    <a:pt x="14" y="145"/>
                    <a:pt x="13" y="145"/>
                    <a:pt x="13" y="145"/>
                  </a:cubicBezTo>
                  <a:cubicBezTo>
                    <a:pt x="13" y="144"/>
                    <a:pt x="13" y="144"/>
                    <a:pt x="13" y="144"/>
                  </a:cubicBezTo>
                  <a:cubicBezTo>
                    <a:pt x="12" y="144"/>
                    <a:pt x="12" y="143"/>
                    <a:pt x="12" y="143"/>
                  </a:cubicBezTo>
                  <a:cubicBezTo>
                    <a:pt x="12" y="143"/>
                    <a:pt x="12" y="142"/>
                    <a:pt x="11" y="142"/>
                  </a:cubicBezTo>
                  <a:cubicBezTo>
                    <a:pt x="11" y="142"/>
                    <a:pt x="11" y="142"/>
                    <a:pt x="11" y="142"/>
                  </a:cubicBezTo>
                  <a:cubicBezTo>
                    <a:pt x="11" y="142"/>
                    <a:pt x="11" y="141"/>
                    <a:pt x="11" y="141"/>
                  </a:cubicBezTo>
                  <a:cubicBezTo>
                    <a:pt x="10" y="141"/>
                    <a:pt x="10" y="141"/>
                    <a:pt x="10" y="141"/>
                  </a:cubicBezTo>
                  <a:cubicBezTo>
                    <a:pt x="10" y="140"/>
                    <a:pt x="10" y="140"/>
                    <a:pt x="10" y="140"/>
                  </a:cubicBezTo>
                  <a:cubicBezTo>
                    <a:pt x="10" y="140"/>
                    <a:pt x="9" y="140"/>
                    <a:pt x="9" y="140"/>
                  </a:cubicBezTo>
                  <a:cubicBezTo>
                    <a:pt x="9" y="139"/>
                    <a:pt x="9" y="139"/>
                    <a:pt x="9" y="139"/>
                  </a:cubicBezTo>
                  <a:cubicBezTo>
                    <a:pt x="9" y="139"/>
                    <a:pt x="9" y="139"/>
                    <a:pt x="9" y="139"/>
                  </a:cubicBezTo>
                  <a:cubicBezTo>
                    <a:pt x="9" y="138"/>
                    <a:pt x="9" y="138"/>
                    <a:pt x="9" y="138"/>
                  </a:cubicBezTo>
                  <a:cubicBezTo>
                    <a:pt x="8" y="138"/>
                    <a:pt x="8" y="138"/>
                    <a:pt x="8" y="138"/>
                  </a:cubicBezTo>
                  <a:cubicBezTo>
                    <a:pt x="8" y="137"/>
                    <a:pt x="8" y="137"/>
                    <a:pt x="8" y="137"/>
                  </a:cubicBezTo>
                  <a:cubicBezTo>
                    <a:pt x="8" y="137"/>
                    <a:pt x="7" y="137"/>
                    <a:pt x="7" y="137"/>
                  </a:cubicBezTo>
                  <a:cubicBezTo>
                    <a:pt x="7" y="136"/>
                    <a:pt x="7" y="136"/>
                    <a:pt x="7" y="136"/>
                  </a:cubicBezTo>
                  <a:cubicBezTo>
                    <a:pt x="7" y="136"/>
                    <a:pt x="7" y="136"/>
                    <a:pt x="7" y="135"/>
                  </a:cubicBezTo>
                  <a:cubicBezTo>
                    <a:pt x="7" y="135"/>
                    <a:pt x="7" y="135"/>
                    <a:pt x="7" y="135"/>
                  </a:cubicBezTo>
                  <a:cubicBezTo>
                    <a:pt x="6" y="135"/>
                    <a:pt x="6" y="135"/>
                    <a:pt x="6" y="134"/>
                  </a:cubicBezTo>
                  <a:cubicBezTo>
                    <a:pt x="6" y="134"/>
                    <a:pt x="6" y="133"/>
                    <a:pt x="5" y="133"/>
                  </a:cubicBezTo>
                  <a:cubicBezTo>
                    <a:pt x="5" y="133"/>
                    <a:pt x="5" y="133"/>
                    <a:pt x="5" y="133"/>
                  </a:cubicBezTo>
                  <a:cubicBezTo>
                    <a:pt x="5" y="133"/>
                    <a:pt x="5" y="132"/>
                    <a:pt x="5" y="132"/>
                  </a:cubicBezTo>
                  <a:cubicBezTo>
                    <a:pt x="5" y="132"/>
                    <a:pt x="4" y="132"/>
                    <a:pt x="4" y="132"/>
                  </a:cubicBezTo>
                  <a:cubicBezTo>
                    <a:pt x="4" y="131"/>
                    <a:pt x="4" y="131"/>
                    <a:pt x="4" y="130"/>
                  </a:cubicBezTo>
                  <a:cubicBezTo>
                    <a:pt x="4" y="130"/>
                    <a:pt x="3" y="130"/>
                    <a:pt x="3" y="130"/>
                  </a:cubicBezTo>
                  <a:cubicBezTo>
                    <a:pt x="3" y="129"/>
                    <a:pt x="3" y="129"/>
                    <a:pt x="3" y="128"/>
                  </a:cubicBezTo>
                  <a:cubicBezTo>
                    <a:pt x="2" y="128"/>
                    <a:pt x="2" y="128"/>
                    <a:pt x="2" y="128"/>
                  </a:cubicBezTo>
                  <a:cubicBezTo>
                    <a:pt x="2" y="128"/>
                    <a:pt x="2" y="128"/>
                    <a:pt x="2" y="127"/>
                  </a:cubicBezTo>
                  <a:cubicBezTo>
                    <a:pt x="2" y="127"/>
                    <a:pt x="1" y="126"/>
                    <a:pt x="1" y="125"/>
                  </a:cubicBezTo>
                  <a:cubicBezTo>
                    <a:pt x="1" y="125"/>
                    <a:pt x="1" y="125"/>
                    <a:pt x="2" y="125"/>
                  </a:cubicBezTo>
                  <a:cubicBezTo>
                    <a:pt x="2" y="125"/>
                    <a:pt x="2" y="125"/>
                    <a:pt x="2" y="125"/>
                  </a:cubicBezTo>
                  <a:cubicBezTo>
                    <a:pt x="2" y="125"/>
                    <a:pt x="2" y="125"/>
                    <a:pt x="2" y="125"/>
                  </a:cubicBezTo>
                  <a:cubicBezTo>
                    <a:pt x="2" y="124"/>
                    <a:pt x="2" y="124"/>
                    <a:pt x="2" y="124"/>
                  </a:cubicBezTo>
                  <a:cubicBezTo>
                    <a:pt x="3" y="124"/>
                    <a:pt x="3" y="124"/>
                    <a:pt x="3" y="124"/>
                  </a:cubicBezTo>
                  <a:cubicBezTo>
                    <a:pt x="3" y="124"/>
                    <a:pt x="3" y="124"/>
                    <a:pt x="3" y="124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3"/>
                    <a:pt x="5" y="123"/>
                    <a:pt x="5" y="123"/>
                  </a:cubicBezTo>
                  <a:cubicBezTo>
                    <a:pt x="5" y="123"/>
                    <a:pt x="5" y="123"/>
                    <a:pt x="5" y="123"/>
                  </a:cubicBezTo>
                  <a:cubicBezTo>
                    <a:pt x="5" y="123"/>
                    <a:pt x="5" y="123"/>
                    <a:pt x="5" y="123"/>
                  </a:cubicBezTo>
                  <a:cubicBezTo>
                    <a:pt x="5" y="123"/>
                    <a:pt x="5" y="123"/>
                    <a:pt x="5" y="123"/>
                  </a:cubicBezTo>
                  <a:cubicBezTo>
                    <a:pt x="6" y="123"/>
                    <a:pt x="6" y="123"/>
                    <a:pt x="6" y="123"/>
                  </a:cubicBezTo>
                  <a:cubicBezTo>
                    <a:pt x="6" y="122"/>
                    <a:pt x="6" y="122"/>
                    <a:pt x="7" y="122"/>
                  </a:cubicBezTo>
                  <a:cubicBezTo>
                    <a:pt x="7" y="122"/>
                    <a:pt x="8" y="121"/>
                    <a:pt x="9" y="121"/>
                  </a:cubicBezTo>
                  <a:cubicBezTo>
                    <a:pt x="9" y="121"/>
                    <a:pt x="9" y="121"/>
                    <a:pt x="9" y="120"/>
                  </a:cubicBezTo>
                  <a:cubicBezTo>
                    <a:pt x="10" y="120"/>
                    <a:pt x="10" y="120"/>
                    <a:pt x="11" y="120"/>
                  </a:cubicBezTo>
                  <a:cubicBezTo>
                    <a:pt x="11" y="119"/>
                    <a:pt x="11" y="119"/>
                    <a:pt x="11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3" y="119"/>
                    <a:pt x="13" y="119"/>
                  </a:cubicBezTo>
                  <a:cubicBezTo>
                    <a:pt x="13" y="119"/>
                    <a:pt x="13" y="118"/>
                    <a:pt x="13" y="118"/>
                  </a:cubicBezTo>
                  <a:cubicBezTo>
                    <a:pt x="13" y="118"/>
                    <a:pt x="13" y="118"/>
                    <a:pt x="14" y="118"/>
                  </a:cubicBezTo>
                  <a:cubicBezTo>
                    <a:pt x="14" y="118"/>
                    <a:pt x="14" y="118"/>
                    <a:pt x="14" y="118"/>
                  </a:cubicBezTo>
                  <a:cubicBezTo>
                    <a:pt x="14" y="118"/>
                    <a:pt x="14" y="118"/>
                    <a:pt x="14" y="118"/>
                  </a:cubicBezTo>
                  <a:cubicBezTo>
                    <a:pt x="14" y="118"/>
                    <a:pt x="14" y="118"/>
                    <a:pt x="15" y="117"/>
                  </a:cubicBezTo>
                  <a:cubicBezTo>
                    <a:pt x="15" y="117"/>
                    <a:pt x="16" y="117"/>
                    <a:pt x="17" y="117"/>
                  </a:cubicBezTo>
                  <a:cubicBezTo>
                    <a:pt x="17" y="116"/>
                    <a:pt x="17" y="116"/>
                    <a:pt x="17" y="116"/>
                  </a:cubicBezTo>
                  <a:cubicBezTo>
                    <a:pt x="17" y="116"/>
                    <a:pt x="18" y="116"/>
                    <a:pt x="18" y="116"/>
                  </a:cubicBezTo>
                  <a:cubicBezTo>
                    <a:pt x="19" y="115"/>
                    <a:pt x="19" y="115"/>
                    <a:pt x="19" y="114"/>
                  </a:cubicBezTo>
                  <a:cubicBezTo>
                    <a:pt x="20" y="114"/>
                    <a:pt x="20" y="114"/>
                    <a:pt x="20" y="114"/>
                  </a:cubicBezTo>
                  <a:cubicBezTo>
                    <a:pt x="21" y="114"/>
                    <a:pt x="21" y="113"/>
                    <a:pt x="21" y="113"/>
                  </a:cubicBezTo>
                  <a:cubicBezTo>
                    <a:pt x="21" y="113"/>
                    <a:pt x="22" y="113"/>
                    <a:pt x="22" y="113"/>
                  </a:cubicBezTo>
                  <a:cubicBezTo>
                    <a:pt x="22" y="112"/>
                    <a:pt x="23" y="112"/>
                    <a:pt x="23" y="111"/>
                  </a:cubicBezTo>
                  <a:cubicBezTo>
                    <a:pt x="30" y="106"/>
                    <a:pt x="37" y="100"/>
                    <a:pt x="44" y="95"/>
                  </a:cubicBezTo>
                  <a:cubicBezTo>
                    <a:pt x="44" y="94"/>
                    <a:pt x="45" y="94"/>
                    <a:pt x="45" y="93"/>
                  </a:cubicBezTo>
                  <a:cubicBezTo>
                    <a:pt x="45" y="93"/>
                    <a:pt x="45" y="93"/>
                    <a:pt x="46" y="93"/>
                  </a:cubicBezTo>
                  <a:cubicBezTo>
                    <a:pt x="46" y="93"/>
                    <a:pt x="46" y="93"/>
                    <a:pt x="46" y="92"/>
                  </a:cubicBezTo>
                  <a:cubicBezTo>
                    <a:pt x="46" y="92"/>
                    <a:pt x="46" y="92"/>
                    <a:pt x="46" y="92"/>
                  </a:cubicBezTo>
                  <a:cubicBezTo>
                    <a:pt x="47" y="92"/>
                    <a:pt x="47" y="92"/>
                    <a:pt x="47" y="92"/>
                  </a:cubicBezTo>
                  <a:cubicBezTo>
                    <a:pt x="47" y="92"/>
                    <a:pt x="47" y="92"/>
                    <a:pt x="47" y="92"/>
                  </a:cubicBezTo>
                  <a:cubicBezTo>
                    <a:pt x="48" y="91"/>
                    <a:pt x="48" y="91"/>
                    <a:pt x="49" y="90"/>
                  </a:cubicBezTo>
                  <a:cubicBezTo>
                    <a:pt x="49" y="90"/>
                    <a:pt x="49" y="90"/>
                    <a:pt x="50" y="90"/>
                  </a:cubicBezTo>
                  <a:cubicBezTo>
                    <a:pt x="50" y="89"/>
                    <a:pt x="50" y="89"/>
                    <a:pt x="51" y="88"/>
                  </a:cubicBezTo>
                  <a:cubicBezTo>
                    <a:pt x="51" y="88"/>
                    <a:pt x="51" y="88"/>
                    <a:pt x="52" y="88"/>
                  </a:cubicBezTo>
                  <a:cubicBezTo>
                    <a:pt x="52" y="88"/>
                    <a:pt x="52" y="87"/>
                    <a:pt x="53" y="87"/>
                  </a:cubicBezTo>
                  <a:cubicBezTo>
                    <a:pt x="53" y="87"/>
                    <a:pt x="53" y="87"/>
                    <a:pt x="53" y="87"/>
                  </a:cubicBezTo>
                  <a:cubicBezTo>
                    <a:pt x="54" y="86"/>
                    <a:pt x="54" y="86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6" y="85"/>
                    <a:pt x="56" y="84"/>
                    <a:pt x="57" y="84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4"/>
                    <a:pt x="58" y="83"/>
                    <a:pt x="58" y="83"/>
                  </a:cubicBezTo>
                  <a:cubicBezTo>
                    <a:pt x="58" y="83"/>
                    <a:pt x="58" y="83"/>
                    <a:pt x="58" y="82"/>
                  </a:cubicBezTo>
                  <a:cubicBezTo>
                    <a:pt x="60" y="82"/>
                    <a:pt x="62" y="82"/>
                    <a:pt x="63" y="82"/>
                  </a:cubicBezTo>
                  <a:cubicBezTo>
                    <a:pt x="63" y="82"/>
                    <a:pt x="63" y="82"/>
                    <a:pt x="63" y="82"/>
                  </a:cubicBezTo>
                  <a:cubicBezTo>
                    <a:pt x="64" y="82"/>
                    <a:pt x="64" y="82"/>
                    <a:pt x="65" y="82"/>
                  </a:cubicBezTo>
                  <a:cubicBezTo>
                    <a:pt x="65" y="81"/>
                    <a:pt x="65" y="81"/>
                    <a:pt x="65" y="81"/>
                  </a:cubicBezTo>
                  <a:cubicBezTo>
                    <a:pt x="65" y="81"/>
                    <a:pt x="65" y="81"/>
                    <a:pt x="65" y="81"/>
                  </a:cubicBezTo>
                  <a:cubicBezTo>
                    <a:pt x="65" y="81"/>
                    <a:pt x="66" y="81"/>
                    <a:pt x="66" y="81"/>
                  </a:cubicBezTo>
                  <a:cubicBezTo>
                    <a:pt x="66" y="81"/>
                    <a:pt x="66" y="81"/>
                    <a:pt x="66" y="81"/>
                  </a:cubicBezTo>
                  <a:cubicBezTo>
                    <a:pt x="66" y="80"/>
                    <a:pt x="66" y="80"/>
                    <a:pt x="66" y="80"/>
                  </a:cubicBezTo>
                  <a:cubicBezTo>
                    <a:pt x="67" y="80"/>
                    <a:pt x="67" y="80"/>
                    <a:pt x="67" y="80"/>
                  </a:cubicBezTo>
                  <a:cubicBezTo>
                    <a:pt x="67" y="80"/>
                    <a:pt x="67" y="80"/>
                    <a:pt x="67" y="80"/>
                  </a:cubicBezTo>
                  <a:cubicBezTo>
                    <a:pt x="67" y="80"/>
                    <a:pt x="68" y="80"/>
                    <a:pt x="68" y="80"/>
                  </a:cubicBezTo>
                  <a:cubicBezTo>
                    <a:pt x="68" y="80"/>
                    <a:pt x="68" y="80"/>
                    <a:pt x="68" y="79"/>
                  </a:cubicBezTo>
                  <a:cubicBezTo>
                    <a:pt x="68" y="79"/>
                    <a:pt x="68" y="79"/>
                    <a:pt x="68" y="79"/>
                  </a:cubicBezTo>
                  <a:cubicBezTo>
                    <a:pt x="68" y="79"/>
                    <a:pt x="68" y="79"/>
                    <a:pt x="68" y="79"/>
                  </a:cubicBezTo>
                  <a:cubicBezTo>
                    <a:pt x="69" y="79"/>
                    <a:pt x="69" y="79"/>
                    <a:pt x="70" y="79"/>
                  </a:cubicBezTo>
                  <a:cubicBezTo>
                    <a:pt x="70" y="79"/>
                    <a:pt x="70" y="78"/>
                    <a:pt x="70" y="78"/>
                  </a:cubicBezTo>
                  <a:cubicBezTo>
                    <a:pt x="70" y="78"/>
                    <a:pt x="71" y="78"/>
                    <a:pt x="71" y="78"/>
                  </a:cubicBezTo>
                  <a:cubicBezTo>
                    <a:pt x="71" y="78"/>
                    <a:pt x="71" y="78"/>
                    <a:pt x="71" y="78"/>
                  </a:cubicBezTo>
                  <a:cubicBezTo>
                    <a:pt x="71" y="78"/>
                    <a:pt x="71" y="78"/>
                    <a:pt x="72" y="78"/>
                  </a:cubicBezTo>
                  <a:cubicBezTo>
                    <a:pt x="72" y="78"/>
                    <a:pt x="72" y="78"/>
                    <a:pt x="72" y="77"/>
                  </a:cubicBezTo>
                  <a:cubicBezTo>
                    <a:pt x="72" y="77"/>
                    <a:pt x="72" y="77"/>
                    <a:pt x="72" y="77"/>
                  </a:cubicBezTo>
                  <a:cubicBezTo>
                    <a:pt x="72" y="77"/>
                    <a:pt x="72" y="77"/>
                    <a:pt x="72" y="77"/>
                  </a:cubicBezTo>
                  <a:cubicBezTo>
                    <a:pt x="73" y="77"/>
                    <a:pt x="73" y="77"/>
                    <a:pt x="73" y="77"/>
                  </a:cubicBezTo>
                  <a:cubicBezTo>
                    <a:pt x="73" y="77"/>
                    <a:pt x="73" y="77"/>
                    <a:pt x="73" y="77"/>
                  </a:cubicBezTo>
                  <a:cubicBezTo>
                    <a:pt x="73" y="77"/>
                    <a:pt x="74" y="76"/>
                    <a:pt x="74" y="76"/>
                  </a:cubicBezTo>
                  <a:cubicBezTo>
                    <a:pt x="74" y="76"/>
                    <a:pt x="75" y="76"/>
                    <a:pt x="75" y="76"/>
                  </a:cubicBezTo>
                  <a:cubicBezTo>
                    <a:pt x="75" y="76"/>
                    <a:pt x="75" y="76"/>
                    <a:pt x="75" y="76"/>
                  </a:cubicBezTo>
                  <a:cubicBezTo>
                    <a:pt x="75" y="76"/>
                    <a:pt x="75" y="75"/>
                    <a:pt x="75" y="75"/>
                  </a:cubicBezTo>
                  <a:cubicBezTo>
                    <a:pt x="76" y="75"/>
                    <a:pt x="76" y="75"/>
                    <a:pt x="76" y="75"/>
                  </a:cubicBezTo>
                  <a:cubicBezTo>
                    <a:pt x="76" y="75"/>
                    <a:pt x="76" y="75"/>
                    <a:pt x="76" y="75"/>
                  </a:cubicBezTo>
                  <a:cubicBezTo>
                    <a:pt x="76" y="75"/>
                    <a:pt x="77" y="75"/>
                    <a:pt x="77" y="75"/>
                  </a:cubicBezTo>
                  <a:cubicBezTo>
                    <a:pt x="77" y="75"/>
                    <a:pt x="77" y="75"/>
                    <a:pt x="77" y="75"/>
                  </a:cubicBezTo>
                  <a:cubicBezTo>
                    <a:pt x="77" y="75"/>
                    <a:pt x="77" y="75"/>
                    <a:pt x="78" y="75"/>
                  </a:cubicBezTo>
                  <a:cubicBezTo>
                    <a:pt x="78" y="74"/>
                    <a:pt x="78" y="74"/>
                    <a:pt x="78" y="74"/>
                  </a:cubicBezTo>
                  <a:cubicBezTo>
                    <a:pt x="78" y="74"/>
                    <a:pt x="78" y="74"/>
                    <a:pt x="79" y="74"/>
                  </a:cubicBezTo>
                  <a:cubicBezTo>
                    <a:pt x="79" y="74"/>
                    <a:pt x="79" y="73"/>
                    <a:pt x="79" y="73"/>
                  </a:cubicBezTo>
                  <a:cubicBezTo>
                    <a:pt x="80" y="73"/>
                    <a:pt x="80" y="73"/>
                    <a:pt x="80" y="73"/>
                  </a:cubicBezTo>
                  <a:cubicBezTo>
                    <a:pt x="80" y="73"/>
                    <a:pt x="80" y="73"/>
                    <a:pt x="80" y="73"/>
                  </a:cubicBezTo>
                  <a:cubicBezTo>
                    <a:pt x="80" y="73"/>
                    <a:pt x="80" y="73"/>
                    <a:pt x="81" y="73"/>
                  </a:cubicBezTo>
                  <a:cubicBezTo>
                    <a:pt x="81" y="73"/>
                    <a:pt x="81" y="73"/>
                    <a:pt x="81" y="73"/>
                  </a:cubicBezTo>
                  <a:cubicBezTo>
                    <a:pt x="81" y="73"/>
                    <a:pt x="81" y="73"/>
                    <a:pt x="81" y="73"/>
                  </a:cubicBezTo>
                  <a:cubicBezTo>
                    <a:pt x="81" y="72"/>
                    <a:pt x="81" y="72"/>
                    <a:pt x="81" y="72"/>
                  </a:cubicBezTo>
                  <a:cubicBezTo>
                    <a:pt x="82" y="72"/>
                    <a:pt x="82" y="72"/>
                    <a:pt x="82" y="72"/>
                  </a:cubicBezTo>
                  <a:cubicBezTo>
                    <a:pt x="82" y="72"/>
                    <a:pt x="82" y="72"/>
                    <a:pt x="82" y="72"/>
                  </a:cubicBezTo>
                  <a:cubicBezTo>
                    <a:pt x="82" y="72"/>
                    <a:pt x="83" y="72"/>
                    <a:pt x="83" y="72"/>
                  </a:cubicBezTo>
                  <a:cubicBezTo>
                    <a:pt x="83" y="72"/>
                    <a:pt x="83" y="71"/>
                    <a:pt x="83" y="71"/>
                  </a:cubicBezTo>
                  <a:cubicBezTo>
                    <a:pt x="83" y="71"/>
                    <a:pt x="84" y="71"/>
                    <a:pt x="84" y="71"/>
                  </a:cubicBezTo>
                  <a:cubicBezTo>
                    <a:pt x="84" y="71"/>
                    <a:pt x="84" y="71"/>
                    <a:pt x="84" y="71"/>
                  </a:cubicBezTo>
                  <a:cubicBezTo>
                    <a:pt x="84" y="71"/>
                    <a:pt x="84" y="71"/>
                    <a:pt x="85" y="71"/>
                  </a:cubicBezTo>
                  <a:cubicBezTo>
                    <a:pt x="85" y="71"/>
                    <a:pt x="85" y="71"/>
                    <a:pt x="85" y="70"/>
                  </a:cubicBezTo>
                  <a:cubicBezTo>
                    <a:pt x="85" y="70"/>
                    <a:pt x="85" y="70"/>
                    <a:pt x="85" y="70"/>
                  </a:cubicBezTo>
                  <a:cubicBezTo>
                    <a:pt x="85" y="70"/>
                    <a:pt x="85" y="70"/>
                    <a:pt x="85" y="70"/>
                  </a:cubicBezTo>
                  <a:cubicBezTo>
                    <a:pt x="85" y="70"/>
                    <a:pt x="86" y="70"/>
                    <a:pt x="86" y="70"/>
                  </a:cubicBezTo>
                  <a:cubicBezTo>
                    <a:pt x="86" y="70"/>
                    <a:pt x="86" y="70"/>
                    <a:pt x="86" y="70"/>
                  </a:cubicBezTo>
                  <a:cubicBezTo>
                    <a:pt x="86" y="70"/>
                    <a:pt x="87" y="69"/>
                    <a:pt x="87" y="69"/>
                  </a:cubicBezTo>
                  <a:cubicBezTo>
                    <a:pt x="87" y="69"/>
                    <a:pt x="88" y="69"/>
                    <a:pt x="88" y="69"/>
                  </a:cubicBezTo>
                  <a:cubicBezTo>
                    <a:pt x="88" y="69"/>
                    <a:pt x="89" y="68"/>
                    <a:pt x="89" y="68"/>
                  </a:cubicBezTo>
                  <a:cubicBezTo>
                    <a:pt x="89" y="68"/>
                    <a:pt x="89" y="68"/>
                    <a:pt x="89" y="68"/>
                  </a:cubicBezTo>
                  <a:cubicBezTo>
                    <a:pt x="89" y="68"/>
                    <a:pt x="90" y="68"/>
                    <a:pt x="90" y="68"/>
                  </a:cubicBezTo>
                  <a:cubicBezTo>
                    <a:pt x="90" y="68"/>
                    <a:pt x="90" y="68"/>
                    <a:pt x="90" y="68"/>
                  </a:cubicBezTo>
                  <a:cubicBezTo>
                    <a:pt x="90" y="68"/>
                    <a:pt x="90" y="68"/>
                    <a:pt x="90" y="68"/>
                  </a:cubicBezTo>
                  <a:cubicBezTo>
                    <a:pt x="90" y="67"/>
                    <a:pt x="90" y="67"/>
                    <a:pt x="90" y="67"/>
                  </a:cubicBezTo>
                  <a:cubicBezTo>
                    <a:pt x="91" y="67"/>
                    <a:pt x="91" y="67"/>
                    <a:pt x="91" y="67"/>
                  </a:cubicBezTo>
                  <a:cubicBezTo>
                    <a:pt x="91" y="67"/>
                    <a:pt x="91" y="67"/>
                    <a:pt x="91" y="67"/>
                  </a:cubicBezTo>
                  <a:cubicBezTo>
                    <a:pt x="91" y="67"/>
                    <a:pt x="92" y="67"/>
                    <a:pt x="92" y="67"/>
                  </a:cubicBezTo>
                  <a:cubicBezTo>
                    <a:pt x="92" y="67"/>
                    <a:pt x="92" y="66"/>
                    <a:pt x="92" y="66"/>
                  </a:cubicBezTo>
                  <a:cubicBezTo>
                    <a:pt x="92" y="66"/>
                    <a:pt x="93" y="66"/>
                    <a:pt x="93" y="66"/>
                  </a:cubicBezTo>
                  <a:cubicBezTo>
                    <a:pt x="93" y="66"/>
                    <a:pt x="93" y="66"/>
                    <a:pt x="93" y="66"/>
                  </a:cubicBezTo>
                  <a:cubicBezTo>
                    <a:pt x="93" y="66"/>
                    <a:pt x="93" y="66"/>
                    <a:pt x="94" y="66"/>
                  </a:cubicBezTo>
                  <a:cubicBezTo>
                    <a:pt x="94" y="66"/>
                    <a:pt x="94" y="66"/>
                    <a:pt x="94" y="66"/>
                  </a:cubicBezTo>
                  <a:cubicBezTo>
                    <a:pt x="94" y="66"/>
                    <a:pt x="94" y="66"/>
                    <a:pt x="94" y="66"/>
                  </a:cubicBezTo>
                  <a:cubicBezTo>
                    <a:pt x="94" y="65"/>
                    <a:pt x="94" y="65"/>
                    <a:pt x="94" y="65"/>
                  </a:cubicBezTo>
                  <a:cubicBezTo>
                    <a:pt x="95" y="65"/>
                    <a:pt x="95" y="65"/>
                    <a:pt x="95" y="65"/>
                  </a:cubicBezTo>
                  <a:cubicBezTo>
                    <a:pt x="95" y="65"/>
                    <a:pt x="95" y="65"/>
                    <a:pt x="95" y="65"/>
                  </a:cubicBezTo>
                  <a:cubicBezTo>
                    <a:pt x="95" y="65"/>
                    <a:pt x="95" y="65"/>
                    <a:pt x="96" y="65"/>
                  </a:cubicBezTo>
                  <a:cubicBezTo>
                    <a:pt x="96" y="65"/>
                    <a:pt x="96" y="65"/>
                    <a:pt x="96" y="64"/>
                  </a:cubicBezTo>
                  <a:cubicBezTo>
                    <a:pt x="96" y="64"/>
                    <a:pt x="96" y="64"/>
                    <a:pt x="96" y="64"/>
                  </a:cubicBezTo>
                  <a:cubicBezTo>
                    <a:pt x="97" y="64"/>
                    <a:pt x="97" y="64"/>
                    <a:pt x="97" y="64"/>
                  </a:cubicBezTo>
                  <a:cubicBezTo>
                    <a:pt x="97" y="64"/>
                    <a:pt x="97" y="64"/>
                    <a:pt x="97" y="64"/>
                  </a:cubicBezTo>
                  <a:cubicBezTo>
                    <a:pt x="97" y="64"/>
                    <a:pt x="97" y="64"/>
                    <a:pt x="97" y="63"/>
                  </a:cubicBezTo>
                  <a:cubicBezTo>
                    <a:pt x="98" y="63"/>
                    <a:pt x="98" y="63"/>
                    <a:pt x="98" y="63"/>
                  </a:cubicBezTo>
                  <a:cubicBezTo>
                    <a:pt x="98" y="63"/>
                    <a:pt x="98" y="63"/>
                    <a:pt x="98" y="63"/>
                  </a:cubicBezTo>
                  <a:cubicBezTo>
                    <a:pt x="98" y="63"/>
                    <a:pt x="99" y="63"/>
                    <a:pt x="99" y="63"/>
                  </a:cubicBezTo>
                  <a:cubicBezTo>
                    <a:pt x="99" y="63"/>
                    <a:pt x="99" y="63"/>
                    <a:pt x="99" y="63"/>
                  </a:cubicBezTo>
                  <a:cubicBezTo>
                    <a:pt x="99" y="63"/>
                    <a:pt x="99" y="63"/>
                    <a:pt x="100" y="63"/>
                  </a:cubicBezTo>
                  <a:cubicBezTo>
                    <a:pt x="100" y="63"/>
                    <a:pt x="100" y="62"/>
                    <a:pt x="100" y="62"/>
                  </a:cubicBezTo>
                  <a:cubicBezTo>
                    <a:pt x="100" y="62"/>
                    <a:pt x="100" y="62"/>
                    <a:pt x="100" y="62"/>
                  </a:cubicBezTo>
                  <a:cubicBezTo>
                    <a:pt x="100" y="62"/>
                    <a:pt x="100" y="62"/>
                    <a:pt x="101" y="62"/>
                  </a:cubicBezTo>
                  <a:cubicBezTo>
                    <a:pt x="101" y="62"/>
                    <a:pt x="101" y="62"/>
                    <a:pt x="101" y="62"/>
                  </a:cubicBezTo>
                  <a:cubicBezTo>
                    <a:pt x="101" y="62"/>
                    <a:pt x="101" y="61"/>
                    <a:pt x="101" y="61"/>
                  </a:cubicBezTo>
                  <a:cubicBezTo>
                    <a:pt x="102" y="61"/>
                    <a:pt x="102" y="61"/>
                    <a:pt x="102" y="61"/>
                  </a:cubicBezTo>
                  <a:cubicBezTo>
                    <a:pt x="102" y="61"/>
                    <a:pt x="102" y="61"/>
                    <a:pt x="102" y="61"/>
                  </a:cubicBezTo>
                  <a:cubicBezTo>
                    <a:pt x="102" y="61"/>
                    <a:pt x="102" y="61"/>
                    <a:pt x="103" y="61"/>
                  </a:cubicBezTo>
                  <a:cubicBezTo>
                    <a:pt x="103" y="61"/>
                    <a:pt x="103" y="61"/>
                    <a:pt x="103" y="61"/>
                  </a:cubicBezTo>
                  <a:cubicBezTo>
                    <a:pt x="103" y="61"/>
                    <a:pt x="103" y="61"/>
                    <a:pt x="103" y="61"/>
                  </a:cubicBezTo>
                  <a:cubicBezTo>
                    <a:pt x="103" y="60"/>
                    <a:pt x="103" y="60"/>
                    <a:pt x="103" y="60"/>
                  </a:cubicBezTo>
                  <a:cubicBezTo>
                    <a:pt x="104" y="60"/>
                    <a:pt x="104" y="60"/>
                    <a:pt x="105" y="60"/>
                  </a:cubicBezTo>
                  <a:cubicBezTo>
                    <a:pt x="105" y="60"/>
                    <a:pt x="105" y="59"/>
                    <a:pt x="105" y="59"/>
                  </a:cubicBezTo>
                  <a:cubicBezTo>
                    <a:pt x="105" y="59"/>
                    <a:pt x="106" y="59"/>
                    <a:pt x="106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59"/>
                    <a:pt x="106" y="59"/>
                    <a:pt x="107" y="59"/>
                  </a:cubicBezTo>
                  <a:cubicBezTo>
                    <a:pt x="107" y="59"/>
                    <a:pt x="107" y="59"/>
                    <a:pt x="107" y="59"/>
                  </a:cubicBezTo>
                  <a:cubicBezTo>
                    <a:pt x="107" y="59"/>
                    <a:pt x="107" y="59"/>
                    <a:pt x="107" y="59"/>
                  </a:cubicBezTo>
                  <a:cubicBezTo>
                    <a:pt x="107" y="58"/>
                    <a:pt x="107" y="58"/>
                    <a:pt x="107" y="58"/>
                  </a:cubicBezTo>
                  <a:cubicBezTo>
                    <a:pt x="107" y="58"/>
                    <a:pt x="108" y="58"/>
                    <a:pt x="108" y="58"/>
                  </a:cubicBezTo>
                  <a:cubicBezTo>
                    <a:pt x="108" y="58"/>
                    <a:pt x="108" y="58"/>
                    <a:pt x="108" y="58"/>
                  </a:cubicBezTo>
                  <a:cubicBezTo>
                    <a:pt x="108" y="58"/>
                    <a:pt x="109" y="58"/>
                    <a:pt x="109" y="57"/>
                  </a:cubicBezTo>
                  <a:cubicBezTo>
                    <a:pt x="109" y="57"/>
                    <a:pt x="110" y="57"/>
                    <a:pt x="110" y="57"/>
                  </a:cubicBezTo>
                  <a:cubicBezTo>
                    <a:pt x="110" y="57"/>
                    <a:pt x="110" y="57"/>
                    <a:pt x="110" y="57"/>
                  </a:cubicBezTo>
                  <a:cubicBezTo>
                    <a:pt x="110" y="57"/>
                    <a:pt x="110" y="57"/>
                    <a:pt x="110" y="56"/>
                  </a:cubicBezTo>
                  <a:cubicBezTo>
                    <a:pt x="111" y="56"/>
                    <a:pt x="111" y="56"/>
                    <a:pt x="111" y="56"/>
                  </a:cubicBezTo>
                  <a:cubicBezTo>
                    <a:pt x="111" y="56"/>
                    <a:pt x="111" y="56"/>
                    <a:pt x="111" y="56"/>
                  </a:cubicBezTo>
                  <a:cubicBezTo>
                    <a:pt x="111" y="56"/>
                    <a:pt x="112" y="56"/>
                    <a:pt x="112" y="56"/>
                  </a:cubicBezTo>
                  <a:cubicBezTo>
                    <a:pt x="112" y="56"/>
                    <a:pt x="112" y="56"/>
                    <a:pt x="112" y="56"/>
                  </a:cubicBezTo>
                  <a:cubicBezTo>
                    <a:pt x="112" y="56"/>
                    <a:pt x="112" y="56"/>
                    <a:pt x="113" y="56"/>
                  </a:cubicBezTo>
                  <a:cubicBezTo>
                    <a:pt x="113" y="56"/>
                    <a:pt x="113" y="55"/>
                    <a:pt x="113" y="55"/>
                  </a:cubicBezTo>
                  <a:cubicBezTo>
                    <a:pt x="113" y="55"/>
                    <a:pt x="113" y="55"/>
                    <a:pt x="114" y="55"/>
                  </a:cubicBezTo>
                  <a:cubicBezTo>
                    <a:pt x="114" y="55"/>
                    <a:pt x="114" y="55"/>
                    <a:pt x="114" y="54"/>
                  </a:cubicBezTo>
                  <a:cubicBezTo>
                    <a:pt x="114" y="54"/>
                    <a:pt x="115" y="54"/>
                    <a:pt x="115" y="54"/>
                  </a:cubicBezTo>
                  <a:cubicBezTo>
                    <a:pt x="115" y="54"/>
                    <a:pt x="115" y="54"/>
                    <a:pt x="115" y="54"/>
                  </a:cubicBezTo>
                  <a:cubicBezTo>
                    <a:pt x="115" y="54"/>
                    <a:pt x="115" y="54"/>
                    <a:pt x="116" y="54"/>
                  </a:cubicBezTo>
                  <a:cubicBezTo>
                    <a:pt x="116" y="54"/>
                    <a:pt x="116" y="54"/>
                    <a:pt x="116" y="54"/>
                  </a:cubicBezTo>
                  <a:cubicBezTo>
                    <a:pt x="116" y="54"/>
                    <a:pt x="116" y="54"/>
                    <a:pt x="116" y="54"/>
                  </a:cubicBezTo>
                  <a:cubicBezTo>
                    <a:pt x="116" y="54"/>
                    <a:pt x="116" y="53"/>
                    <a:pt x="116" y="53"/>
                  </a:cubicBezTo>
                  <a:cubicBezTo>
                    <a:pt x="117" y="53"/>
                    <a:pt x="117" y="53"/>
                    <a:pt x="117" y="53"/>
                  </a:cubicBezTo>
                  <a:cubicBezTo>
                    <a:pt x="117" y="53"/>
                    <a:pt x="117" y="53"/>
                    <a:pt x="117" y="53"/>
                  </a:cubicBezTo>
                  <a:cubicBezTo>
                    <a:pt x="117" y="53"/>
                    <a:pt x="118" y="53"/>
                    <a:pt x="118" y="53"/>
                  </a:cubicBezTo>
                  <a:cubicBezTo>
                    <a:pt x="118" y="53"/>
                    <a:pt x="118" y="52"/>
                    <a:pt x="118" y="52"/>
                  </a:cubicBezTo>
                  <a:cubicBezTo>
                    <a:pt x="118" y="52"/>
                    <a:pt x="119" y="52"/>
                    <a:pt x="119" y="52"/>
                  </a:cubicBezTo>
                  <a:cubicBezTo>
                    <a:pt x="119" y="52"/>
                    <a:pt x="119" y="52"/>
                    <a:pt x="119" y="52"/>
                  </a:cubicBezTo>
                  <a:cubicBezTo>
                    <a:pt x="119" y="52"/>
                    <a:pt x="119" y="52"/>
                    <a:pt x="119" y="52"/>
                  </a:cubicBezTo>
                  <a:cubicBezTo>
                    <a:pt x="119" y="52"/>
                    <a:pt x="119" y="52"/>
                    <a:pt x="119" y="52"/>
                  </a:cubicBezTo>
                  <a:cubicBezTo>
                    <a:pt x="120" y="52"/>
                    <a:pt x="120" y="52"/>
                    <a:pt x="120" y="52"/>
                  </a:cubicBezTo>
                  <a:cubicBezTo>
                    <a:pt x="120" y="51"/>
                    <a:pt x="120" y="51"/>
                    <a:pt x="120" y="51"/>
                  </a:cubicBezTo>
                  <a:cubicBezTo>
                    <a:pt x="120" y="51"/>
                    <a:pt x="121" y="51"/>
                    <a:pt x="121" y="51"/>
                  </a:cubicBezTo>
                  <a:cubicBezTo>
                    <a:pt x="121" y="51"/>
                    <a:pt x="121" y="51"/>
                    <a:pt x="121" y="51"/>
                  </a:cubicBezTo>
                  <a:cubicBezTo>
                    <a:pt x="121" y="51"/>
                    <a:pt x="121" y="51"/>
                    <a:pt x="122" y="51"/>
                  </a:cubicBezTo>
                  <a:cubicBezTo>
                    <a:pt x="122" y="51"/>
                    <a:pt x="122" y="51"/>
                    <a:pt x="122" y="50"/>
                  </a:cubicBezTo>
                  <a:cubicBezTo>
                    <a:pt x="122" y="50"/>
                    <a:pt x="122" y="50"/>
                    <a:pt x="122" y="50"/>
                  </a:cubicBezTo>
                  <a:cubicBezTo>
                    <a:pt x="122" y="50"/>
                    <a:pt x="123" y="50"/>
                    <a:pt x="123" y="50"/>
                  </a:cubicBezTo>
                  <a:cubicBezTo>
                    <a:pt x="123" y="50"/>
                    <a:pt x="124" y="49"/>
                    <a:pt x="125" y="49"/>
                  </a:cubicBezTo>
                  <a:cubicBezTo>
                    <a:pt x="125" y="49"/>
                    <a:pt x="125" y="49"/>
                    <a:pt x="125" y="49"/>
                  </a:cubicBezTo>
                  <a:cubicBezTo>
                    <a:pt x="125" y="49"/>
                    <a:pt x="126" y="48"/>
                    <a:pt x="126" y="48"/>
                  </a:cubicBezTo>
                  <a:cubicBezTo>
                    <a:pt x="126" y="48"/>
                    <a:pt x="126" y="48"/>
                    <a:pt x="126" y="48"/>
                  </a:cubicBezTo>
                  <a:cubicBezTo>
                    <a:pt x="127" y="48"/>
                    <a:pt x="127" y="48"/>
                    <a:pt x="127" y="48"/>
                  </a:cubicBezTo>
                  <a:cubicBezTo>
                    <a:pt x="127" y="47"/>
                    <a:pt x="127" y="47"/>
                    <a:pt x="128" y="47"/>
                  </a:cubicBezTo>
                  <a:cubicBezTo>
                    <a:pt x="128" y="47"/>
                    <a:pt x="128" y="47"/>
                    <a:pt x="128" y="47"/>
                  </a:cubicBezTo>
                  <a:cubicBezTo>
                    <a:pt x="128" y="47"/>
                    <a:pt x="128" y="47"/>
                    <a:pt x="128" y="47"/>
                  </a:cubicBezTo>
                  <a:cubicBezTo>
                    <a:pt x="129" y="47"/>
                    <a:pt x="129" y="46"/>
                    <a:pt x="129" y="46"/>
                  </a:cubicBezTo>
                  <a:cubicBezTo>
                    <a:pt x="129" y="46"/>
                    <a:pt x="130" y="46"/>
                    <a:pt x="130" y="46"/>
                  </a:cubicBezTo>
                  <a:cubicBezTo>
                    <a:pt x="130" y="46"/>
                    <a:pt x="130" y="46"/>
                    <a:pt x="130" y="46"/>
                  </a:cubicBezTo>
                  <a:cubicBezTo>
                    <a:pt x="130" y="45"/>
                    <a:pt x="131" y="45"/>
                    <a:pt x="131" y="45"/>
                  </a:cubicBezTo>
                  <a:cubicBezTo>
                    <a:pt x="131" y="45"/>
                    <a:pt x="131" y="45"/>
                    <a:pt x="132" y="45"/>
                  </a:cubicBezTo>
                  <a:cubicBezTo>
                    <a:pt x="132" y="44"/>
                    <a:pt x="132" y="44"/>
                    <a:pt x="132" y="44"/>
                  </a:cubicBezTo>
                  <a:cubicBezTo>
                    <a:pt x="132" y="44"/>
                    <a:pt x="133" y="44"/>
                    <a:pt x="133" y="44"/>
                  </a:cubicBezTo>
                  <a:cubicBezTo>
                    <a:pt x="133" y="44"/>
                    <a:pt x="133" y="43"/>
                    <a:pt x="133" y="43"/>
                  </a:cubicBezTo>
                  <a:cubicBezTo>
                    <a:pt x="134" y="43"/>
                    <a:pt x="134" y="43"/>
                    <a:pt x="134" y="43"/>
                  </a:cubicBezTo>
                  <a:cubicBezTo>
                    <a:pt x="134" y="43"/>
                    <a:pt x="134" y="43"/>
                    <a:pt x="135" y="42"/>
                  </a:cubicBezTo>
                  <a:cubicBezTo>
                    <a:pt x="135" y="42"/>
                    <a:pt x="135" y="42"/>
                    <a:pt x="135" y="42"/>
                  </a:cubicBezTo>
                  <a:cubicBezTo>
                    <a:pt x="135" y="42"/>
                    <a:pt x="135" y="42"/>
                    <a:pt x="136" y="42"/>
                  </a:cubicBezTo>
                  <a:cubicBezTo>
                    <a:pt x="136" y="42"/>
                    <a:pt x="136" y="42"/>
                    <a:pt x="136" y="42"/>
                  </a:cubicBezTo>
                  <a:cubicBezTo>
                    <a:pt x="136" y="41"/>
                    <a:pt x="137" y="41"/>
                    <a:pt x="137" y="41"/>
                  </a:cubicBezTo>
                  <a:cubicBezTo>
                    <a:pt x="137" y="41"/>
                    <a:pt x="137" y="41"/>
                    <a:pt x="137" y="41"/>
                  </a:cubicBezTo>
                  <a:cubicBezTo>
                    <a:pt x="137" y="41"/>
                    <a:pt x="138" y="41"/>
                    <a:pt x="138" y="40"/>
                  </a:cubicBezTo>
                  <a:cubicBezTo>
                    <a:pt x="138" y="40"/>
                    <a:pt x="138" y="40"/>
                    <a:pt x="138" y="40"/>
                  </a:cubicBezTo>
                  <a:cubicBezTo>
                    <a:pt x="138" y="40"/>
                    <a:pt x="139" y="40"/>
                    <a:pt x="139" y="40"/>
                  </a:cubicBezTo>
                  <a:cubicBezTo>
                    <a:pt x="139" y="40"/>
                    <a:pt x="139" y="40"/>
                    <a:pt x="139" y="40"/>
                  </a:cubicBezTo>
                  <a:cubicBezTo>
                    <a:pt x="140" y="39"/>
                    <a:pt x="140" y="39"/>
                    <a:pt x="140" y="39"/>
                  </a:cubicBezTo>
                  <a:cubicBezTo>
                    <a:pt x="140" y="39"/>
                    <a:pt x="140" y="39"/>
                    <a:pt x="140" y="39"/>
                  </a:cubicBezTo>
                  <a:cubicBezTo>
                    <a:pt x="141" y="39"/>
                    <a:pt x="141" y="38"/>
                    <a:pt x="141" y="38"/>
                  </a:cubicBezTo>
                  <a:cubicBezTo>
                    <a:pt x="141" y="38"/>
                    <a:pt x="141" y="38"/>
                    <a:pt x="142" y="38"/>
                  </a:cubicBezTo>
                  <a:cubicBezTo>
                    <a:pt x="142" y="38"/>
                    <a:pt x="142" y="38"/>
                    <a:pt x="142" y="38"/>
                  </a:cubicBezTo>
                  <a:cubicBezTo>
                    <a:pt x="142" y="38"/>
                    <a:pt x="142" y="38"/>
                    <a:pt x="143" y="38"/>
                  </a:cubicBezTo>
                  <a:cubicBezTo>
                    <a:pt x="143" y="37"/>
                    <a:pt x="143" y="37"/>
                    <a:pt x="143" y="37"/>
                  </a:cubicBezTo>
                  <a:cubicBezTo>
                    <a:pt x="143" y="37"/>
                    <a:pt x="143" y="37"/>
                    <a:pt x="144" y="37"/>
                  </a:cubicBezTo>
                  <a:cubicBezTo>
                    <a:pt x="144" y="37"/>
                    <a:pt x="144" y="36"/>
                    <a:pt x="144" y="36"/>
                  </a:cubicBezTo>
                  <a:cubicBezTo>
                    <a:pt x="145" y="35"/>
                    <a:pt x="147" y="35"/>
                    <a:pt x="149" y="34"/>
                  </a:cubicBezTo>
                  <a:cubicBezTo>
                    <a:pt x="149" y="33"/>
                    <a:pt x="149" y="33"/>
                    <a:pt x="149" y="33"/>
                  </a:cubicBezTo>
                  <a:cubicBezTo>
                    <a:pt x="149" y="33"/>
                    <a:pt x="149" y="33"/>
                    <a:pt x="150" y="33"/>
                  </a:cubicBezTo>
                  <a:cubicBezTo>
                    <a:pt x="150" y="33"/>
                    <a:pt x="150" y="33"/>
                    <a:pt x="150" y="32"/>
                  </a:cubicBezTo>
                  <a:cubicBezTo>
                    <a:pt x="150" y="32"/>
                    <a:pt x="150" y="32"/>
                    <a:pt x="151" y="32"/>
                  </a:cubicBezTo>
                  <a:cubicBezTo>
                    <a:pt x="151" y="32"/>
                    <a:pt x="151" y="32"/>
                    <a:pt x="151" y="32"/>
                  </a:cubicBezTo>
                  <a:cubicBezTo>
                    <a:pt x="151" y="32"/>
                    <a:pt x="151" y="32"/>
                    <a:pt x="152" y="32"/>
                  </a:cubicBezTo>
                  <a:cubicBezTo>
                    <a:pt x="152" y="31"/>
                    <a:pt x="152" y="31"/>
                    <a:pt x="152" y="31"/>
                  </a:cubicBezTo>
                  <a:cubicBezTo>
                    <a:pt x="152" y="31"/>
                    <a:pt x="152" y="31"/>
                    <a:pt x="153" y="31"/>
                  </a:cubicBezTo>
                  <a:cubicBezTo>
                    <a:pt x="153" y="31"/>
                    <a:pt x="153" y="30"/>
                    <a:pt x="153" y="30"/>
                  </a:cubicBezTo>
                  <a:cubicBezTo>
                    <a:pt x="153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29"/>
                  </a:cubicBezTo>
                  <a:cubicBezTo>
                    <a:pt x="154" y="29"/>
                    <a:pt x="155" y="29"/>
                    <a:pt x="155" y="29"/>
                  </a:cubicBezTo>
                  <a:cubicBezTo>
                    <a:pt x="155" y="29"/>
                    <a:pt x="155" y="29"/>
                    <a:pt x="155" y="29"/>
                  </a:cubicBezTo>
                  <a:cubicBezTo>
                    <a:pt x="155" y="29"/>
                    <a:pt x="156" y="29"/>
                    <a:pt x="156" y="29"/>
                  </a:cubicBezTo>
                  <a:cubicBezTo>
                    <a:pt x="156" y="29"/>
                    <a:pt x="156" y="28"/>
                    <a:pt x="156" y="28"/>
                  </a:cubicBezTo>
                  <a:cubicBezTo>
                    <a:pt x="156" y="28"/>
                    <a:pt x="157" y="28"/>
                    <a:pt x="157" y="28"/>
                  </a:cubicBezTo>
                  <a:cubicBezTo>
                    <a:pt x="157" y="28"/>
                    <a:pt x="157" y="28"/>
                    <a:pt x="157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9" y="27"/>
                    <a:pt x="159" y="27"/>
                    <a:pt x="159" y="27"/>
                  </a:cubicBezTo>
                  <a:cubicBezTo>
                    <a:pt x="159" y="26"/>
                    <a:pt x="159" y="26"/>
                    <a:pt x="159" y="26"/>
                  </a:cubicBezTo>
                  <a:cubicBezTo>
                    <a:pt x="160" y="26"/>
                    <a:pt x="160" y="26"/>
                    <a:pt x="160" y="26"/>
                  </a:cubicBezTo>
                  <a:cubicBezTo>
                    <a:pt x="160" y="26"/>
                    <a:pt x="160" y="26"/>
                    <a:pt x="160" y="25"/>
                  </a:cubicBezTo>
                  <a:cubicBezTo>
                    <a:pt x="161" y="25"/>
                    <a:pt x="161" y="25"/>
                    <a:pt x="162" y="25"/>
                  </a:cubicBezTo>
                  <a:cubicBezTo>
                    <a:pt x="162" y="25"/>
                    <a:pt x="162" y="24"/>
                    <a:pt x="162" y="24"/>
                  </a:cubicBezTo>
                  <a:cubicBezTo>
                    <a:pt x="162" y="24"/>
                    <a:pt x="163" y="24"/>
                    <a:pt x="163" y="24"/>
                  </a:cubicBezTo>
                  <a:cubicBezTo>
                    <a:pt x="163" y="24"/>
                    <a:pt x="163" y="24"/>
                    <a:pt x="163" y="24"/>
                  </a:cubicBezTo>
                  <a:cubicBezTo>
                    <a:pt x="163" y="24"/>
                    <a:pt x="164" y="24"/>
                    <a:pt x="164" y="24"/>
                  </a:cubicBezTo>
                  <a:cubicBezTo>
                    <a:pt x="164" y="23"/>
                    <a:pt x="164" y="23"/>
                    <a:pt x="164" y="23"/>
                  </a:cubicBezTo>
                  <a:cubicBezTo>
                    <a:pt x="164" y="23"/>
                    <a:pt x="165" y="23"/>
                    <a:pt x="165" y="23"/>
                  </a:cubicBezTo>
                  <a:cubicBezTo>
                    <a:pt x="165" y="23"/>
                    <a:pt x="165" y="22"/>
                    <a:pt x="165" y="22"/>
                  </a:cubicBezTo>
                  <a:cubicBezTo>
                    <a:pt x="166" y="22"/>
                    <a:pt x="166" y="22"/>
                    <a:pt x="166" y="22"/>
                  </a:cubicBezTo>
                  <a:cubicBezTo>
                    <a:pt x="166" y="22"/>
                    <a:pt x="166" y="22"/>
                    <a:pt x="166" y="21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8" y="21"/>
                    <a:pt x="168" y="21"/>
                    <a:pt x="168" y="21"/>
                  </a:cubicBezTo>
                  <a:cubicBezTo>
                    <a:pt x="168" y="21"/>
                    <a:pt x="168" y="20"/>
                    <a:pt x="168" y="20"/>
                  </a:cubicBezTo>
                  <a:cubicBezTo>
                    <a:pt x="169" y="20"/>
                    <a:pt x="169" y="20"/>
                    <a:pt x="169" y="20"/>
                  </a:cubicBezTo>
                  <a:cubicBezTo>
                    <a:pt x="169" y="20"/>
                    <a:pt x="169" y="20"/>
                    <a:pt x="169" y="20"/>
                  </a:cubicBezTo>
                  <a:cubicBezTo>
                    <a:pt x="170" y="20"/>
                    <a:pt x="170" y="19"/>
                    <a:pt x="170" y="19"/>
                  </a:cubicBezTo>
                  <a:cubicBezTo>
                    <a:pt x="170" y="19"/>
                    <a:pt x="170" y="19"/>
                    <a:pt x="171" y="19"/>
                  </a:cubicBezTo>
                  <a:cubicBezTo>
                    <a:pt x="171" y="19"/>
                    <a:pt x="171" y="19"/>
                    <a:pt x="171" y="19"/>
                  </a:cubicBezTo>
                  <a:cubicBezTo>
                    <a:pt x="171" y="18"/>
                    <a:pt x="171" y="18"/>
                    <a:pt x="172" y="18"/>
                  </a:cubicBezTo>
                  <a:cubicBezTo>
                    <a:pt x="172" y="18"/>
                    <a:pt x="172" y="18"/>
                    <a:pt x="172" y="18"/>
                  </a:cubicBezTo>
                  <a:cubicBezTo>
                    <a:pt x="172" y="18"/>
                    <a:pt x="173" y="17"/>
                    <a:pt x="173" y="17"/>
                  </a:cubicBezTo>
                  <a:cubicBezTo>
                    <a:pt x="173" y="17"/>
                    <a:pt x="173" y="17"/>
                    <a:pt x="173" y="17"/>
                  </a:cubicBezTo>
                  <a:cubicBezTo>
                    <a:pt x="173" y="17"/>
                    <a:pt x="174" y="17"/>
                    <a:pt x="174" y="17"/>
                  </a:cubicBezTo>
                  <a:cubicBezTo>
                    <a:pt x="174" y="17"/>
                    <a:pt x="174" y="17"/>
                    <a:pt x="174" y="17"/>
                  </a:cubicBezTo>
                  <a:cubicBezTo>
                    <a:pt x="175" y="16"/>
                    <a:pt x="175" y="16"/>
                    <a:pt x="175" y="16"/>
                  </a:cubicBezTo>
                  <a:cubicBezTo>
                    <a:pt x="175" y="16"/>
                    <a:pt x="176" y="16"/>
                    <a:pt x="176" y="15"/>
                  </a:cubicBezTo>
                  <a:cubicBezTo>
                    <a:pt x="176" y="15"/>
                    <a:pt x="176" y="15"/>
                    <a:pt x="177" y="15"/>
                  </a:cubicBezTo>
                  <a:cubicBezTo>
                    <a:pt x="177" y="15"/>
                    <a:pt x="177" y="15"/>
                    <a:pt x="177" y="15"/>
                  </a:cubicBezTo>
                  <a:cubicBezTo>
                    <a:pt x="177" y="15"/>
                    <a:pt x="177" y="14"/>
                    <a:pt x="178" y="14"/>
                  </a:cubicBezTo>
                  <a:cubicBezTo>
                    <a:pt x="178" y="14"/>
                    <a:pt x="178" y="14"/>
                    <a:pt x="178" y="14"/>
                  </a:cubicBezTo>
                  <a:cubicBezTo>
                    <a:pt x="178" y="14"/>
                    <a:pt x="178" y="14"/>
                    <a:pt x="178" y="14"/>
                  </a:cubicBezTo>
                  <a:cubicBezTo>
                    <a:pt x="201" y="9"/>
                    <a:pt x="224" y="5"/>
                    <a:pt x="246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47" y="3"/>
                    <a:pt x="248" y="6"/>
                    <a:pt x="249" y="9"/>
                  </a:cubicBezTo>
                  <a:cubicBezTo>
                    <a:pt x="249" y="9"/>
                    <a:pt x="249" y="9"/>
                    <a:pt x="249" y="9"/>
                  </a:cubicBezTo>
                  <a:cubicBezTo>
                    <a:pt x="249" y="9"/>
                    <a:pt x="249" y="9"/>
                    <a:pt x="249" y="10"/>
                  </a:cubicBezTo>
                  <a:cubicBezTo>
                    <a:pt x="249" y="10"/>
                    <a:pt x="249" y="10"/>
                    <a:pt x="250" y="10"/>
                  </a:cubicBezTo>
                  <a:cubicBezTo>
                    <a:pt x="250" y="10"/>
                    <a:pt x="250" y="11"/>
                    <a:pt x="250" y="11"/>
                  </a:cubicBezTo>
                  <a:cubicBezTo>
                    <a:pt x="250" y="11"/>
                    <a:pt x="250" y="11"/>
                    <a:pt x="250" y="11"/>
                  </a:cubicBezTo>
                  <a:cubicBezTo>
                    <a:pt x="250" y="11"/>
                    <a:pt x="250" y="12"/>
                    <a:pt x="250" y="12"/>
                  </a:cubicBezTo>
                  <a:cubicBezTo>
                    <a:pt x="250" y="14"/>
                    <a:pt x="251" y="14"/>
                    <a:pt x="251" y="16"/>
                  </a:cubicBezTo>
                  <a:cubicBezTo>
                    <a:pt x="250" y="16"/>
                    <a:pt x="251" y="17"/>
                    <a:pt x="250" y="17"/>
                  </a:cubicBezTo>
                  <a:cubicBezTo>
                    <a:pt x="250" y="17"/>
                    <a:pt x="250" y="17"/>
                    <a:pt x="250" y="18"/>
                  </a:cubicBezTo>
                  <a:cubicBezTo>
                    <a:pt x="249" y="18"/>
                    <a:pt x="249" y="19"/>
                    <a:pt x="249" y="19"/>
                  </a:cubicBezTo>
                  <a:cubicBezTo>
                    <a:pt x="249" y="19"/>
                    <a:pt x="249" y="19"/>
                    <a:pt x="249" y="19"/>
                  </a:cubicBezTo>
                  <a:cubicBezTo>
                    <a:pt x="249" y="19"/>
                    <a:pt x="249" y="19"/>
                    <a:pt x="249" y="20"/>
                  </a:cubicBezTo>
                  <a:cubicBezTo>
                    <a:pt x="249" y="20"/>
                    <a:pt x="249" y="20"/>
                    <a:pt x="249" y="20"/>
                  </a:cubicBezTo>
                  <a:cubicBezTo>
                    <a:pt x="249" y="20"/>
                    <a:pt x="249" y="20"/>
                    <a:pt x="249" y="20"/>
                  </a:cubicBezTo>
                  <a:cubicBezTo>
                    <a:pt x="248" y="20"/>
                    <a:pt x="248" y="20"/>
                    <a:pt x="248" y="20"/>
                  </a:cubicBezTo>
                  <a:cubicBezTo>
                    <a:pt x="248" y="21"/>
                    <a:pt x="248" y="21"/>
                    <a:pt x="248" y="21"/>
                  </a:cubicBezTo>
                  <a:cubicBezTo>
                    <a:pt x="248" y="21"/>
                    <a:pt x="248" y="21"/>
                    <a:pt x="248" y="21"/>
                  </a:cubicBezTo>
                  <a:cubicBezTo>
                    <a:pt x="248" y="21"/>
                    <a:pt x="248" y="22"/>
                    <a:pt x="248" y="22"/>
                  </a:cubicBezTo>
                  <a:cubicBezTo>
                    <a:pt x="248" y="22"/>
                    <a:pt x="247" y="22"/>
                    <a:pt x="247" y="22"/>
                  </a:cubicBezTo>
                  <a:cubicBezTo>
                    <a:pt x="247" y="22"/>
                    <a:pt x="247" y="23"/>
                    <a:pt x="247" y="23"/>
                  </a:cubicBezTo>
                  <a:cubicBezTo>
                    <a:pt x="247" y="23"/>
                    <a:pt x="247" y="23"/>
                    <a:pt x="247" y="23"/>
                  </a:cubicBezTo>
                  <a:cubicBezTo>
                    <a:pt x="247" y="23"/>
                    <a:pt x="247" y="23"/>
                    <a:pt x="247" y="24"/>
                  </a:cubicBezTo>
                  <a:cubicBezTo>
                    <a:pt x="247" y="24"/>
                    <a:pt x="247" y="24"/>
                    <a:pt x="246" y="24"/>
                  </a:cubicBezTo>
                  <a:cubicBezTo>
                    <a:pt x="246" y="24"/>
                    <a:pt x="246" y="24"/>
                    <a:pt x="246" y="24"/>
                  </a:cubicBezTo>
                  <a:cubicBezTo>
                    <a:pt x="246" y="24"/>
                    <a:pt x="246" y="24"/>
                    <a:pt x="246" y="24"/>
                  </a:cubicBezTo>
                  <a:cubicBezTo>
                    <a:pt x="246" y="24"/>
                    <a:pt x="246" y="25"/>
                    <a:pt x="246" y="25"/>
                  </a:cubicBezTo>
                  <a:cubicBezTo>
                    <a:pt x="246" y="25"/>
                    <a:pt x="246" y="25"/>
                    <a:pt x="246" y="25"/>
                  </a:cubicBezTo>
                  <a:cubicBezTo>
                    <a:pt x="246" y="25"/>
                    <a:pt x="246" y="26"/>
                    <a:pt x="245" y="26"/>
                  </a:cubicBezTo>
                  <a:cubicBezTo>
                    <a:pt x="245" y="26"/>
                    <a:pt x="245" y="27"/>
                    <a:pt x="245" y="27"/>
                  </a:cubicBezTo>
                  <a:cubicBezTo>
                    <a:pt x="245" y="27"/>
                    <a:pt x="245" y="27"/>
                    <a:pt x="245" y="27"/>
                  </a:cubicBezTo>
                  <a:cubicBezTo>
                    <a:pt x="245" y="27"/>
                    <a:pt x="244" y="27"/>
                    <a:pt x="244" y="27"/>
                  </a:cubicBezTo>
                  <a:cubicBezTo>
                    <a:pt x="244" y="28"/>
                    <a:pt x="244" y="28"/>
                    <a:pt x="244" y="28"/>
                  </a:cubicBezTo>
                  <a:cubicBezTo>
                    <a:pt x="244" y="28"/>
                    <a:pt x="244" y="28"/>
                    <a:pt x="244" y="28"/>
                  </a:cubicBezTo>
                  <a:cubicBezTo>
                    <a:pt x="244" y="28"/>
                    <a:pt x="244" y="29"/>
                    <a:pt x="244" y="29"/>
                  </a:cubicBezTo>
                  <a:cubicBezTo>
                    <a:pt x="244" y="29"/>
                    <a:pt x="244" y="29"/>
                    <a:pt x="244" y="29"/>
                  </a:cubicBezTo>
                  <a:cubicBezTo>
                    <a:pt x="244" y="29"/>
                    <a:pt x="244" y="29"/>
                    <a:pt x="244" y="29"/>
                  </a:cubicBezTo>
                  <a:cubicBezTo>
                    <a:pt x="244" y="29"/>
                    <a:pt x="243" y="29"/>
                    <a:pt x="243" y="29"/>
                  </a:cubicBezTo>
                  <a:cubicBezTo>
                    <a:pt x="243" y="30"/>
                    <a:pt x="243" y="30"/>
                    <a:pt x="243" y="30"/>
                  </a:cubicBezTo>
                  <a:cubicBezTo>
                    <a:pt x="243" y="30"/>
                    <a:pt x="243" y="30"/>
                    <a:pt x="243" y="30"/>
                  </a:cubicBezTo>
                  <a:cubicBezTo>
                    <a:pt x="243" y="30"/>
                    <a:pt x="243" y="31"/>
                    <a:pt x="243" y="31"/>
                  </a:cubicBezTo>
                  <a:cubicBezTo>
                    <a:pt x="243" y="31"/>
                    <a:pt x="242" y="31"/>
                    <a:pt x="242" y="31"/>
                  </a:cubicBezTo>
                  <a:cubicBezTo>
                    <a:pt x="242" y="31"/>
                    <a:pt x="242" y="32"/>
                    <a:pt x="242" y="32"/>
                  </a:cubicBezTo>
                  <a:cubicBezTo>
                    <a:pt x="242" y="32"/>
                    <a:pt x="242" y="32"/>
                    <a:pt x="242" y="32"/>
                  </a:cubicBezTo>
                  <a:cubicBezTo>
                    <a:pt x="242" y="32"/>
                    <a:pt x="242" y="32"/>
                    <a:pt x="242" y="33"/>
                  </a:cubicBezTo>
                  <a:cubicBezTo>
                    <a:pt x="242" y="33"/>
                    <a:pt x="242" y="33"/>
                    <a:pt x="242" y="33"/>
                  </a:cubicBezTo>
                  <a:cubicBezTo>
                    <a:pt x="242" y="33"/>
                    <a:pt x="242" y="33"/>
                    <a:pt x="242" y="33"/>
                  </a:cubicBezTo>
                  <a:cubicBezTo>
                    <a:pt x="241" y="33"/>
                    <a:pt x="241" y="33"/>
                    <a:pt x="241" y="33"/>
                  </a:cubicBezTo>
                  <a:cubicBezTo>
                    <a:pt x="241" y="34"/>
                    <a:pt x="241" y="34"/>
                    <a:pt x="241" y="34"/>
                  </a:cubicBezTo>
                  <a:cubicBezTo>
                    <a:pt x="241" y="34"/>
                    <a:pt x="241" y="34"/>
                    <a:pt x="241" y="34"/>
                  </a:cubicBezTo>
                  <a:cubicBezTo>
                    <a:pt x="241" y="34"/>
                    <a:pt x="241" y="35"/>
                    <a:pt x="241" y="35"/>
                  </a:cubicBezTo>
                  <a:cubicBezTo>
                    <a:pt x="240" y="36"/>
                    <a:pt x="240" y="36"/>
                    <a:pt x="240" y="36"/>
                  </a:cubicBezTo>
                  <a:cubicBezTo>
                    <a:pt x="240" y="36"/>
                    <a:pt x="240" y="36"/>
                    <a:pt x="240" y="36"/>
                  </a:cubicBezTo>
                  <a:cubicBezTo>
                    <a:pt x="240" y="36"/>
                    <a:pt x="240" y="36"/>
                    <a:pt x="239" y="36"/>
                  </a:cubicBezTo>
                  <a:cubicBezTo>
                    <a:pt x="239" y="37"/>
                    <a:pt x="239" y="38"/>
                    <a:pt x="239" y="39"/>
                  </a:cubicBezTo>
                  <a:cubicBezTo>
                    <a:pt x="239" y="39"/>
                    <a:pt x="239" y="39"/>
                    <a:pt x="238" y="39"/>
                  </a:cubicBezTo>
                  <a:cubicBezTo>
                    <a:pt x="238" y="39"/>
                    <a:pt x="238" y="39"/>
                    <a:pt x="238" y="39"/>
                  </a:cubicBezTo>
                  <a:cubicBezTo>
                    <a:pt x="238" y="39"/>
                    <a:pt x="238" y="39"/>
                    <a:pt x="238" y="39"/>
                  </a:cubicBezTo>
                  <a:cubicBezTo>
                    <a:pt x="238" y="40"/>
                    <a:pt x="238" y="39"/>
                    <a:pt x="238" y="40"/>
                  </a:cubicBezTo>
                  <a:cubicBezTo>
                    <a:pt x="239" y="40"/>
                    <a:pt x="239" y="41"/>
                    <a:pt x="239" y="41"/>
                  </a:cubicBezTo>
                  <a:cubicBezTo>
                    <a:pt x="239" y="41"/>
                    <a:pt x="240" y="41"/>
                    <a:pt x="240" y="41"/>
                  </a:cubicBezTo>
                  <a:cubicBezTo>
                    <a:pt x="240" y="42"/>
                    <a:pt x="240" y="42"/>
                    <a:pt x="240" y="42"/>
                  </a:cubicBezTo>
                  <a:cubicBezTo>
                    <a:pt x="240" y="42"/>
                    <a:pt x="240" y="42"/>
                    <a:pt x="241" y="42"/>
                  </a:cubicBezTo>
                  <a:cubicBezTo>
                    <a:pt x="241" y="43"/>
                    <a:pt x="241" y="43"/>
                    <a:pt x="241" y="43"/>
                  </a:cubicBezTo>
                  <a:cubicBezTo>
                    <a:pt x="241" y="43"/>
                    <a:pt x="241" y="44"/>
                    <a:pt x="242" y="44"/>
                  </a:cubicBezTo>
                  <a:cubicBezTo>
                    <a:pt x="242" y="44"/>
                    <a:pt x="242" y="44"/>
                    <a:pt x="242" y="45"/>
                  </a:cubicBezTo>
                  <a:cubicBezTo>
                    <a:pt x="242" y="45"/>
                    <a:pt x="242" y="45"/>
                    <a:pt x="242" y="45"/>
                  </a:cubicBezTo>
                  <a:cubicBezTo>
                    <a:pt x="242" y="45"/>
                    <a:pt x="242" y="45"/>
                    <a:pt x="242" y="46"/>
                  </a:cubicBezTo>
                  <a:cubicBezTo>
                    <a:pt x="243" y="46"/>
                    <a:pt x="243" y="46"/>
                    <a:pt x="243" y="46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4" y="47"/>
                    <a:pt x="244" y="47"/>
                    <a:pt x="244" y="48"/>
                  </a:cubicBezTo>
                  <a:cubicBezTo>
                    <a:pt x="244" y="48"/>
                    <a:pt x="244" y="48"/>
                    <a:pt x="244" y="48"/>
                  </a:cubicBezTo>
                  <a:cubicBezTo>
                    <a:pt x="245" y="48"/>
                    <a:pt x="245" y="49"/>
                    <a:pt x="245" y="49"/>
                  </a:cubicBezTo>
                  <a:cubicBezTo>
                    <a:pt x="245" y="49"/>
                    <a:pt x="245" y="49"/>
                    <a:pt x="245" y="49"/>
                  </a:cubicBezTo>
                  <a:cubicBezTo>
                    <a:pt x="245" y="50"/>
                    <a:pt x="246" y="50"/>
                    <a:pt x="246" y="50"/>
                  </a:cubicBezTo>
                  <a:cubicBezTo>
                    <a:pt x="246" y="50"/>
                    <a:pt x="246" y="51"/>
                    <a:pt x="246" y="51"/>
                  </a:cubicBezTo>
                  <a:cubicBezTo>
                    <a:pt x="246" y="51"/>
                    <a:pt x="247" y="51"/>
                    <a:pt x="247" y="51"/>
                  </a:cubicBezTo>
                  <a:cubicBezTo>
                    <a:pt x="247" y="51"/>
                    <a:pt x="247" y="52"/>
                    <a:pt x="247" y="52"/>
                  </a:cubicBezTo>
                  <a:cubicBezTo>
                    <a:pt x="247" y="52"/>
                    <a:pt x="247" y="52"/>
                    <a:pt x="247" y="52"/>
                  </a:cubicBezTo>
                  <a:cubicBezTo>
                    <a:pt x="248" y="53"/>
                    <a:pt x="248" y="53"/>
                    <a:pt x="248" y="53"/>
                  </a:cubicBezTo>
                  <a:cubicBezTo>
                    <a:pt x="248" y="54"/>
                    <a:pt x="249" y="54"/>
                    <a:pt x="249" y="54"/>
                  </a:cubicBezTo>
                  <a:cubicBezTo>
                    <a:pt x="249" y="54"/>
                    <a:pt x="249" y="54"/>
                    <a:pt x="249" y="55"/>
                  </a:cubicBezTo>
                  <a:cubicBezTo>
                    <a:pt x="249" y="55"/>
                    <a:pt x="249" y="55"/>
                    <a:pt x="250" y="55"/>
                  </a:cubicBezTo>
                  <a:cubicBezTo>
                    <a:pt x="250" y="55"/>
                    <a:pt x="250" y="55"/>
                    <a:pt x="250" y="56"/>
                  </a:cubicBezTo>
                  <a:cubicBezTo>
                    <a:pt x="250" y="56"/>
                    <a:pt x="250" y="56"/>
                    <a:pt x="251" y="56"/>
                  </a:cubicBezTo>
                  <a:cubicBezTo>
                    <a:pt x="251" y="57"/>
                    <a:pt x="251" y="57"/>
                    <a:pt x="251" y="57"/>
                  </a:cubicBezTo>
                  <a:cubicBezTo>
                    <a:pt x="251" y="57"/>
                    <a:pt x="251" y="57"/>
                    <a:pt x="251" y="57"/>
                  </a:cubicBezTo>
                  <a:cubicBezTo>
                    <a:pt x="251" y="58"/>
                    <a:pt x="251" y="58"/>
                    <a:pt x="251" y="58"/>
                  </a:cubicBezTo>
                  <a:cubicBezTo>
                    <a:pt x="252" y="58"/>
                    <a:pt x="252" y="58"/>
                    <a:pt x="252" y="59"/>
                  </a:cubicBezTo>
                  <a:cubicBezTo>
                    <a:pt x="252" y="59"/>
                    <a:pt x="252" y="59"/>
                    <a:pt x="252" y="60"/>
                  </a:cubicBezTo>
                  <a:cubicBezTo>
                    <a:pt x="253" y="60"/>
                    <a:pt x="253" y="60"/>
                    <a:pt x="253" y="60"/>
                  </a:cubicBezTo>
                  <a:cubicBezTo>
                    <a:pt x="253" y="60"/>
                    <a:pt x="253" y="61"/>
                    <a:pt x="253" y="61"/>
                  </a:cubicBezTo>
                  <a:cubicBezTo>
                    <a:pt x="254" y="61"/>
                    <a:pt x="254" y="61"/>
                    <a:pt x="254" y="61"/>
                  </a:cubicBezTo>
                  <a:cubicBezTo>
                    <a:pt x="254" y="62"/>
                    <a:pt x="254" y="62"/>
                    <a:pt x="254" y="62"/>
                  </a:cubicBezTo>
                  <a:cubicBezTo>
                    <a:pt x="254" y="62"/>
                    <a:pt x="255" y="62"/>
                    <a:pt x="255" y="63"/>
                  </a:cubicBezTo>
                  <a:cubicBezTo>
                    <a:pt x="255" y="63"/>
                    <a:pt x="255" y="63"/>
                    <a:pt x="255" y="63"/>
                  </a:cubicBezTo>
                  <a:cubicBezTo>
                    <a:pt x="255" y="64"/>
                    <a:pt x="256" y="64"/>
                    <a:pt x="256" y="64"/>
                  </a:cubicBezTo>
                  <a:cubicBezTo>
                    <a:pt x="256" y="64"/>
                    <a:pt x="256" y="64"/>
                    <a:pt x="256" y="64"/>
                  </a:cubicBezTo>
                  <a:cubicBezTo>
                    <a:pt x="256" y="65"/>
                    <a:pt x="257" y="65"/>
                    <a:pt x="257" y="65"/>
                  </a:cubicBezTo>
                  <a:cubicBezTo>
                    <a:pt x="257" y="65"/>
                    <a:pt x="257" y="66"/>
                    <a:pt x="257" y="66"/>
                  </a:cubicBezTo>
                  <a:cubicBezTo>
                    <a:pt x="257" y="66"/>
                    <a:pt x="258" y="66"/>
                    <a:pt x="258" y="67"/>
                  </a:cubicBezTo>
                  <a:cubicBezTo>
                    <a:pt x="258" y="67"/>
                    <a:pt x="258" y="67"/>
                    <a:pt x="258" y="67"/>
                  </a:cubicBezTo>
                  <a:cubicBezTo>
                    <a:pt x="258" y="67"/>
                    <a:pt x="258" y="67"/>
                    <a:pt x="259" y="68"/>
                  </a:cubicBezTo>
                  <a:cubicBezTo>
                    <a:pt x="259" y="68"/>
                    <a:pt x="259" y="68"/>
                    <a:pt x="259" y="68"/>
                  </a:cubicBezTo>
                  <a:cubicBezTo>
                    <a:pt x="259" y="69"/>
                    <a:pt x="259" y="69"/>
                    <a:pt x="260" y="69"/>
                  </a:cubicBezTo>
                  <a:cubicBezTo>
                    <a:pt x="260" y="69"/>
                    <a:pt x="260" y="69"/>
                    <a:pt x="260" y="70"/>
                  </a:cubicBezTo>
                  <a:cubicBezTo>
                    <a:pt x="260" y="70"/>
                    <a:pt x="260" y="70"/>
                    <a:pt x="260" y="70"/>
                  </a:cubicBezTo>
                  <a:cubicBezTo>
                    <a:pt x="260" y="70"/>
                    <a:pt x="260" y="71"/>
                    <a:pt x="260" y="71"/>
                  </a:cubicBezTo>
                  <a:cubicBezTo>
                    <a:pt x="261" y="71"/>
                    <a:pt x="261" y="71"/>
                    <a:pt x="261" y="71"/>
                  </a:cubicBezTo>
                  <a:cubicBezTo>
                    <a:pt x="262" y="72"/>
                    <a:pt x="262" y="72"/>
                    <a:pt x="262" y="73"/>
                  </a:cubicBezTo>
                  <a:cubicBezTo>
                    <a:pt x="262" y="73"/>
                    <a:pt x="262" y="73"/>
                    <a:pt x="261" y="73"/>
                  </a:cubicBezTo>
                  <a:cubicBezTo>
                    <a:pt x="261" y="73"/>
                    <a:pt x="261" y="74"/>
                    <a:pt x="261" y="74"/>
                  </a:cubicBezTo>
                  <a:cubicBezTo>
                    <a:pt x="261" y="74"/>
                    <a:pt x="261" y="74"/>
                    <a:pt x="261" y="74"/>
                  </a:cubicBezTo>
                  <a:cubicBezTo>
                    <a:pt x="261" y="74"/>
                    <a:pt x="261" y="75"/>
                    <a:pt x="261" y="75"/>
                  </a:cubicBezTo>
                  <a:cubicBezTo>
                    <a:pt x="261" y="75"/>
                    <a:pt x="261" y="75"/>
                    <a:pt x="260" y="75"/>
                  </a:cubicBezTo>
                  <a:cubicBezTo>
                    <a:pt x="260" y="75"/>
                    <a:pt x="260" y="75"/>
                    <a:pt x="260" y="76"/>
                  </a:cubicBezTo>
                  <a:cubicBezTo>
                    <a:pt x="260" y="76"/>
                    <a:pt x="260" y="76"/>
                    <a:pt x="260" y="76"/>
                  </a:cubicBezTo>
                  <a:cubicBezTo>
                    <a:pt x="260" y="76"/>
                    <a:pt x="260" y="76"/>
                    <a:pt x="260" y="77"/>
                  </a:cubicBezTo>
                  <a:cubicBezTo>
                    <a:pt x="260" y="77"/>
                    <a:pt x="260" y="77"/>
                    <a:pt x="259" y="77"/>
                  </a:cubicBezTo>
                  <a:cubicBezTo>
                    <a:pt x="259" y="77"/>
                    <a:pt x="259" y="77"/>
                    <a:pt x="259" y="77"/>
                  </a:cubicBezTo>
                  <a:cubicBezTo>
                    <a:pt x="259" y="77"/>
                    <a:pt x="259" y="77"/>
                    <a:pt x="259" y="77"/>
                  </a:cubicBezTo>
                  <a:cubicBezTo>
                    <a:pt x="259" y="78"/>
                    <a:pt x="259" y="78"/>
                    <a:pt x="259" y="78"/>
                  </a:cubicBezTo>
                  <a:cubicBezTo>
                    <a:pt x="258" y="79"/>
                    <a:pt x="258" y="79"/>
                    <a:pt x="258" y="79"/>
                  </a:cubicBezTo>
                  <a:cubicBezTo>
                    <a:pt x="258" y="79"/>
                    <a:pt x="258" y="79"/>
                    <a:pt x="258" y="79"/>
                  </a:cubicBezTo>
                  <a:cubicBezTo>
                    <a:pt x="258" y="79"/>
                    <a:pt x="258" y="79"/>
                    <a:pt x="258" y="79"/>
                  </a:cubicBezTo>
                  <a:cubicBezTo>
                    <a:pt x="258" y="80"/>
                    <a:pt x="258" y="80"/>
                    <a:pt x="258" y="80"/>
                  </a:cubicBezTo>
                  <a:cubicBezTo>
                    <a:pt x="257" y="80"/>
                    <a:pt x="257" y="80"/>
                    <a:pt x="257" y="81"/>
                  </a:cubicBezTo>
                  <a:cubicBezTo>
                    <a:pt x="257" y="81"/>
                    <a:pt x="257" y="81"/>
                    <a:pt x="257" y="82"/>
                  </a:cubicBezTo>
                  <a:cubicBezTo>
                    <a:pt x="256" y="82"/>
                    <a:pt x="256" y="82"/>
                    <a:pt x="256" y="82"/>
                  </a:cubicBezTo>
                  <a:cubicBezTo>
                    <a:pt x="256" y="83"/>
                    <a:pt x="256" y="83"/>
                    <a:pt x="256" y="83"/>
                  </a:cubicBezTo>
                  <a:cubicBezTo>
                    <a:pt x="256" y="83"/>
                    <a:pt x="255" y="83"/>
                    <a:pt x="255" y="83"/>
                  </a:cubicBezTo>
                  <a:cubicBezTo>
                    <a:pt x="255" y="84"/>
                    <a:pt x="255" y="84"/>
                    <a:pt x="255" y="85"/>
                  </a:cubicBezTo>
                  <a:cubicBezTo>
                    <a:pt x="255" y="85"/>
                    <a:pt x="254" y="85"/>
                    <a:pt x="254" y="85"/>
                  </a:cubicBezTo>
                  <a:cubicBezTo>
                    <a:pt x="254" y="86"/>
                    <a:pt x="254" y="86"/>
                    <a:pt x="254" y="86"/>
                  </a:cubicBezTo>
                  <a:cubicBezTo>
                    <a:pt x="254" y="86"/>
                    <a:pt x="254" y="86"/>
                    <a:pt x="253" y="86"/>
                  </a:cubicBezTo>
                  <a:cubicBezTo>
                    <a:pt x="253" y="87"/>
                    <a:pt x="253" y="87"/>
                    <a:pt x="253" y="88"/>
                  </a:cubicBezTo>
                  <a:cubicBezTo>
                    <a:pt x="253" y="88"/>
                    <a:pt x="253" y="88"/>
                    <a:pt x="252" y="88"/>
                  </a:cubicBezTo>
                  <a:cubicBezTo>
                    <a:pt x="252" y="88"/>
                    <a:pt x="252" y="88"/>
                    <a:pt x="252" y="89"/>
                  </a:cubicBezTo>
                  <a:cubicBezTo>
                    <a:pt x="252" y="89"/>
                    <a:pt x="252" y="89"/>
                    <a:pt x="252" y="89"/>
                  </a:cubicBezTo>
                  <a:cubicBezTo>
                    <a:pt x="252" y="89"/>
                    <a:pt x="252" y="89"/>
                    <a:pt x="252" y="89"/>
                  </a:cubicBezTo>
                  <a:cubicBezTo>
                    <a:pt x="252" y="89"/>
                    <a:pt x="252" y="90"/>
                    <a:pt x="251" y="90"/>
                  </a:cubicBezTo>
                  <a:cubicBezTo>
                    <a:pt x="251" y="90"/>
                    <a:pt x="251" y="91"/>
                    <a:pt x="251" y="91"/>
                  </a:cubicBezTo>
                  <a:cubicBezTo>
                    <a:pt x="251" y="91"/>
                    <a:pt x="251" y="91"/>
                    <a:pt x="250" y="91"/>
                  </a:cubicBezTo>
                  <a:cubicBezTo>
                    <a:pt x="250" y="92"/>
                    <a:pt x="250" y="92"/>
                    <a:pt x="250" y="92"/>
                  </a:cubicBezTo>
                  <a:cubicBezTo>
                    <a:pt x="250" y="92"/>
                    <a:pt x="250" y="92"/>
                    <a:pt x="250" y="92"/>
                  </a:cubicBezTo>
                  <a:cubicBezTo>
                    <a:pt x="249" y="93"/>
                    <a:pt x="249" y="93"/>
                    <a:pt x="249" y="94"/>
                  </a:cubicBezTo>
                  <a:cubicBezTo>
                    <a:pt x="249" y="94"/>
                    <a:pt x="249" y="94"/>
                    <a:pt x="249" y="94"/>
                  </a:cubicBezTo>
                  <a:cubicBezTo>
                    <a:pt x="249" y="94"/>
                    <a:pt x="249" y="95"/>
                    <a:pt x="249" y="95"/>
                  </a:cubicBezTo>
                  <a:cubicBezTo>
                    <a:pt x="248" y="96"/>
                    <a:pt x="248" y="95"/>
                    <a:pt x="247" y="97"/>
                  </a:cubicBezTo>
                  <a:cubicBezTo>
                    <a:pt x="248" y="97"/>
                    <a:pt x="248" y="97"/>
                    <a:pt x="248" y="97"/>
                  </a:cubicBezTo>
                  <a:cubicBezTo>
                    <a:pt x="248" y="98"/>
                    <a:pt x="248" y="99"/>
                    <a:pt x="248" y="99"/>
                  </a:cubicBezTo>
                  <a:cubicBezTo>
                    <a:pt x="248" y="99"/>
                    <a:pt x="248" y="99"/>
                    <a:pt x="249" y="99"/>
                  </a:cubicBezTo>
                  <a:cubicBezTo>
                    <a:pt x="249" y="100"/>
                    <a:pt x="249" y="100"/>
                    <a:pt x="249" y="100"/>
                  </a:cubicBezTo>
                  <a:cubicBezTo>
                    <a:pt x="249" y="100"/>
                    <a:pt x="249" y="100"/>
                    <a:pt x="249" y="100"/>
                  </a:cubicBezTo>
                  <a:cubicBezTo>
                    <a:pt x="249" y="100"/>
                    <a:pt x="249" y="101"/>
                    <a:pt x="249" y="101"/>
                  </a:cubicBezTo>
                  <a:cubicBezTo>
                    <a:pt x="249" y="101"/>
                    <a:pt x="249" y="101"/>
                    <a:pt x="249" y="101"/>
                  </a:cubicBezTo>
                  <a:cubicBezTo>
                    <a:pt x="249" y="102"/>
                    <a:pt x="249" y="102"/>
                    <a:pt x="249" y="102"/>
                  </a:cubicBezTo>
                  <a:cubicBezTo>
                    <a:pt x="249" y="102"/>
                    <a:pt x="249" y="102"/>
                    <a:pt x="250" y="102"/>
                  </a:cubicBezTo>
                  <a:cubicBezTo>
                    <a:pt x="250" y="102"/>
                    <a:pt x="250" y="103"/>
                    <a:pt x="250" y="103"/>
                  </a:cubicBezTo>
                  <a:cubicBezTo>
                    <a:pt x="250" y="103"/>
                    <a:pt x="250" y="103"/>
                    <a:pt x="250" y="103"/>
                  </a:cubicBezTo>
                  <a:cubicBezTo>
                    <a:pt x="250" y="104"/>
                    <a:pt x="250" y="104"/>
                    <a:pt x="250" y="105"/>
                  </a:cubicBezTo>
                  <a:cubicBezTo>
                    <a:pt x="250" y="105"/>
                    <a:pt x="251" y="105"/>
                    <a:pt x="251" y="105"/>
                  </a:cubicBezTo>
                  <a:cubicBezTo>
                    <a:pt x="251" y="105"/>
                    <a:pt x="251" y="105"/>
                    <a:pt x="251" y="106"/>
                  </a:cubicBezTo>
                  <a:cubicBezTo>
                    <a:pt x="251" y="106"/>
                    <a:pt x="251" y="106"/>
                    <a:pt x="251" y="106"/>
                  </a:cubicBezTo>
                  <a:cubicBezTo>
                    <a:pt x="251" y="106"/>
                    <a:pt x="251" y="107"/>
                    <a:pt x="251" y="108"/>
                  </a:cubicBezTo>
                  <a:cubicBezTo>
                    <a:pt x="251" y="108"/>
                    <a:pt x="252" y="108"/>
                    <a:pt x="252" y="108"/>
                  </a:cubicBezTo>
                  <a:cubicBezTo>
                    <a:pt x="252" y="108"/>
                    <a:pt x="252" y="108"/>
                    <a:pt x="252" y="109"/>
                  </a:cubicBezTo>
                  <a:cubicBezTo>
                    <a:pt x="252" y="109"/>
                    <a:pt x="252" y="109"/>
                    <a:pt x="252" y="109"/>
                  </a:cubicBezTo>
                  <a:cubicBezTo>
                    <a:pt x="252" y="109"/>
                    <a:pt x="252" y="110"/>
                    <a:pt x="252" y="111"/>
                  </a:cubicBezTo>
                  <a:cubicBezTo>
                    <a:pt x="253" y="111"/>
                    <a:pt x="253" y="111"/>
                    <a:pt x="253" y="111"/>
                  </a:cubicBezTo>
                  <a:cubicBezTo>
                    <a:pt x="253" y="111"/>
                    <a:pt x="253" y="111"/>
                    <a:pt x="253" y="111"/>
                  </a:cubicBezTo>
                  <a:cubicBezTo>
                    <a:pt x="253" y="111"/>
                    <a:pt x="253" y="111"/>
                    <a:pt x="253" y="111"/>
                  </a:cubicBezTo>
                  <a:cubicBezTo>
                    <a:pt x="253" y="112"/>
                    <a:pt x="253" y="113"/>
                    <a:pt x="253" y="113"/>
                  </a:cubicBezTo>
                  <a:cubicBezTo>
                    <a:pt x="254" y="113"/>
                    <a:pt x="254" y="113"/>
                    <a:pt x="254" y="113"/>
                  </a:cubicBezTo>
                  <a:cubicBezTo>
                    <a:pt x="254" y="114"/>
                    <a:pt x="254" y="114"/>
                    <a:pt x="254" y="114"/>
                  </a:cubicBezTo>
                  <a:cubicBezTo>
                    <a:pt x="254" y="114"/>
                    <a:pt x="254" y="114"/>
                    <a:pt x="254" y="114"/>
                  </a:cubicBezTo>
                  <a:cubicBezTo>
                    <a:pt x="254" y="115"/>
                    <a:pt x="254" y="116"/>
                    <a:pt x="254" y="116"/>
                  </a:cubicBezTo>
                  <a:cubicBezTo>
                    <a:pt x="255" y="116"/>
                    <a:pt x="255" y="116"/>
                    <a:pt x="255" y="116"/>
                  </a:cubicBezTo>
                  <a:cubicBezTo>
                    <a:pt x="255" y="116"/>
                    <a:pt x="255" y="117"/>
                    <a:pt x="255" y="117"/>
                  </a:cubicBezTo>
                  <a:cubicBezTo>
                    <a:pt x="255" y="117"/>
                    <a:pt x="255" y="117"/>
                    <a:pt x="255" y="117"/>
                  </a:cubicBezTo>
                  <a:cubicBezTo>
                    <a:pt x="255" y="118"/>
                    <a:pt x="255" y="118"/>
                    <a:pt x="256" y="119"/>
                  </a:cubicBezTo>
                  <a:cubicBezTo>
                    <a:pt x="256" y="119"/>
                    <a:pt x="256" y="119"/>
                    <a:pt x="256" y="119"/>
                  </a:cubicBezTo>
                  <a:cubicBezTo>
                    <a:pt x="256" y="119"/>
                    <a:pt x="256" y="119"/>
                    <a:pt x="256" y="120"/>
                  </a:cubicBezTo>
                  <a:cubicBezTo>
                    <a:pt x="256" y="120"/>
                    <a:pt x="256" y="120"/>
                    <a:pt x="256" y="120"/>
                  </a:cubicBezTo>
                  <a:cubicBezTo>
                    <a:pt x="256" y="120"/>
                    <a:pt x="256" y="121"/>
                    <a:pt x="257" y="122"/>
                  </a:cubicBezTo>
                  <a:cubicBezTo>
                    <a:pt x="257" y="122"/>
                    <a:pt x="257" y="122"/>
                    <a:pt x="257" y="122"/>
                  </a:cubicBezTo>
                  <a:cubicBezTo>
                    <a:pt x="257" y="122"/>
                    <a:pt x="257" y="122"/>
                    <a:pt x="257" y="123"/>
                  </a:cubicBezTo>
                  <a:cubicBezTo>
                    <a:pt x="257" y="123"/>
                    <a:pt x="257" y="123"/>
                    <a:pt x="257" y="123"/>
                  </a:cubicBezTo>
                  <a:cubicBezTo>
                    <a:pt x="257" y="123"/>
                    <a:pt x="258" y="124"/>
                    <a:pt x="258" y="125"/>
                  </a:cubicBezTo>
                  <a:cubicBezTo>
                    <a:pt x="258" y="125"/>
                    <a:pt x="258" y="125"/>
                    <a:pt x="258" y="125"/>
                  </a:cubicBezTo>
                  <a:cubicBezTo>
                    <a:pt x="258" y="125"/>
                    <a:pt x="258" y="125"/>
                    <a:pt x="258" y="125"/>
                  </a:cubicBezTo>
                  <a:cubicBezTo>
                    <a:pt x="258" y="125"/>
                    <a:pt x="258" y="125"/>
                    <a:pt x="258" y="125"/>
                  </a:cubicBezTo>
                  <a:cubicBezTo>
                    <a:pt x="258" y="126"/>
                    <a:pt x="259" y="127"/>
                    <a:pt x="259" y="127"/>
                  </a:cubicBezTo>
                  <a:cubicBezTo>
                    <a:pt x="259" y="127"/>
                    <a:pt x="259" y="127"/>
                    <a:pt x="259" y="127"/>
                  </a:cubicBezTo>
                  <a:cubicBezTo>
                    <a:pt x="259" y="128"/>
                    <a:pt x="259" y="128"/>
                    <a:pt x="259" y="128"/>
                  </a:cubicBezTo>
                  <a:cubicBezTo>
                    <a:pt x="259" y="128"/>
                    <a:pt x="259" y="128"/>
                    <a:pt x="259" y="128"/>
                  </a:cubicBezTo>
                  <a:cubicBezTo>
                    <a:pt x="260" y="129"/>
                    <a:pt x="260" y="130"/>
                    <a:pt x="260" y="130"/>
                  </a:cubicBezTo>
                  <a:cubicBezTo>
                    <a:pt x="260" y="130"/>
                    <a:pt x="260" y="130"/>
                    <a:pt x="260" y="130"/>
                  </a:cubicBezTo>
                  <a:cubicBezTo>
                    <a:pt x="260" y="130"/>
                    <a:pt x="260" y="131"/>
                    <a:pt x="260" y="131"/>
                  </a:cubicBezTo>
                  <a:cubicBezTo>
                    <a:pt x="260" y="131"/>
                    <a:pt x="260" y="131"/>
                    <a:pt x="260" y="131"/>
                  </a:cubicBezTo>
                  <a:cubicBezTo>
                    <a:pt x="261" y="132"/>
                    <a:pt x="261" y="132"/>
                    <a:pt x="261" y="133"/>
                  </a:cubicBezTo>
                  <a:cubicBezTo>
                    <a:pt x="261" y="133"/>
                    <a:pt x="261" y="133"/>
                    <a:pt x="261" y="133"/>
                  </a:cubicBezTo>
                  <a:cubicBezTo>
                    <a:pt x="261" y="151"/>
                    <a:pt x="261" y="168"/>
                    <a:pt x="260" y="186"/>
                  </a:cubicBezTo>
                  <a:cubicBezTo>
                    <a:pt x="260" y="186"/>
                    <a:pt x="259" y="187"/>
                    <a:pt x="258" y="187"/>
                  </a:cubicBezTo>
                  <a:cubicBezTo>
                    <a:pt x="258" y="187"/>
                    <a:pt x="258" y="187"/>
                    <a:pt x="258" y="188"/>
                  </a:cubicBezTo>
                  <a:cubicBezTo>
                    <a:pt x="257" y="188"/>
                    <a:pt x="257" y="188"/>
                    <a:pt x="256" y="188"/>
                  </a:cubicBezTo>
                  <a:cubicBezTo>
                    <a:pt x="256" y="188"/>
                    <a:pt x="256" y="188"/>
                    <a:pt x="256" y="189"/>
                  </a:cubicBezTo>
                  <a:cubicBezTo>
                    <a:pt x="255" y="189"/>
                    <a:pt x="254" y="189"/>
                    <a:pt x="254" y="189"/>
                  </a:cubicBezTo>
                  <a:cubicBezTo>
                    <a:pt x="254" y="190"/>
                    <a:pt x="254" y="190"/>
                    <a:pt x="253" y="190"/>
                  </a:cubicBezTo>
                  <a:cubicBezTo>
                    <a:pt x="253" y="190"/>
                    <a:pt x="252" y="190"/>
                    <a:pt x="251" y="191"/>
                  </a:cubicBezTo>
                  <a:cubicBezTo>
                    <a:pt x="251" y="191"/>
                    <a:pt x="251" y="191"/>
                    <a:pt x="251" y="191"/>
                  </a:cubicBezTo>
                  <a:cubicBezTo>
                    <a:pt x="250" y="192"/>
                    <a:pt x="250" y="192"/>
                    <a:pt x="249" y="192"/>
                  </a:cubicBezTo>
                  <a:cubicBezTo>
                    <a:pt x="249" y="192"/>
                    <a:pt x="249" y="193"/>
                    <a:pt x="249" y="193"/>
                  </a:cubicBezTo>
                  <a:cubicBezTo>
                    <a:pt x="248" y="193"/>
                    <a:pt x="248" y="193"/>
                    <a:pt x="248" y="193"/>
                  </a:cubicBezTo>
                  <a:cubicBezTo>
                    <a:pt x="248" y="193"/>
                    <a:pt x="248" y="193"/>
                    <a:pt x="248" y="193"/>
                  </a:cubicBezTo>
                  <a:cubicBezTo>
                    <a:pt x="248" y="193"/>
                    <a:pt x="247" y="193"/>
                    <a:pt x="247" y="193"/>
                  </a:cubicBezTo>
                  <a:cubicBezTo>
                    <a:pt x="247" y="193"/>
                    <a:pt x="247" y="193"/>
                    <a:pt x="247" y="194"/>
                  </a:cubicBezTo>
                  <a:cubicBezTo>
                    <a:pt x="247" y="194"/>
                    <a:pt x="247" y="194"/>
                    <a:pt x="246" y="194"/>
                  </a:cubicBezTo>
                  <a:cubicBezTo>
                    <a:pt x="246" y="194"/>
                    <a:pt x="246" y="194"/>
                    <a:pt x="246" y="194"/>
                  </a:cubicBezTo>
                  <a:cubicBezTo>
                    <a:pt x="245" y="194"/>
                    <a:pt x="245" y="195"/>
                    <a:pt x="244" y="195"/>
                  </a:cubicBezTo>
                  <a:cubicBezTo>
                    <a:pt x="244" y="195"/>
                    <a:pt x="244" y="195"/>
                    <a:pt x="244" y="196"/>
                  </a:cubicBezTo>
                  <a:cubicBezTo>
                    <a:pt x="243" y="196"/>
                    <a:pt x="242" y="196"/>
                    <a:pt x="242" y="196"/>
                  </a:cubicBezTo>
                  <a:cubicBezTo>
                    <a:pt x="242" y="196"/>
                    <a:pt x="242" y="197"/>
                    <a:pt x="242" y="197"/>
                  </a:cubicBezTo>
                  <a:cubicBezTo>
                    <a:pt x="241" y="196"/>
                    <a:pt x="240" y="196"/>
                    <a:pt x="239" y="196"/>
                  </a:cubicBezTo>
                  <a:cubicBezTo>
                    <a:pt x="239" y="196"/>
                    <a:pt x="239" y="196"/>
                    <a:pt x="239" y="196"/>
                  </a:cubicBezTo>
                  <a:cubicBezTo>
                    <a:pt x="239" y="195"/>
                    <a:pt x="239" y="195"/>
                    <a:pt x="238" y="195"/>
                  </a:cubicBezTo>
                  <a:cubicBezTo>
                    <a:pt x="238" y="195"/>
                    <a:pt x="238" y="195"/>
                    <a:pt x="238" y="195"/>
                  </a:cubicBezTo>
                  <a:cubicBezTo>
                    <a:pt x="237" y="195"/>
                    <a:pt x="237" y="195"/>
                    <a:pt x="237" y="195"/>
                  </a:cubicBezTo>
                  <a:cubicBezTo>
                    <a:pt x="237" y="194"/>
                    <a:pt x="237" y="194"/>
                    <a:pt x="237" y="194"/>
                  </a:cubicBezTo>
                  <a:cubicBezTo>
                    <a:pt x="237" y="194"/>
                    <a:pt x="237" y="194"/>
                    <a:pt x="236" y="194"/>
                  </a:cubicBezTo>
                  <a:cubicBezTo>
                    <a:pt x="236" y="194"/>
                    <a:pt x="236" y="194"/>
                    <a:pt x="236" y="194"/>
                  </a:cubicBezTo>
                  <a:cubicBezTo>
                    <a:pt x="236" y="194"/>
                    <a:pt x="236" y="194"/>
                    <a:pt x="236" y="194"/>
                  </a:cubicBezTo>
                  <a:cubicBezTo>
                    <a:pt x="236" y="194"/>
                    <a:pt x="236" y="194"/>
                    <a:pt x="236" y="194"/>
                  </a:cubicBezTo>
                  <a:cubicBezTo>
                    <a:pt x="235" y="194"/>
                    <a:pt x="235" y="194"/>
                    <a:pt x="235" y="194"/>
                  </a:cubicBezTo>
                  <a:cubicBezTo>
                    <a:pt x="235" y="193"/>
                    <a:pt x="235" y="193"/>
                    <a:pt x="235" y="193"/>
                  </a:cubicBezTo>
                  <a:cubicBezTo>
                    <a:pt x="234" y="193"/>
                    <a:pt x="234" y="193"/>
                    <a:pt x="234" y="193"/>
                  </a:cubicBezTo>
                  <a:cubicBezTo>
                    <a:pt x="234" y="193"/>
                    <a:pt x="234" y="193"/>
                    <a:pt x="234" y="192"/>
                  </a:cubicBezTo>
                  <a:cubicBezTo>
                    <a:pt x="234" y="192"/>
                    <a:pt x="233" y="192"/>
                    <a:pt x="233" y="192"/>
                  </a:cubicBezTo>
                  <a:cubicBezTo>
                    <a:pt x="233" y="192"/>
                    <a:pt x="233" y="192"/>
                    <a:pt x="233" y="192"/>
                  </a:cubicBezTo>
                  <a:cubicBezTo>
                    <a:pt x="233" y="192"/>
                    <a:pt x="233" y="192"/>
                    <a:pt x="232" y="192"/>
                  </a:cubicBezTo>
                  <a:cubicBezTo>
                    <a:pt x="232" y="192"/>
                    <a:pt x="232" y="192"/>
                    <a:pt x="232" y="192"/>
                  </a:cubicBezTo>
                  <a:cubicBezTo>
                    <a:pt x="232" y="192"/>
                    <a:pt x="232" y="192"/>
                    <a:pt x="232" y="192"/>
                  </a:cubicBezTo>
                  <a:cubicBezTo>
                    <a:pt x="232" y="192"/>
                    <a:pt x="232" y="191"/>
                    <a:pt x="231" y="191"/>
                  </a:cubicBezTo>
                  <a:cubicBezTo>
                    <a:pt x="231" y="191"/>
                    <a:pt x="231" y="191"/>
                    <a:pt x="231" y="191"/>
                  </a:cubicBezTo>
                  <a:cubicBezTo>
                    <a:pt x="231" y="191"/>
                    <a:pt x="231" y="191"/>
                    <a:pt x="231" y="191"/>
                  </a:cubicBezTo>
                  <a:cubicBezTo>
                    <a:pt x="230" y="191"/>
                    <a:pt x="230" y="191"/>
                    <a:pt x="230" y="191"/>
                  </a:cubicBezTo>
                  <a:cubicBezTo>
                    <a:pt x="230" y="191"/>
                    <a:pt x="230" y="190"/>
                    <a:pt x="230" y="190"/>
                  </a:cubicBezTo>
                  <a:cubicBezTo>
                    <a:pt x="230" y="190"/>
                    <a:pt x="230" y="190"/>
                    <a:pt x="229" y="190"/>
                  </a:cubicBezTo>
                  <a:cubicBezTo>
                    <a:pt x="229" y="190"/>
                    <a:pt x="229" y="190"/>
                    <a:pt x="229" y="190"/>
                  </a:cubicBezTo>
                  <a:cubicBezTo>
                    <a:pt x="229" y="190"/>
                    <a:pt x="229" y="190"/>
                    <a:pt x="229" y="190"/>
                  </a:cubicBezTo>
                  <a:cubicBezTo>
                    <a:pt x="228" y="190"/>
                    <a:pt x="228" y="190"/>
                    <a:pt x="228" y="189"/>
                  </a:cubicBezTo>
                  <a:cubicBezTo>
                    <a:pt x="228" y="189"/>
                    <a:pt x="228" y="189"/>
                    <a:pt x="228" y="189"/>
                  </a:cubicBezTo>
                  <a:cubicBezTo>
                    <a:pt x="228" y="189"/>
                    <a:pt x="228" y="189"/>
                    <a:pt x="228" y="189"/>
                  </a:cubicBezTo>
                  <a:cubicBezTo>
                    <a:pt x="227" y="189"/>
                    <a:pt x="227" y="189"/>
                    <a:pt x="227" y="189"/>
                  </a:cubicBezTo>
                  <a:cubicBezTo>
                    <a:pt x="227" y="189"/>
                    <a:pt x="227" y="189"/>
                    <a:pt x="227" y="189"/>
                  </a:cubicBezTo>
                  <a:cubicBezTo>
                    <a:pt x="227" y="189"/>
                    <a:pt x="226" y="189"/>
                    <a:pt x="226" y="189"/>
                  </a:cubicBezTo>
                  <a:cubicBezTo>
                    <a:pt x="226" y="188"/>
                    <a:pt x="226" y="188"/>
                    <a:pt x="226" y="188"/>
                  </a:cubicBezTo>
                  <a:cubicBezTo>
                    <a:pt x="226" y="188"/>
                    <a:pt x="226" y="188"/>
                    <a:pt x="225" y="188"/>
                  </a:cubicBezTo>
                  <a:cubicBezTo>
                    <a:pt x="225" y="188"/>
                    <a:pt x="225" y="188"/>
                    <a:pt x="225" y="188"/>
                  </a:cubicBezTo>
                  <a:cubicBezTo>
                    <a:pt x="225" y="188"/>
                    <a:pt x="225" y="188"/>
                    <a:pt x="224" y="188"/>
                  </a:cubicBezTo>
                  <a:cubicBezTo>
                    <a:pt x="224" y="187"/>
                    <a:pt x="224" y="187"/>
                    <a:pt x="224" y="187"/>
                  </a:cubicBezTo>
                  <a:cubicBezTo>
                    <a:pt x="224" y="187"/>
                    <a:pt x="224" y="187"/>
                    <a:pt x="224" y="187"/>
                  </a:cubicBezTo>
                  <a:cubicBezTo>
                    <a:pt x="224" y="187"/>
                    <a:pt x="224" y="187"/>
                    <a:pt x="224" y="187"/>
                  </a:cubicBezTo>
                  <a:cubicBezTo>
                    <a:pt x="223" y="187"/>
                    <a:pt x="223" y="187"/>
                    <a:pt x="223" y="187"/>
                  </a:cubicBezTo>
                  <a:cubicBezTo>
                    <a:pt x="223" y="187"/>
                    <a:pt x="223" y="187"/>
                    <a:pt x="223" y="187"/>
                  </a:cubicBezTo>
                  <a:cubicBezTo>
                    <a:pt x="223" y="187"/>
                    <a:pt x="223" y="187"/>
                    <a:pt x="222" y="187"/>
                  </a:cubicBezTo>
                  <a:cubicBezTo>
                    <a:pt x="222" y="186"/>
                    <a:pt x="222" y="186"/>
                    <a:pt x="222" y="186"/>
                  </a:cubicBezTo>
                  <a:cubicBezTo>
                    <a:pt x="221" y="186"/>
                    <a:pt x="221" y="185"/>
                    <a:pt x="220" y="185"/>
                  </a:cubicBezTo>
                  <a:cubicBezTo>
                    <a:pt x="220" y="185"/>
                    <a:pt x="220" y="185"/>
                    <a:pt x="220" y="185"/>
                  </a:cubicBezTo>
                  <a:cubicBezTo>
                    <a:pt x="219" y="184"/>
                    <a:pt x="217" y="183"/>
                    <a:pt x="216" y="183"/>
                  </a:cubicBezTo>
                  <a:cubicBezTo>
                    <a:pt x="215" y="184"/>
                    <a:pt x="214" y="184"/>
                    <a:pt x="213" y="185"/>
                  </a:cubicBezTo>
                  <a:cubicBezTo>
                    <a:pt x="213" y="185"/>
                    <a:pt x="213" y="185"/>
                    <a:pt x="213" y="185"/>
                  </a:cubicBezTo>
                  <a:cubicBezTo>
                    <a:pt x="212" y="185"/>
                    <a:pt x="212" y="185"/>
                    <a:pt x="212" y="185"/>
                  </a:cubicBezTo>
                  <a:cubicBezTo>
                    <a:pt x="212" y="185"/>
                    <a:pt x="212" y="185"/>
                    <a:pt x="212" y="185"/>
                  </a:cubicBezTo>
                  <a:cubicBezTo>
                    <a:pt x="212" y="185"/>
                    <a:pt x="211" y="185"/>
                    <a:pt x="211" y="185"/>
                  </a:cubicBezTo>
                  <a:cubicBezTo>
                    <a:pt x="211" y="186"/>
                    <a:pt x="211" y="186"/>
                    <a:pt x="211" y="186"/>
                  </a:cubicBezTo>
                  <a:cubicBezTo>
                    <a:pt x="210" y="186"/>
                    <a:pt x="209" y="187"/>
                    <a:pt x="209" y="187"/>
                  </a:cubicBezTo>
                  <a:cubicBezTo>
                    <a:pt x="209" y="187"/>
                    <a:pt x="209" y="187"/>
                    <a:pt x="209" y="187"/>
                  </a:cubicBezTo>
                  <a:cubicBezTo>
                    <a:pt x="208" y="187"/>
                    <a:pt x="208" y="187"/>
                    <a:pt x="208" y="187"/>
                  </a:cubicBezTo>
                  <a:cubicBezTo>
                    <a:pt x="208" y="187"/>
                    <a:pt x="208" y="187"/>
                    <a:pt x="208" y="188"/>
                  </a:cubicBezTo>
                  <a:cubicBezTo>
                    <a:pt x="208" y="188"/>
                    <a:pt x="208" y="188"/>
                    <a:pt x="207" y="188"/>
                  </a:cubicBezTo>
                  <a:cubicBezTo>
                    <a:pt x="207" y="188"/>
                    <a:pt x="207" y="188"/>
                    <a:pt x="207" y="188"/>
                  </a:cubicBezTo>
                  <a:cubicBezTo>
                    <a:pt x="207" y="188"/>
                    <a:pt x="207" y="188"/>
                    <a:pt x="207" y="188"/>
                  </a:cubicBezTo>
                  <a:cubicBezTo>
                    <a:pt x="206" y="188"/>
                    <a:pt x="206" y="188"/>
                    <a:pt x="206" y="189"/>
                  </a:cubicBezTo>
                  <a:cubicBezTo>
                    <a:pt x="206" y="189"/>
                    <a:pt x="206" y="189"/>
                    <a:pt x="206" y="189"/>
                  </a:cubicBezTo>
                  <a:cubicBezTo>
                    <a:pt x="206" y="189"/>
                    <a:pt x="206" y="189"/>
                    <a:pt x="206" y="189"/>
                  </a:cubicBezTo>
                  <a:cubicBezTo>
                    <a:pt x="205" y="189"/>
                    <a:pt x="205" y="189"/>
                    <a:pt x="205" y="189"/>
                  </a:cubicBezTo>
                  <a:cubicBezTo>
                    <a:pt x="205" y="189"/>
                    <a:pt x="205" y="189"/>
                    <a:pt x="205" y="189"/>
                  </a:cubicBezTo>
                  <a:cubicBezTo>
                    <a:pt x="205" y="189"/>
                    <a:pt x="204" y="189"/>
                    <a:pt x="204" y="189"/>
                  </a:cubicBezTo>
                  <a:cubicBezTo>
                    <a:pt x="204" y="189"/>
                    <a:pt x="204" y="190"/>
                    <a:pt x="204" y="190"/>
                  </a:cubicBezTo>
                  <a:cubicBezTo>
                    <a:pt x="204" y="190"/>
                    <a:pt x="204" y="190"/>
                    <a:pt x="203" y="190"/>
                  </a:cubicBezTo>
                  <a:cubicBezTo>
                    <a:pt x="203" y="190"/>
                    <a:pt x="203" y="190"/>
                    <a:pt x="203" y="190"/>
                  </a:cubicBezTo>
                  <a:cubicBezTo>
                    <a:pt x="203" y="190"/>
                    <a:pt x="202" y="190"/>
                    <a:pt x="202" y="190"/>
                  </a:cubicBezTo>
                  <a:cubicBezTo>
                    <a:pt x="202" y="191"/>
                    <a:pt x="202" y="191"/>
                    <a:pt x="202" y="191"/>
                  </a:cubicBezTo>
                  <a:cubicBezTo>
                    <a:pt x="201" y="191"/>
                    <a:pt x="201" y="191"/>
                    <a:pt x="201" y="191"/>
                  </a:cubicBezTo>
                  <a:cubicBezTo>
                    <a:pt x="201" y="191"/>
                    <a:pt x="201" y="191"/>
                    <a:pt x="201" y="191"/>
                  </a:cubicBezTo>
                  <a:cubicBezTo>
                    <a:pt x="201" y="191"/>
                    <a:pt x="201" y="191"/>
                    <a:pt x="200" y="191"/>
                  </a:cubicBezTo>
                  <a:cubicBezTo>
                    <a:pt x="200" y="192"/>
                    <a:pt x="200" y="192"/>
                    <a:pt x="200" y="192"/>
                  </a:cubicBezTo>
                  <a:cubicBezTo>
                    <a:pt x="200" y="192"/>
                    <a:pt x="200" y="192"/>
                    <a:pt x="200" y="192"/>
                  </a:cubicBezTo>
                  <a:cubicBezTo>
                    <a:pt x="200" y="192"/>
                    <a:pt x="200" y="192"/>
                    <a:pt x="200" y="192"/>
                  </a:cubicBezTo>
                  <a:cubicBezTo>
                    <a:pt x="199" y="192"/>
                    <a:pt x="199" y="192"/>
                    <a:pt x="199" y="192"/>
                  </a:cubicBezTo>
                  <a:cubicBezTo>
                    <a:pt x="199" y="192"/>
                    <a:pt x="199" y="192"/>
                    <a:pt x="199" y="192"/>
                  </a:cubicBezTo>
                  <a:cubicBezTo>
                    <a:pt x="198" y="193"/>
                    <a:pt x="198" y="193"/>
                    <a:pt x="197" y="193"/>
                  </a:cubicBezTo>
                  <a:cubicBezTo>
                    <a:pt x="197" y="193"/>
                    <a:pt x="197" y="193"/>
                    <a:pt x="197" y="194"/>
                  </a:cubicBezTo>
                  <a:cubicBezTo>
                    <a:pt x="197" y="194"/>
                    <a:pt x="197" y="194"/>
                    <a:pt x="196" y="194"/>
                  </a:cubicBezTo>
                  <a:cubicBezTo>
                    <a:pt x="196" y="194"/>
                    <a:pt x="196" y="194"/>
                    <a:pt x="196" y="194"/>
                  </a:cubicBezTo>
                  <a:cubicBezTo>
                    <a:pt x="196" y="194"/>
                    <a:pt x="196" y="194"/>
                    <a:pt x="196" y="194"/>
                  </a:cubicBezTo>
                  <a:cubicBezTo>
                    <a:pt x="196" y="194"/>
                    <a:pt x="196" y="194"/>
                    <a:pt x="196" y="194"/>
                  </a:cubicBezTo>
                  <a:cubicBezTo>
                    <a:pt x="196" y="194"/>
                    <a:pt x="195" y="194"/>
                    <a:pt x="195" y="194"/>
                  </a:cubicBezTo>
                  <a:cubicBezTo>
                    <a:pt x="195" y="194"/>
                    <a:pt x="195" y="194"/>
                    <a:pt x="195" y="195"/>
                  </a:cubicBezTo>
                  <a:cubicBezTo>
                    <a:pt x="195" y="195"/>
                    <a:pt x="195" y="195"/>
                    <a:pt x="194" y="195"/>
                  </a:cubicBezTo>
                  <a:cubicBezTo>
                    <a:pt x="194" y="195"/>
                    <a:pt x="194" y="195"/>
                    <a:pt x="194" y="195"/>
                  </a:cubicBezTo>
                  <a:cubicBezTo>
                    <a:pt x="194" y="195"/>
                    <a:pt x="194" y="195"/>
                    <a:pt x="194" y="195"/>
                  </a:cubicBezTo>
                  <a:cubicBezTo>
                    <a:pt x="194" y="195"/>
                    <a:pt x="194" y="195"/>
                    <a:pt x="194" y="195"/>
                  </a:cubicBezTo>
                  <a:cubicBezTo>
                    <a:pt x="193" y="195"/>
                    <a:pt x="193" y="195"/>
                    <a:pt x="193" y="195"/>
                  </a:cubicBezTo>
                  <a:cubicBezTo>
                    <a:pt x="193" y="195"/>
                    <a:pt x="193" y="196"/>
                    <a:pt x="193" y="196"/>
                  </a:cubicBezTo>
                  <a:cubicBezTo>
                    <a:pt x="183" y="196"/>
                    <a:pt x="174" y="196"/>
                    <a:pt x="165" y="196"/>
                  </a:cubicBezTo>
                  <a:cubicBezTo>
                    <a:pt x="165" y="196"/>
                    <a:pt x="165" y="196"/>
                    <a:pt x="165" y="196"/>
                  </a:cubicBezTo>
                  <a:cubicBezTo>
                    <a:pt x="164" y="196"/>
                    <a:pt x="164" y="196"/>
                    <a:pt x="163" y="196"/>
                  </a:cubicBezTo>
                  <a:cubicBezTo>
                    <a:pt x="163" y="196"/>
                    <a:pt x="163" y="197"/>
                    <a:pt x="163" y="197"/>
                  </a:cubicBezTo>
                  <a:cubicBezTo>
                    <a:pt x="163" y="197"/>
                    <a:pt x="162" y="197"/>
                    <a:pt x="162" y="197"/>
                  </a:cubicBezTo>
                  <a:cubicBezTo>
                    <a:pt x="162" y="197"/>
                    <a:pt x="162" y="197"/>
                    <a:pt x="162" y="197"/>
                  </a:cubicBezTo>
                  <a:cubicBezTo>
                    <a:pt x="161" y="197"/>
                    <a:pt x="161" y="197"/>
                    <a:pt x="160" y="197"/>
                  </a:cubicBezTo>
                  <a:cubicBezTo>
                    <a:pt x="160" y="197"/>
                    <a:pt x="160" y="197"/>
                    <a:pt x="160" y="197"/>
                  </a:cubicBezTo>
                  <a:cubicBezTo>
                    <a:pt x="160" y="197"/>
                    <a:pt x="159" y="197"/>
                    <a:pt x="159" y="197"/>
                  </a:cubicBezTo>
                  <a:cubicBezTo>
                    <a:pt x="159" y="197"/>
                    <a:pt x="159" y="198"/>
                    <a:pt x="159" y="198"/>
                  </a:cubicBezTo>
                  <a:cubicBezTo>
                    <a:pt x="158" y="198"/>
                    <a:pt x="157" y="198"/>
                    <a:pt x="156" y="198"/>
                  </a:cubicBezTo>
                  <a:cubicBezTo>
                    <a:pt x="155" y="199"/>
                    <a:pt x="153" y="199"/>
                    <a:pt x="151" y="199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</a:ln>
            <a:effectLst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64800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4000" b="1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0000"/>
                </a:solidFill>
                <a:latin typeface="UKIJ Qolyazma" pitchFamily="18" charset="0"/>
                <a:cs typeface="UKIJ Qolyazma" pitchFamily="18" charset="0"/>
              </a:endParaRPr>
            </a:p>
          </p:txBody>
        </p:sp>
        <p:sp>
          <p:nvSpPr>
            <p:cNvPr id="103" name="Freeform 15">
              <a:extLst>
                <a:ext uri="{FF2B5EF4-FFF2-40B4-BE49-F238E27FC236}">
                  <a16:creationId xmlns:a16="http://schemas.microsoft.com/office/drawing/2014/main" id="{9BAF5B2B-CF6D-FD42-616B-D3BB7831F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9223" y="1849428"/>
              <a:ext cx="703038" cy="697891"/>
            </a:xfrm>
            <a:custGeom>
              <a:avLst/>
              <a:gdLst>
                <a:gd name="T0" fmla="*/ 225 w 323"/>
                <a:gd name="T1" fmla="*/ 199 h 321"/>
                <a:gd name="T2" fmla="*/ 181 w 323"/>
                <a:gd name="T3" fmla="*/ 246 h 321"/>
                <a:gd name="T4" fmla="*/ 169 w 323"/>
                <a:gd name="T5" fmla="*/ 260 h 321"/>
                <a:gd name="T6" fmla="*/ 140 w 323"/>
                <a:gd name="T7" fmla="*/ 291 h 321"/>
                <a:gd name="T8" fmla="*/ 112 w 323"/>
                <a:gd name="T9" fmla="*/ 315 h 321"/>
                <a:gd name="T10" fmla="*/ 92 w 323"/>
                <a:gd name="T11" fmla="*/ 298 h 321"/>
                <a:gd name="T12" fmla="*/ 96 w 323"/>
                <a:gd name="T13" fmla="*/ 290 h 321"/>
                <a:gd name="T14" fmla="*/ 99 w 323"/>
                <a:gd name="T15" fmla="*/ 284 h 321"/>
                <a:gd name="T16" fmla="*/ 103 w 323"/>
                <a:gd name="T17" fmla="*/ 275 h 321"/>
                <a:gd name="T18" fmla="*/ 108 w 323"/>
                <a:gd name="T19" fmla="*/ 266 h 321"/>
                <a:gd name="T20" fmla="*/ 111 w 323"/>
                <a:gd name="T21" fmla="*/ 259 h 321"/>
                <a:gd name="T22" fmla="*/ 133 w 323"/>
                <a:gd name="T23" fmla="*/ 230 h 321"/>
                <a:gd name="T24" fmla="*/ 136 w 323"/>
                <a:gd name="T25" fmla="*/ 216 h 321"/>
                <a:gd name="T26" fmla="*/ 130 w 323"/>
                <a:gd name="T27" fmla="*/ 202 h 321"/>
                <a:gd name="T28" fmla="*/ 124 w 323"/>
                <a:gd name="T29" fmla="*/ 199 h 321"/>
                <a:gd name="T30" fmla="*/ 113 w 323"/>
                <a:gd name="T31" fmla="*/ 194 h 321"/>
                <a:gd name="T32" fmla="*/ 102 w 323"/>
                <a:gd name="T33" fmla="*/ 186 h 321"/>
                <a:gd name="T34" fmla="*/ 89 w 323"/>
                <a:gd name="T35" fmla="*/ 186 h 321"/>
                <a:gd name="T36" fmla="*/ 72 w 323"/>
                <a:gd name="T37" fmla="*/ 200 h 321"/>
                <a:gd name="T38" fmla="*/ 10 w 323"/>
                <a:gd name="T39" fmla="*/ 163 h 321"/>
                <a:gd name="T40" fmla="*/ 6 w 323"/>
                <a:gd name="T41" fmla="*/ 151 h 321"/>
                <a:gd name="T42" fmla="*/ 15 w 323"/>
                <a:gd name="T43" fmla="*/ 142 h 321"/>
                <a:gd name="T44" fmla="*/ 36 w 323"/>
                <a:gd name="T45" fmla="*/ 122 h 321"/>
                <a:gd name="T46" fmla="*/ 43 w 323"/>
                <a:gd name="T47" fmla="*/ 113 h 321"/>
                <a:gd name="T48" fmla="*/ 49 w 323"/>
                <a:gd name="T49" fmla="*/ 102 h 321"/>
                <a:gd name="T50" fmla="*/ 52 w 323"/>
                <a:gd name="T51" fmla="*/ 97 h 321"/>
                <a:gd name="T52" fmla="*/ 56 w 323"/>
                <a:gd name="T53" fmla="*/ 89 h 321"/>
                <a:gd name="T54" fmla="*/ 69 w 323"/>
                <a:gd name="T55" fmla="*/ 55 h 321"/>
                <a:gd name="T56" fmla="*/ 88 w 323"/>
                <a:gd name="T57" fmla="*/ 52 h 321"/>
                <a:gd name="T58" fmla="*/ 99 w 323"/>
                <a:gd name="T59" fmla="*/ 50 h 321"/>
                <a:gd name="T60" fmla="*/ 96 w 323"/>
                <a:gd name="T61" fmla="*/ 25 h 321"/>
                <a:gd name="T62" fmla="*/ 85 w 323"/>
                <a:gd name="T63" fmla="*/ 16 h 321"/>
                <a:gd name="T64" fmla="*/ 83 w 323"/>
                <a:gd name="T65" fmla="*/ 4 h 321"/>
                <a:gd name="T66" fmla="*/ 109 w 323"/>
                <a:gd name="T67" fmla="*/ 2 h 321"/>
                <a:gd name="T68" fmla="*/ 118 w 323"/>
                <a:gd name="T69" fmla="*/ 9 h 321"/>
                <a:gd name="T70" fmla="*/ 126 w 323"/>
                <a:gd name="T71" fmla="*/ 15 h 321"/>
                <a:gd name="T72" fmla="*/ 135 w 323"/>
                <a:gd name="T73" fmla="*/ 22 h 321"/>
                <a:gd name="T74" fmla="*/ 145 w 323"/>
                <a:gd name="T75" fmla="*/ 29 h 321"/>
                <a:gd name="T76" fmla="*/ 177 w 323"/>
                <a:gd name="T77" fmla="*/ 61 h 321"/>
                <a:gd name="T78" fmla="*/ 186 w 323"/>
                <a:gd name="T79" fmla="*/ 65 h 321"/>
                <a:gd name="T80" fmla="*/ 194 w 323"/>
                <a:gd name="T81" fmla="*/ 69 h 321"/>
                <a:gd name="T82" fmla="*/ 201 w 323"/>
                <a:gd name="T83" fmla="*/ 72 h 321"/>
                <a:gd name="T84" fmla="*/ 210 w 323"/>
                <a:gd name="T85" fmla="*/ 75 h 321"/>
                <a:gd name="T86" fmla="*/ 241 w 323"/>
                <a:gd name="T87" fmla="*/ 77 h 321"/>
                <a:gd name="T88" fmla="*/ 248 w 323"/>
                <a:gd name="T89" fmla="*/ 72 h 321"/>
                <a:gd name="T90" fmla="*/ 256 w 323"/>
                <a:gd name="T91" fmla="*/ 67 h 321"/>
                <a:gd name="T92" fmla="*/ 264 w 323"/>
                <a:gd name="T93" fmla="*/ 62 h 321"/>
                <a:gd name="T94" fmla="*/ 323 w 323"/>
                <a:gd name="T95" fmla="*/ 58 h 321"/>
                <a:gd name="T96" fmla="*/ 290 w 323"/>
                <a:gd name="T97" fmla="*/ 86 h 321"/>
                <a:gd name="T98" fmla="*/ 276 w 323"/>
                <a:gd name="T99" fmla="*/ 95 h 321"/>
                <a:gd name="T100" fmla="*/ 268 w 323"/>
                <a:gd name="T101" fmla="*/ 100 h 321"/>
                <a:gd name="T102" fmla="*/ 259 w 323"/>
                <a:gd name="T103" fmla="*/ 105 h 321"/>
                <a:gd name="T104" fmla="*/ 250 w 323"/>
                <a:gd name="T105" fmla="*/ 116 h 321"/>
                <a:gd name="T106" fmla="*/ 241 w 323"/>
                <a:gd name="T107" fmla="*/ 131 h 321"/>
                <a:gd name="T108" fmla="*/ 237 w 323"/>
                <a:gd name="T109" fmla="*/ 138 h 321"/>
                <a:gd name="T110" fmla="*/ 231 w 323"/>
                <a:gd name="T111" fmla="*/ 146 h 321"/>
                <a:gd name="T112" fmla="*/ 225 w 323"/>
                <a:gd name="T113" fmla="*/ 154 h 321"/>
                <a:gd name="T114" fmla="*/ 220 w 323"/>
                <a:gd name="T115" fmla="*/ 162 h 321"/>
                <a:gd name="T116" fmla="*/ 214 w 323"/>
                <a:gd name="T117" fmla="*/ 170 h 321"/>
                <a:gd name="T118" fmla="*/ 208 w 323"/>
                <a:gd name="T119" fmla="*/ 18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23" h="321">
                  <a:moveTo>
                    <a:pt x="227" y="184"/>
                  </a:moveTo>
                  <a:cubicBezTo>
                    <a:pt x="227" y="185"/>
                    <a:pt x="227" y="186"/>
                    <a:pt x="227" y="186"/>
                  </a:cubicBezTo>
                  <a:cubicBezTo>
                    <a:pt x="228" y="186"/>
                    <a:pt x="228" y="186"/>
                    <a:pt x="228" y="186"/>
                  </a:cubicBezTo>
                  <a:cubicBezTo>
                    <a:pt x="228" y="187"/>
                    <a:pt x="228" y="187"/>
                    <a:pt x="228" y="187"/>
                  </a:cubicBezTo>
                  <a:cubicBezTo>
                    <a:pt x="228" y="187"/>
                    <a:pt x="228" y="187"/>
                    <a:pt x="228" y="187"/>
                  </a:cubicBezTo>
                  <a:cubicBezTo>
                    <a:pt x="228" y="188"/>
                    <a:pt x="228" y="188"/>
                    <a:pt x="228" y="188"/>
                  </a:cubicBezTo>
                  <a:cubicBezTo>
                    <a:pt x="228" y="188"/>
                    <a:pt x="228" y="188"/>
                    <a:pt x="228" y="188"/>
                  </a:cubicBezTo>
                  <a:cubicBezTo>
                    <a:pt x="229" y="189"/>
                    <a:pt x="229" y="189"/>
                    <a:pt x="229" y="190"/>
                  </a:cubicBezTo>
                  <a:cubicBezTo>
                    <a:pt x="229" y="190"/>
                    <a:pt x="229" y="190"/>
                    <a:pt x="229" y="190"/>
                  </a:cubicBezTo>
                  <a:cubicBezTo>
                    <a:pt x="230" y="191"/>
                    <a:pt x="230" y="192"/>
                    <a:pt x="230" y="193"/>
                  </a:cubicBezTo>
                  <a:cubicBezTo>
                    <a:pt x="229" y="194"/>
                    <a:pt x="229" y="195"/>
                    <a:pt x="228" y="195"/>
                  </a:cubicBezTo>
                  <a:cubicBezTo>
                    <a:pt x="228" y="196"/>
                    <a:pt x="228" y="196"/>
                    <a:pt x="228" y="196"/>
                  </a:cubicBezTo>
                  <a:cubicBezTo>
                    <a:pt x="227" y="197"/>
                    <a:pt x="226" y="197"/>
                    <a:pt x="225" y="198"/>
                  </a:cubicBezTo>
                  <a:cubicBezTo>
                    <a:pt x="225" y="198"/>
                    <a:pt x="225" y="199"/>
                    <a:pt x="225" y="199"/>
                  </a:cubicBezTo>
                  <a:cubicBezTo>
                    <a:pt x="225" y="200"/>
                    <a:pt x="224" y="200"/>
                    <a:pt x="223" y="201"/>
                  </a:cubicBezTo>
                  <a:cubicBezTo>
                    <a:pt x="223" y="201"/>
                    <a:pt x="223" y="201"/>
                    <a:pt x="223" y="202"/>
                  </a:cubicBezTo>
                  <a:cubicBezTo>
                    <a:pt x="223" y="202"/>
                    <a:pt x="222" y="202"/>
                    <a:pt x="222" y="202"/>
                  </a:cubicBezTo>
                  <a:cubicBezTo>
                    <a:pt x="221" y="203"/>
                    <a:pt x="221" y="203"/>
                    <a:pt x="221" y="204"/>
                  </a:cubicBezTo>
                  <a:cubicBezTo>
                    <a:pt x="221" y="204"/>
                    <a:pt x="221" y="204"/>
                    <a:pt x="220" y="204"/>
                  </a:cubicBezTo>
                  <a:cubicBezTo>
                    <a:pt x="220" y="204"/>
                    <a:pt x="220" y="204"/>
                    <a:pt x="220" y="204"/>
                  </a:cubicBezTo>
                  <a:cubicBezTo>
                    <a:pt x="220" y="205"/>
                    <a:pt x="219" y="206"/>
                    <a:pt x="218" y="207"/>
                  </a:cubicBezTo>
                  <a:cubicBezTo>
                    <a:pt x="215" y="210"/>
                    <a:pt x="212" y="214"/>
                    <a:pt x="209" y="217"/>
                  </a:cubicBezTo>
                  <a:cubicBezTo>
                    <a:pt x="201" y="225"/>
                    <a:pt x="193" y="232"/>
                    <a:pt x="185" y="240"/>
                  </a:cubicBezTo>
                  <a:cubicBezTo>
                    <a:pt x="185" y="240"/>
                    <a:pt x="185" y="241"/>
                    <a:pt x="185" y="241"/>
                  </a:cubicBezTo>
                  <a:cubicBezTo>
                    <a:pt x="185" y="241"/>
                    <a:pt x="184" y="242"/>
                    <a:pt x="183" y="243"/>
                  </a:cubicBezTo>
                  <a:cubicBezTo>
                    <a:pt x="183" y="243"/>
                    <a:pt x="183" y="243"/>
                    <a:pt x="183" y="243"/>
                  </a:cubicBezTo>
                  <a:cubicBezTo>
                    <a:pt x="183" y="244"/>
                    <a:pt x="182" y="244"/>
                    <a:pt x="181" y="245"/>
                  </a:cubicBezTo>
                  <a:cubicBezTo>
                    <a:pt x="181" y="245"/>
                    <a:pt x="181" y="246"/>
                    <a:pt x="181" y="246"/>
                  </a:cubicBezTo>
                  <a:cubicBezTo>
                    <a:pt x="181" y="246"/>
                    <a:pt x="180" y="247"/>
                    <a:pt x="179" y="248"/>
                  </a:cubicBezTo>
                  <a:cubicBezTo>
                    <a:pt x="179" y="248"/>
                    <a:pt x="179" y="248"/>
                    <a:pt x="179" y="248"/>
                  </a:cubicBezTo>
                  <a:cubicBezTo>
                    <a:pt x="178" y="249"/>
                    <a:pt x="178" y="249"/>
                    <a:pt x="177" y="250"/>
                  </a:cubicBezTo>
                  <a:cubicBezTo>
                    <a:pt x="177" y="250"/>
                    <a:pt x="177" y="250"/>
                    <a:pt x="177" y="251"/>
                  </a:cubicBezTo>
                  <a:cubicBezTo>
                    <a:pt x="176" y="251"/>
                    <a:pt x="176" y="252"/>
                    <a:pt x="175" y="252"/>
                  </a:cubicBezTo>
                  <a:cubicBezTo>
                    <a:pt x="175" y="253"/>
                    <a:pt x="175" y="253"/>
                    <a:pt x="175" y="253"/>
                  </a:cubicBezTo>
                  <a:cubicBezTo>
                    <a:pt x="175" y="253"/>
                    <a:pt x="174" y="254"/>
                    <a:pt x="174" y="254"/>
                  </a:cubicBezTo>
                  <a:cubicBezTo>
                    <a:pt x="174" y="254"/>
                    <a:pt x="173" y="254"/>
                    <a:pt x="173" y="255"/>
                  </a:cubicBezTo>
                  <a:cubicBezTo>
                    <a:pt x="173" y="255"/>
                    <a:pt x="173" y="255"/>
                    <a:pt x="173" y="255"/>
                  </a:cubicBezTo>
                  <a:cubicBezTo>
                    <a:pt x="173" y="255"/>
                    <a:pt x="173" y="255"/>
                    <a:pt x="173" y="256"/>
                  </a:cubicBezTo>
                  <a:cubicBezTo>
                    <a:pt x="172" y="256"/>
                    <a:pt x="171" y="257"/>
                    <a:pt x="171" y="257"/>
                  </a:cubicBezTo>
                  <a:cubicBezTo>
                    <a:pt x="171" y="258"/>
                    <a:pt x="171" y="258"/>
                    <a:pt x="171" y="258"/>
                  </a:cubicBezTo>
                  <a:cubicBezTo>
                    <a:pt x="170" y="259"/>
                    <a:pt x="169" y="259"/>
                    <a:pt x="169" y="260"/>
                  </a:cubicBezTo>
                  <a:cubicBezTo>
                    <a:pt x="169" y="260"/>
                    <a:pt x="169" y="260"/>
                    <a:pt x="169" y="260"/>
                  </a:cubicBezTo>
                  <a:cubicBezTo>
                    <a:pt x="168" y="261"/>
                    <a:pt x="167" y="262"/>
                    <a:pt x="167" y="262"/>
                  </a:cubicBezTo>
                  <a:cubicBezTo>
                    <a:pt x="167" y="262"/>
                    <a:pt x="167" y="263"/>
                    <a:pt x="167" y="263"/>
                  </a:cubicBezTo>
                  <a:cubicBezTo>
                    <a:pt x="166" y="263"/>
                    <a:pt x="165" y="264"/>
                    <a:pt x="164" y="265"/>
                  </a:cubicBezTo>
                  <a:cubicBezTo>
                    <a:pt x="164" y="265"/>
                    <a:pt x="164" y="265"/>
                    <a:pt x="164" y="265"/>
                  </a:cubicBezTo>
                  <a:cubicBezTo>
                    <a:pt x="164" y="266"/>
                    <a:pt x="163" y="267"/>
                    <a:pt x="162" y="267"/>
                  </a:cubicBezTo>
                  <a:cubicBezTo>
                    <a:pt x="162" y="267"/>
                    <a:pt x="162" y="268"/>
                    <a:pt x="162" y="268"/>
                  </a:cubicBezTo>
                  <a:cubicBezTo>
                    <a:pt x="162" y="268"/>
                    <a:pt x="161" y="269"/>
                    <a:pt x="160" y="270"/>
                  </a:cubicBezTo>
                  <a:cubicBezTo>
                    <a:pt x="160" y="270"/>
                    <a:pt x="160" y="270"/>
                    <a:pt x="160" y="270"/>
                  </a:cubicBezTo>
                  <a:cubicBezTo>
                    <a:pt x="160" y="271"/>
                    <a:pt x="159" y="271"/>
                    <a:pt x="158" y="272"/>
                  </a:cubicBezTo>
                  <a:cubicBezTo>
                    <a:pt x="158" y="272"/>
                    <a:pt x="158" y="272"/>
                    <a:pt x="158" y="273"/>
                  </a:cubicBezTo>
                  <a:cubicBezTo>
                    <a:pt x="156" y="274"/>
                    <a:pt x="155" y="276"/>
                    <a:pt x="153" y="278"/>
                  </a:cubicBezTo>
                  <a:cubicBezTo>
                    <a:pt x="152" y="279"/>
                    <a:pt x="151" y="280"/>
                    <a:pt x="150" y="281"/>
                  </a:cubicBezTo>
                  <a:cubicBezTo>
                    <a:pt x="150" y="281"/>
                    <a:pt x="150" y="281"/>
                    <a:pt x="149" y="281"/>
                  </a:cubicBezTo>
                  <a:cubicBezTo>
                    <a:pt x="146" y="284"/>
                    <a:pt x="143" y="287"/>
                    <a:pt x="140" y="291"/>
                  </a:cubicBezTo>
                  <a:cubicBezTo>
                    <a:pt x="140" y="291"/>
                    <a:pt x="139" y="291"/>
                    <a:pt x="139" y="291"/>
                  </a:cubicBezTo>
                  <a:cubicBezTo>
                    <a:pt x="136" y="294"/>
                    <a:pt x="133" y="297"/>
                    <a:pt x="130" y="300"/>
                  </a:cubicBezTo>
                  <a:cubicBezTo>
                    <a:pt x="130" y="300"/>
                    <a:pt x="129" y="300"/>
                    <a:pt x="129" y="300"/>
                  </a:cubicBezTo>
                  <a:cubicBezTo>
                    <a:pt x="129" y="301"/>
                    <a:pt x="128" y="301"/>
                    <a:pt x="128" y="302"/>
                  </a:cubicBezTo>
                  <a:cubicBezTo>
                    <a:pt x="127" y="303"/>
                    <a:pt x="126" y="303"/>
                    <a:pt x="125" y="304"/>
                  </a:cubicBezTo>
                  <a:cubicBezTo>
                    <a:pt x="124" y="306"/>
                    <a:pt x="122" y="308"/>
                    <a:pt x="120" y="310"/>
                  </a:cubicBezTo>
                  <a:cubicBezTo>
                    <a:pt x="120" y="310"/>
                    <a:pt x="119" y="310"/>
                    <a:pt x="119" y="310"/>
                  </a:cubicBezTo>
                  <a:cubicBezTo>
                    <a:pt x="119" y="310"/>
                    <a:pt x="118" y="311"/>
                    <a:pt x="118" y="311"/>
                  </a:cubicBezTo>
                  <a:cubicBezTo>
                    <a:pt x="118" y="311"/>
                    <a:pt x="117" y="311"/>
                    <a:pt x="116" y="312"/>
                  </a:cubicBezTo>
                  <a:cubicBezTo>
                    <a:pt x="116" y="312"/>
                    <a:pt x="116" y="312"/>
                    <a:pt x="116" y="312"/>
                  </a:cubicBezTo>
                  <a:cubicBezTo>
                    <a:pt x="115" y="312"/>
                    <a:pt x="115" y="312"/>
                    <a:pt x="114" y="313"/>
                  </a:cubicBezTo>
                  <a:cubicBezTo>
                    <a:pt x="114" y="313"/>
                    <a:pt x="114" y="313"/>
                    <a:pt x="114" y="313"/>
                  </a:cubicBezTo>
                  <a:cubicBezTo>
                    <a:pt x="113" y="313"/>
                    <a:pt x="113" y="314"/>
                    <a:pt x="112" y="314"/>
                  </a:cubicBezTo>
                  <a:cubicBezTo>
                    <a:pt x="112" y="314"/>
                    <a:pt x="112" y="314"/>
                    <a:pt x="112" y="315"/>
                  </a:cubicBezTo>
                  <a:cubicBezTo>
                    <a:pt x="111" y="315"/>
                    <a:pt x="110" y="315"/>
                    <a:pt x="110" y="315"/>
                  </a:cubicBezTo>
                  <a:cubicBezTo>
                    <a:pt x="109" y="316"/>
                    <a:pt x="109" y="316"/>
                    <a:pt x="109" y="316"/>
                  </a:cubicBezTo>
                  <a:cubicBezTo>
                    <a:pt x="109" y="316"/>
                    <a:pt x="108" y="316"/>
                    <a:pt x="108" y="316"/>
                  </a:cubicBezTo>
                  <a:cubicBezTo>
                    <a:pt x="108" y="317"/>
                    <a:pt x="108" y="317"/>
                    <a:pt x="107" y="317"/>
                  </a:cubicBezTo>
                  <a:cubicBezTo>
                    <a:pt x="107" y="317"/>
                    <a:pt x="106" y="318"/>
                    <a:pt x="105" y="318"/>
                  </a:cubicBezTo>
                  <a:cubicBezTo>
                    <a:pt x="105" y="318"/>
                    <a:pt x="105" y="318"/>
                    <a:pt x="105" y="318"/>
                  </a:cubicBezTo>
                  <a:cubicBezTo>
                    <a:pt x="104" y="319"/>
                    <a:pt x="104" y="319"/>
                    <a:pt x="103" y="319"/>
                  </a:cubicBezTo>
                  <a:cubicBezTo>
                    <a:pt x="103" y="319"/>
                    <a:pt x="103" y="320"/>
                    <a:pt x="103" y="320"/>
                  </a:cubicBezTo>
                  <a:cubicBezTo>
                    <a:pt x="102" y="320"/>
                    <a:pt x="102" y="320"/>
                    <a:pt x="101" y="320"/>
                  </a:cubicBezTo>
                  <a:cubicBezTo>
                    <a:pt x="101" y="320"/>
                    <a:pt x="101" y="321"/>
                    <a:pt x="101" y="321"/>
                  </a:cubicBezTo>
                  <a:cubicBezTo>
                    <a:pt x="100" y="321"/>
                    <a:pt x="99" y="321"/>
                    <a:pt x="99" y="321"/>
                  </a:cubicBezTo>
                  <a:cubicBezTo>
                    <a:pt x="98" y="321"/>
                    <a:pt x="92" y="319"/>
                    <a:pt x="91" y="318"/>
                  </a:cubicBezTo>
                  <a:cubicBezTo>
                    <a:pt x="91" y="312"/>
                    <a:pt x="92" y="305"/>
                    <a:pt x="92" y="298"/>
                  </a:cubicBezTo>
                  <a:cubicBezTo>
                    <a:pt x="92" y="298"/>
                    <a:pt x="92" y="298"/>
                    <a:pt x="92" y="298"/>
                  </a:cubicBezTo>
                  <a:cubicBezTo>
                    <a:pt x="92" y="297"/>
                    <a:pt x="92" y="297"/>
                    <a:pt x="92" y="296"/>
                  </a:cubicBezTo>
                  <a:cubicBezTo>
                    <a:pt x="93" y="296"/>
                    <a:pt x="93" y="296"/>
                    <a:pt x="93" y="296"/>
                  </a:cubicBezTo>
                  <a:cubicBezTo>
                    <a:pt x="93" y="296"/>
                    <a:pt x="93" y="296"/>
                    <a:pt x="93" y="296"/>
                  </a:cubicBezTo>
                  <a:cubicBezTo>
                    <a:pt x="93" y="296"/>
                    <a:pt x="93" y="296"/>
                    <a:pt x="93" y="296"/>
                  </a:cubicBezTo>
                  <a:cubicBezTo>
                    <a:pt x="93" y="295"/>
                    <a:pt x="93" y="295"/>
                    <a:pt x="93" y="294"/>
                  </a:cubicBezTo>
                  <a:cubicBezTo>
                    <a:pt x="94" y="294"/>
                    <a:pt x="94" y="294"/>
                    <a:pt x="94" y="294"/>
                  </a:cubicBezTo>
                  <a:cubicBezTo>
                    <a:pt x="94" y="294"/>
                    <a:pt x="94" y="293"/>
                    <a:pt x="94" y="293"/>
                  </a:cubicBezTo>
                  <a:cubicBezTo>
                    <a:pt x="94" y="293"/>
                    <a:pt x="94" y="293"/>
                    <a:pt x="95" y="293"/>
                  </a:cubicBezTo>
                  <a:cubicBezTo>
                    <a:pt x="95" y="293"/>
                    <a:pt x="95" y="292"/>
                    <a:pt x="95" y="292"/>
                  </a:cubicBezTo>
                  <a:cubicBezTo>
                    <a:pt x="95" y="292"/>
                    <a:pt x="95" y="292"/>
                    <a:pt x="95" y="292"/>
                  </a:cubicBezTo>
                  <a:cubicBezTo>
                    <a:pt x="95" y="291"/>
                    <a:pt x="95" y="291"/>
                    <a:pt x="95" y="291"/>
                  </a:cubicBezTo>
                  <a:cubicBezTo>
                    <a:pt x="95" y="291"/>
                    <a:pt x="95" y="291"/>
                    <a:pt x="96" y="291"/>
                  </a:cubicBezTo>
                  <a:cubicBezTo>
                    <a:pt x="96" y="291"/>
                    <a:pt x="96" y="290"/>
                    <a:pt x="96" y="290"/>
                  </a:cubicBezTo>
                  <a:cubicBezTo>
                    <a:pt x="96" y="290"/>
                    <a:pt x="96" y="290"/>
                    <a:pt x="96" y="290"/>
                  </a:cubicBezTo>
                  <a:cubicBezTo>
                    <a:pt x="96" y="290"/>
                    <a:pt x="96" y="290"/>
                    <a:pt x="96" y="289"/>
                  </a:cubicBezTo>
                  <a:cubicBezTo>
                    <a:pt x="96" y="289"/>
                    <a:pt x="96" y="289"/>
                    <a:pt x="96" y="289"/>
                  </a:cubicBezTo>
                  <a:cubicBezTo>
                    <a:pt x="96" y="289"/>
                    <a:pt x="96" y="289"/>
                    <a:pt x="96" y="289"/>
                  </a:cubicBezTo>
                  <a:cubicBezTo>
                    <a:pt x="96" y="289"/>
                    <a:pt x="96" y="289"/>
                    <a:pt x="97" y="289"/>
                  </a:cubicBezTo>
                  <a:cubicBezTo>
                    <a:pt x="97" y="289"/>
                    <a:pt x="97" y="288"/>
                    <a:pt x="97" y="288"/>
                  </a:cubicBezTo>
                  <a:cubicBezTo>
                    <a:pt x="97" y="288"/>
                    <a:pt x="97" y="288"/>
                    <a:pt x="97" y="288"/>
                  </a:cubicBezTo>
                  <a:cubicBezTo>
                    <a:pt x="97" y="288"/>
                    <a:pt x="97" y="288"/>
                    <a:pt x="97" y="287"/>
                  </a:cubicBezTo>
                  <a:cubicBezTo>
                    <a:pt x="97" y="287"/>
                    <a:pt x="97" y="287"/>
                    <a:pt x="97" y="287"/>
                  </a:cubicBezTo>
                  <a:cubicBezTo>
                    <a:pt x="97" y="287"/>
                    <a:pt x="97" y="287"/>
                    <a:pt x="97" y="287"/>
                  </a:cubicBezTo>
                  <a:cubicBezTo>
                    <a:pt x="97" y="287"/>
                    <a:pt x="98" y="287"/>
                    <a:pt x="98" y="287"/>
                  </a:cubicBezTo>
                  <a:cubicBezTo>
                    <a:pt x="98" y="286"/>
                    <a:pt x="98" y="286"/>
                    <a:pt x="98" y="286"/>
                  </a:cubicBezTo>
                  <a:cubicBezTo>
                    <a:pt x="98" y="286"/>
                    <a:pt x="98" y="286"/>
                    <a:pt x="98" y="286"/>
                  </a:cubicBezTo>
                  <a:cubicBezTo>
                    <a:pt x="98" y="285"/>
                    <a:pt x="98" y="285"/>
                    <a:pt x="99" y="284"/>
                  </a:cubicBezTo>
                  <a:cubicBezTo>
                    <a:pt x="99" y="284"/>
                    <a:pt x="99" y="284"/>
                    <a:pt x="99" y="284"/>
                  </a:cubicBezTo>
                  <a:cubicBezTo>
                    <a:pt x="99" y="284"/>
                    <a:pt x="99" y="283"/>
                    <a:pt x="99" y="283"/>
                  </a:cubicBezTo>
                  <a:cubicBezTo>
                    <a:pt x="99" y="283"/>
                    <a:pt x="99" y="283"/>
                    <a:pt x="99" y="283"/>
                  </a:cubicBezTo>
                  <a:cubicBezTo>
                    <a:pt x="100" y="282"/>
                    <a:pt x="100" y="282"/>
                    <a:pt x="100" y="281"/>
                  </a:cubicBezTo>
                  <a:cubicBezTo>
                    <a:pt x="100" y="281"/>
                    <a:pt x="100" y="281"/>
                    <a:pt x="100" y="281"/>
                  </a:cubicBezTo>
                  <a:cubicBezTo>
                    <a:pt x="100" y="281"/>
                    <a:pt x="101" y="280"/>
                    <a:pt x="101" y="279"/>
                  </a:cubicBezTo>
                  <a:cubicBezTo>
                    <a:pt x="101" y="279"/>
                    <a:pt x="101" y="279"/>
                    <a:pt x="101" y="279"/>
                  </a:cubicBezTo>
                  <a:cubicBezTo>
                    <a:pt x="101" y="279"/>
                    <a:pt x="101" y="278"/>
                    <a:pt x="102" y="278"/>
                  </a:cubicBezTo>
                  <a:cubicBezTo>
                    <a:pt x="102" y="278"/>
                    <a:pt x="102" y="278"/>
                    <a:pt x="102" y="278"/>
                  </a:cubicBezTo>
                  <a:cubicBezTo>
                    <a:pt x="102" y="277"/>
                    <a:pt x="102" y="277"/>
                    <a:pt x="102" y="277"/>
                  </a:cubicBezTo>
                  <a:cubicBezTo>
                    <a:pt x="102" y="277"/>
                    <a:pt x="102" y="277"/>
                    <a:pt x="103" y="277"/>
                  </a:cubicBezTo>
                  <a:cubicBezTo>
                    <a:pt x="103" y="276"/>
                    <a:pt x="103" y="276"/>
                    <a:pt x="103" y="276"/>
                  </a:cubicBezTo>
                  <a:cubicBezTo>
                    <a:pt x="103" y="276"/>
                    <a:pt x="103" y="276"/>
                    <a:pt x="103" y="276"/>
                  </a:cubicBezTo>
                  <a:cubicBezTo>
                    <a:pt x="103" y="276"/>
                    <a:pt x="103" y="275"/>
                    <a:pt x="103" y="275"/>
                  </a:cubicBezTo>
                  <a:cubicBezTo>
                    <a:pt x="103" y="275"/>
                    <a:pt x="103" y="275"/>
                    <a:pt x="103" y="275"/>
                  </a:cubicBezTo>
                  <a:cubicBezTo>
                    <a:pt x="103" y="275"/>
                    <a:pt x="103" y="275"/>
                    <a:pt x="103" y="274"/>
                  </a:cubicBezTo>
                  <a:cubicBezTo>
                    <a:pt x="103" y="274"/>
                    <a:pt x="103" y="274"/>
                    <a:pt x="104" y="274"/>
                  </a:cubicBezTo>
                  <a:cubicBezTo>
                    <a:pt x="104" y="274"/>
                    <a:pt x="104" y="274"/>
                    <a:pt x="104" y="274"/>
                  </a:cubicBezTo>
                  <a:cubicBezTo>
                    <a:pt x="104" y="274"/>
                    <a:pt x="104" y="274"/>
                    <a:pt x="104" y="274"/>
                  </a:cubicBezTo>
                  <a:cubicBezTo>
                    <a:pt x="104" y="273"/>
                    <a:pt x="104" y="272"/>
                    <a:pt x="105" y="272"/>
                  </a:cubicBezTo>
                  <a:cubicBezTo>
                    <a:pt x="105" y="272"/>
                    <a:pt x="105" y="272"/>
                    <a:pt x="105" y="272"/>
                  </a:cubicBezTo>
                  <a:cubicBezTo>
                    <a:pt x="105" y="271"/>
                    <a:pt x="105" y="271"/>
                    <a:pt x="105" y="270"/>
                  </a:cubicBezTo>
                  <a:cubicBezTo>
                    <a:pt x="105" y="270"/>
                    <a:pt x="106" y="270"/>
                    <a:pt x="106" y="270"/>
                  </a:cubicBezTo>
                  <a:cubicBezTo>
                    <a:pt x="106" y="270"/>
                    <a:pt x="106" y="270"/>
                    <a:pt x="106" y="269"/>
                  </a:cubicBezTo>
                  <a:cubicBezTo>
                    <a:pt x="106" y="269"/>
                    <a:pt x="106" y="269"/>
                    <a:pt x="106" y="269"/>
                  </a:cubicBezTo>
                  <a:cubicBezTo>
                    <a:pt x="106" y="269"/>
                    <a:pt x="106" y="268"/>
                    <a:pt x="106" y="268"/>
                  </a:cubicBezTo>
                  <a:cubicBezTo>
                    <a:pt x="107" y="268"/>
                    <a:pt x="107" y="268"/>
                    <a:pt x="107" y="268"/>
                  </a:cubicBezTo>
                  <a:cubicBezTo>
                    <a:pt x="107" y="267"/>
                    <a:pt x="107" y="266"/>
                    <a:pt x="107" y="266"/>
                  </a:cubicBezTo>
                  <a:cubicBezTo>
                    <a:pt x="108" y="266"/>
                    <a:pt x="108" y="266"/>
                    <a:pt x="108" y="266"/>
                  </a:cubicBezTo>
                  <a:cubicBezTo>
                    <a:pt x="108" y="265"/>
                    <a:pt x="108" y="265"/>
                    <a:pt x="108" y="264"/>
                  </a:cubicBezTo>
                  <a:cubicBezTo>
                    <a:pt x="108" y="264"/>
                    <a:pt x="108" y="264"/>
                    <a:pt x="109" y="264"/>
                  </a:cubicBezTo>
                  <a:cubicBezTo>
                    <a:pt x="109" y="264"/>
                    <a:pt x="109" y="263"/>
                    <a:pt x="109" y="263"/>
                  </a:cubicBezTo>
                  <a:cubicBezTo>
                    <a:pt x="109" y="263"/>
                    <a:pt x="109" y="263"/>
                    <a:pt x="109" y="263"/>
                  </a:cubicBezTo>
                  <a:cubicBezTo>
                    <a:pt x="109" y="262"/>
                    <a:pt x="109" y="262"/>
                    <a:pt x="110" y="261"/>
                  </a:cubicBezTo>
                  <a:cubicBezTo>
                    <a:pt x="110" y="261"/>
                    <a:pt x="110" y="261"/>
                    <a:pt x="110" y="261"/>
                  </a:cubicBezTo>
                  <a:cubicBezTo>
                    <a:pt x="110" y="261"/>
                    <a:pt x="110" y="261"/>
                    <a:pt x="110" y="261"/>
                  </a:cubicBezTo>
                  <a:cubicBezTo>
                    <a:pt x="110" y="261"/>
                    <a:pt x="110" y="261"/>
                    <a:pt x="110" y="261"/>
                  </a:cubicBezTo>
                  <a:cubicBezTo>
                    <a:pt x="110" y="261"/>
                    <a:pt x="110" y="260"/>
                    <a:pt x="110" y="260"/>
                  </a:cubicBezTo>
                  <a:cubicBezTo>
                    <a:pt x="110" y="260"/>
                    <a:pt x="110" y="260"/>
                    <a:pt x="111" y="260"/>
                  </a:cubicBezTo>
                  <a:cubicBezTo>
                    <a:pt x="111" y="260"/>
                    <a:pt x="111" y="260"/>
                    <a:pt x="111" y="259"/>
                  </a:cubicBezTo>
                  <a:cubicBezTo>
                    <a:pt x="111" y="259"/>
                    <a:pt x="111" y="259"/>
                    <a:pt x="111" y="259"/>
                  </a:cubicBezTo>
                  <a:cubicBezTo>
                    <a:pt x="111" y="259"/>
                    <a:pt x="111" y="259"/>
                    <a:pt x="111" y="259"/>
                  </a:cubicBezTo>
                  <a:cubicBezTo>
                    <a:pt x="111" y="259"/>
                    <a:pt x="111" y="259"/>
                    <a:pt x="111" y="259"/>
                  </a:cubicBezTo>
                  <a:cubicBezTo>
                    <a:pt x="112" y="258"/>
                    <a:pt x="112" y="257"/>
                    <a:pt x="112" y="256"/>
                  </a:cubicBezTo>
                  <a:cubicBezTo>
                    <a:pt x="113" y="255"/>
                    <a:pt x="113" y="255"/>
                    <a:pt x="113" y="255"/>
                  </a:cubicBezTo>
                  <a:cubicBezTo>
                    <a:pt x="113" y="255"/>
                    <a:pt x="113" y="254"/>
                    <a:pt x="113" y="254"/>
                  </a:cubicBezTo>
                  <a:cubicBezTo>
                    <a:pt x="114" y="253"/>
                    <a:pt x="115" y="253"/>
                    <a:pt x="116" y="252"/>
                  </a:cubicBezTo>
                  <a:cubicBezTo>
                    <a:pt x="120" y="247"/>
                    <a:pt x="124" y="243"/>
                    <a:pt x="128" y="238"/>
                  </a:cubicBezTo>
                  <a:cubicBezTo>
                    <a:pt x="129" y="237"/>
                    <a:pt x="130" y="236"/>
                    <a:pt x="131" y="235"/>
                  </a:cubicBezTo>
                  <a:cubicBezTo>
                    <a:pt x="131" y="235"/>
                    <a:pt x="131" y="234"/>
                    <a:pt x="131" y="234"/>
                  </a:cubicBezTo>
                  <a:cubicBezTo>
                    <a:pt x="131" y="234"/>
                    <a:pt x="131" y="234"/>
                    <a:pt x="132" y="234"/>
                  </a:cubicBezTo>
                  <a:cubicBezTo>
                    <a:pt x="132" y="234"/>
                    <a:pt x="132" y="234"/>
                    <a:pt x="132" y="233"/>
                  </a:cubicBezTo>
                  <a:cubicBezTo>
                    <a:pt x="132" y="233"/>
                    <a:pt x="132" y="233"/>
                    <a:pt x="132" y="233"/>
                  </a:cubicBezTo>
                  <a:cubicBezTo>
                    <a:pt x="132" y="233"/>
                    <a:pt x="132" y="232"/>
                    <a:pt x="132" y="231"/>
                  </a:cubicBezTo>
                  <a:cubicBezTo>
                    <a:pt x="132" y="231"/>
                    <a:pt x="132" y="231"/>
                    <a:pt x="132" y="231"/>
                  </a:cubicBezTo>
                  <a:cubicBezTo>
                    <a:pt x="132" y="231"/>
                    <a:pt x="132" y="230"/>
                    <a:pt x="132" y="230"/>
                  </a:cubicBezTo>
                  <a:cubicBezTo>
                    <a:pt x="132" y="230"/>
                    <a:pt x="133" y="230"/>
                    <a:pt x="133" y="230"/>
                  </a:cubicBezTo>
                  <a:cubicBezTo>
                    <a:pt x="133" y="230"/>
                    <a:pt x="133" y="229"/>
                    <a:pt x="133" y="229"/>
                  </a:cubicBezTo>
                  <a:cubicBezTo>
                    <a:pt x="133" y="229"/>
                    <a:pt x="133" y="229"/>
                    <a:pt x="133" y="229"/>
                  </a:cubicBezTo>
                  <a:cubicBezTo>
                    <a:pt x="133" y="228"/>
                    <a:pt x="133" y="227"/>
                    <a:pt x="133" y="227"/>
                  </a:cubicBezTo>
                  <a:cubicBezTo>
                    <a:pt x="133" y="227"/>
                    <a:pt x="133" y="227"/>
                    <a:pt x="133" y="227"/>
                  </a:cubicBezTo>
                  <a:cubicBezTo>
                    <a:pt x="133" y="226"/>
                    <a:pt x="133" y="226"/>
                    <a:pt x="133" y="225"/>
                  </a:cubicBezTo>
                  <a:cubicBezTo>
                    <a:pt x="133" y="225"/>
                    <a:pt x="134" y="225"/>
                    <a:pt x="134" y="225"/>
                  </a:cubicBezTo>
                  <a:cubicBezTo>
                    <a:pt x="134" y="225"/>
                    <a:pt x="134" y="224"/>
                    <a:pt x="134" y="224"/>
                  </a:cubicBezTo>
                  <a:cubicBezTo>
                    <a:pt x="134" y="224"/>
                    <a:pt x="134" y="224"/>
                    <a:pt x="134" y="224"/>
                  </a:cubicBezTo>
                  <a:cubicBezTo>
                    <a:pt x="134" y="223"/>
                    <a:pt x="134" y="223"/>
                    <a:pt x="134" y="222"/>
                  </a:cubicBezTo>
                  <a:cubicBezTo>
                    <a:pt x="134" y="222"/>
                    <a:pt x="134" y="222"/>
                    <a:pt x="134" y="222"/>
                  </a:cubicBezTo>
                  <a:cubicBezTo>
                    <a:pt x="134" y="222"/>
                    <a:pt x="134" y="221"/>
                    <a:pt x="134" y="221"/>
                  </a:cubicBezTo>
                  <a:cubicBezTo>
                    <a:pt x="135" y="221"/>
                    <a:pt x="135" y="221"/>
                    <a:pt x="135" y="221"/>
                  </a:cubicBezTo>
                  <a:cubicBezTo>
                    <a:pt x="135" y="219"/>
                    <a:pt x="135" y="218"/>
                    <a:pt x="135" y="216"/>
                  </a:cubicBezTo>
                  <a:cubicBezTo>
                    <a:pt x="136" y="216"/>
                    <a:pt x="136" y="216"/>
                    <a:pt x="136" y="216"/>
                  </a:cubicBezTo>
                  <a:cubicBezTo>
                    <a:pt x="136" y="216"/>
                    <a:pt x="136" y="215"/>
                    <a:pt x="136" y="215"/>
                  </a:cubicBezTo>
                  <a:cubicBezTo>
                    <a:pt x="137" y="212"/>
                    <a:pt x="138" y="209"/>
                    <a:pt x="138" y="205"/>
                  </a:cubicBezTo>
                  <a:cubicBezTo>
                    <a:pt x="137" y="205"/>
                    <a:pt x="136" y="204"/>
                    <a:pt x="135" y="204"/>
                  </a:cubicBezTo>
                  <a:cubicBezTo>
                    <a:pt x="135" y="204"/>
                    <a:pt x="135" y="204"/>
                    <a:pt x="135" y="204"/>
                  </a:cubicBezTo>
                  <a:cubicBezTo>
                    <a:pt x="134" y="204"/>
                    <a:pt x="134" y="204"/>
                    <a:pt x="134" y="204"/>
                  </a:cubicBezTo>
                  <a:cubicBezTo>
                    <a:pt x="134" y="204"/>
                    <a:pt x="134" y="204"/>
                    <a:pt x="134" y="203"/>
                  </a:cubicBezTo>
                  <a:cubicBezTo>
                    <a:pt x="133" y="203"/>
                    <a:pt x="133" y="203"/>
                    <a:pt x="133" y="203"/>
                  </a:cubicBezTo>
                  <a:cubicBezTo>
                    <a:pt x="133" y="203"/>
                    <a:pt x="133" y="203"/>
                    <a:pt x="133" y="203"/>
                  </a:cubicBezTo>
                  <a:cubicBezTo>
                    <a:pt x="133" y="203"/>
                    <a:pt x="132" y="203"/>
                    <a:pt x="132" y="203"/>
                  </a:cubicBezTo>
                  <a:cubicBezTo>
                    <a:pt x="132" y="203"/>
                    <a:pt x="132" y="203"/>
                    <a:pt x="132" y="203"/>
                  </a:cubicBezTo>
                  <a:cubicBezTo>
                    <a:pt x="132" y="203"/>
                    <a:pt x="131" y="203"/>
                    <a:pt x="131" y="203"/>
                  </a:cubicBezTo>
                  <a:cubicBezTo>
                    <a:pt x="131" y="203"/>
                    <a:pt x="131" y="203"/>
                    <a:pt x="131" y="202"/>
                  </a:cubicBezTo>
                  <a:cubicBezTo>
                    <a:pt x="131" y="202"/>
                    <a:pt x="131" y="202"/>
                    <a:pt x="130" y="202"/>
                  </a:cubicBezTo>
                  <a:cubicBezTo>
                    <a:pt x="130" y="202"/>
                    <a:pt x="130" y="202"/>
                    <a:pt x="130" y="202"/>
                  </a:cubicBezTo>
                  <a:cubicBezTo>
                    <a:pt x="130" y="202"/>
                    <a:pt x="130" y="202"/>
                    <a:pt x="129" y="202"/>
                  </a:cubicBezTo>
                  <a:cubicBezTo>
                    <a:pt x="129" y="202"/>
                    <a:pt x="129" y="202"/>
                    <a:pt x="129" y="202"/>
                  </a:cubicBezTo>
                  <a:cubicBezTo>
                    <a:pt x="129" y="202"/>
                    <a:pt x="129" y="202"/>
                    <a:pt x="128" y="202"/>
                  </a:cubicBezTo>
                  <a:cubicBezTo>
                    <a:pt x="128" y="202"/>
                    <a:pt x="128" y="201"/>
                    <a:pt x="128" y="201"/>
                  </a:cubicBezTo>
                  <a:cubicBezTo>
                    <a:pt x="128" y="201"/>
                    <a:pt x="128" y="201"/>
                    <a:pt x="127" y="201"/>
                  </a:cubicBezTo>
                  <a:cubicBezTo>
                    <a:pt x="127" y="201"/>
                    <a:pt x="127" y="201"/>
                    <a:pt x="127" y="201"/>
                  </a:cubicBezTo>
                  <a:cubicBezTo>
                    <a:pt x="127" y="201"/>
                    <a:pt x="126" y="201"/>
                    <a:pt x="126" y="201"/>
                  </a:cubicBezTo>
                  <a:cubicBezTo>
                    <a:pt x="126" y="201"/>
                    <a:pt x="126" y="200"/>
                    <a:pt x="126" y="200"/>
                  </a:cubicBezTo>
                  <a:cubicBezTo>
                    <a:pt x="126" y="200"/>
                    <a:pt x="126" y="200"/>
                    <a:pt x="125" y="200"/>
                  </a:cubicBezTo>
                  <a:cubicBezTo>
                    <a:pt x="125" y="200"/>
                    <a:pt x="125" y="200"/>
                    <a:pt x="125" y="200"/>
                  </a:cubicBezTo>
                  <a:cubicBezTo>
                    <a:pt x="125" y="200"/>
                    <a:pt x="125" y="200"/>
                    <a:pt x="124" y="200"/>
                  </a:cubicBezTo>
                  <a:cubicBezTo>
                    <a:pt x="124" y="200"/>
                    <a:pt x="124" y="200"/>
                    <a:pt x="124" y="200"/>
                  </a:cubicBezTo>
                  <a:cubicBezTo>
                    <a:pt x="124" y="200"/>
                    <a:pt x="124" y="200"/>
                    <a:pt x="124" y="200"/>
                  </a:cubicBezTo>
                  <a:cubicBezTo>
                    <a:pt x="124" y="199"/>
                    <a:pt x="124" y="199"/>
                    <a:pt x="124" y="199"/>
                  </a:cubicBezTo>
                  <a:cubicBezTo>
                    <a:pt x="123" y="199"/>
                    <a:pt x="123" y="199"/>
                    <a:pt x="122" y="199"/>
                  </a:cubicBezTo>
                  <a:cubicBezTo>
                    <a:pt x="122" y="199"/>
                    <a:pt x="122" y="199"/>
                    <a:pt x="122" y="199"/>
                  </a:cubicBezTo>
                  <a:cubicBezTo>
                    <a:pt x="122" y="199"/>
                    <a:pt x="122" y="199"/>
                    <a:pt x="122" y="199"/>
                  </a:cubicBezTo>
                  <a:cubicBezTo>
                    <a:pt x="122" y="199"/>
                    <a:pt x="122" y="199"/>
                    <a:pt x="122" y="199"/>
                  </a:cubicBezTo>
                  <a:cubicBezTo>
                    <a:pt x="121" y="199"/>
                    <a:pt x="121" y="199"/>
                    <a:pt x="121" y="199"/>
                  </a:cubicBezTo>
                  <a:cubicBezTo>
                    <a:pt x="121" y="198"/>
                    <a:pt x="121" y="198"/>
                    <a:pt x="121" y="198"/>
                  </a:cubicBezTo>
                  <a:cubicBezTo>
                    <a:pt x="120" y="198"/>
                    <a:pt x="120" y="198"/>
                    <a:pt x="119" y="198"/>
                  </a:cubicBezTo>
                  <a:cubicBezTo>
                    <a:pt x="119" y="198"/>
                    <a:pt x="119" y="198"/>
                    <a:pt x="119" y="197"/>
                  </a:cubicBezTo>
                  <a:cubicBezTo>
                    <a:pt x="119" y="197"/>
                    <a:pt x="119" y="197"/>
                    <a:pt x="118" y="197"/>
                  </a:cubicBezTo>
                  <a:cubicBezTo>
                    <a:pt x="118" y="197"/>
                    <a:pt x="118" y="197"/>
                    <a:pt x="118" y="197"/>
                  </a:cubicBezTo>
                  <a:cubicBezTo>
                    <a:pt x="118" y="197"/>
                    <a:pt x="118" y="197"/>
                    <a:pt x="118" y="197"/>
                  </a:cubicBezTo>
                  <a:cubicBezTo>
                    <a:pt x="118" y="197"/>
                    <a:pt x="118" y="197"/>
                    <a:pt x="118" y="197"/>
                  </a:cubicBezTo>
                  <a:cubicBezTo>
                    <a:pt x="116" y="196"/>
                    <a:pt x="115" y="196"/>
                    <a:pt x="113" y="195"/>
                  </a:cubicBezTo>
                  <a:cubicBezTo>
                    <a:pt x="113" y="195"/>
                    <a:pt x="113" y="195"/>
                    <a:pt x="113" y="194"/>
                  </a:cubicBezTo>
                  <a:cubicBezTo>
                    <a:pt x="112" y="194"/>
                    <a:pt x="112" y="194"/>
                    <a:pt x="112" y="194"/>
                  </a:cubicBezTo>
                  <a:cubicBezTo>
                    <a:pt x="112" y="194"/>
                    <a:pt x="112" y="194"/>
                    <a:pt x="111" y="193"/>
                  </a:cubicBezTo>
                  <a:cubicBezTo>
                    <a:pt x="111" y="193"/>
                    <a:pt x="111" y="193"/>
                    <a:pt x="111" y="193"/>
                  </a:cubicBezTo>
                  <a:cubicBezTo>
                    <a:pt x="110" y="193"/>
                    <a:pt x="110" y="192"/>
                    <a:pt x="110" y="192"/>
                  </a:cubicBezTo>
                  <a:cubicBezTo>
                    <a:pt x="109" y="192"/>
                    <a:pt x="109" y="192"/>
                    <a:pt x="109" y="192"/>
                  </a:cubicBezTo>
                  <a:cubicBezTo>
                    <a:pt x="109" y="192"/>
                    <a:pt x="108" y="191"/>
                    <a:pt x="108" y="191"/>
                  </a:cubicBezTo>
                  <a:cubicBezTo>
                    <a:pt x="108" y="191"/>
                    <a:pt x="108" y="191"/>
                    <a:pt x="107" y="191"/>
                  </a:cubicBezTo>
                  <a:cubicBezTo>
                    <a:pt x="107" y="190"/>
                    <a:pt x="107" y="190"/>
                    <a:pt x="107" y="190"/>
                  </a:cubicBezTo>
                  <a:cubicBezTo>
                    <a:pt x="107" y="190"/>
                    <a:pt x="106" y="190"/>
                    <a:pt x="106" y="190"/>
                  </a:cubicBezTo>
                  <a:cubicBezTo>
                    <a:pt x="106" y="189"/>
                    <a:pt x="106" y="189"/>
                    <a:pt x="105" y="189"/>
                  </a:cubicBezTo>
                  <a:cubicBezTo>
                    <a:pt x="105" y="189"/>
                    <a:pt x="105" y="189"/>
                    <a:pt x="105" y="189"/>
                  </a:cubicBezTo>
                  <a:cubicBezTo>
                    <a:pt x="104" y="188"/>
                    <a:pt x="104" y="188"/>
                    <a:pt x="104" y="187"/>
                  </a:cubicBezTo>
                  <a:cubicBezTo>
                    <a:pt x="103" y="187"/>
                    <a:pt x="103" y="187"/>
                    <a:pt x="103" y="187"/>
                  </a:cubicBezTo>
                  <a:cubicBezTo>
                    <a:pt x="103" y="187"/>
                    <a:pt x="102" y="187"/>
                    <a:pt x="102" y="186"/>
                  </a:cubicBezTo>
                  <a:cubicBezTo>
                    <a:pt x="102" y="186"/>
                    <a:pt x="102" y="186"/>
                    <a:pt x="102" y="186"/>
                  </a:cubicBezTo>
                  <a:cubicBezTo>
                    <a:pt x="101" y="186"/>
                    <a:pt x="101" y="186"/>
                    <a:pt x="101" y="185"/>
                  </a:cubicBezTo>
                  <a:cubicBezTo>
                    <a:pt x="101" y="185"/>
                    <a:pt x="100" y="185"/>
                    <a:pt x="100" y="185"/>
                  </a:cubicBezTo>
                  <a:cubicBezTo>
                    <a:pt x="100" y="185"/>
                    <a:pt x="100" y="185"/>
                    <a:pt x="99" y="184"/>
                  </a:cubicBezTo>
                  <a:cubicBezTo>
                    <a:pt x="99" y="184"/>
                    <a:pt x="99" y="184"/>
                    <a:pt x="99" y="184"/>
                  </a:cubicBezTo>
                  <a:cubicBezTo>
                    <a:pt x="98" y="184"/>
                    <a:pt x="98" y="183"/>
                    <a:pt x="98" y="183"/>
                  </a:cubicBezTo>
                  <a:cubicBezTo>
                    <a:pt x="97" y="182"/>
                    <a:pt x="96" y="182"/>
                    <a:pt x="95" y="181"/>
                  </a:cubicBezTo>
                  <a:cubicBezTo>
                    <a:pt x="95" y="181"/>
                    <a:pt x="95" y="181"/>
                    <a:pt x="95" y="181"/>
                  </a:cubicBezTo>
                  <a:cubicBezTo>
                    <a:pt x="95" y="181"/>
                    <a:pt x="95" y="181"/>
                    <a:pt x="95" y="181"/>
                  </a:cubicBezTo>
                  <a:cubicBezTo>
                    <a:pt x="94" y="182"/>
                    <a:pt x="93" y="183"/>
                    <a:pt x="92" y="183"/>
                  </a:cubicBezTo>
                  <a:cubicBezTo>
                    <a:pt x="92" y="183"/>
                    <a:pt x="92" y="184"/>
                    <a:pt x="92" y="184"/>
                  </a:cubicBezTo>
                  <a:cubicBezTo>
                    <a:pt x="92" y="184"/>
                    <a:pt x="91" y="184"/>
                    <a:pt x="91" y="184"/>
                  </a:cubicBezTo>
                  <a:cubicBezTo>
                    <a:pt x="91" y="185"/>
                    <a:pt x="90" y="185"/>
                    <a:pt x="90" y="186"/>
                  </a:cubicBezTo>
                  <a:cubicBezTo>
                    <a:pt x="89" y="186"/>
                    <a:pt x="89" y="186"/>
                    <a:pt x="89" y="186"/>
                  </a:cubicBezTo>
                  <a:cubicBezTo>
                    <a:pt x="88" y="187"/>
                    <a:pt x="88" y="187"/>
                    <a:pt x="87" y="188"/>
                  </a:cubicBezTo>
                  <a:cubicBezTo>
                    <a:pt x="87" y="188"/>
                    <a:pt x="87" y="188"/>
                    <a:pt x="86" y="188"/>
                  </a:cubicBezTo>
                  <a:cubicBezTo>
                    <a:pt x="86" y="189"/>
                    <a:pt x="85" y="189"/>
                    <a:pt x="85" y="190"/>
                  </a:cubicBezTo>
                  <a:cubicBezTo>
                    <a:pt x="84" y="190"/>
                    <a:pt x="84" y="190"/>
                    <a:pt x="84" y="190"/>
                  </a:cubicBezTo>
                  <a:cubicBezTo>
                    <a:pt x="83" y="191"/>
                    <a:pt x="83" y="192"/>
                    <a:pt x="82" y="192"/>
                  </a:cubicBezTo>
                  <a:cubicBezTo>
                    <a:pt x="82" y="192"/>
                    <a:pt x="82" y="192"/>
                    <a:pt x="82" y="192"/>
                  </a:cubicBezTo>
                  <a:cubicBezTo>
                    <a:pt x="81" y="193"/>
                    <a:pt x="81" y="193"/>
                    <a:pt x="80" y="194"/>
                  </a:cubicBezTo>
                  <a:cubicBezTo>
                    <a:pt x="80" y="194"/>
                    <a:pt x="80" y="194"/>
                    <a:pt x="79" y="194"/>
                  </a:cubicBezTo>
                  <a:cubicBezTo>
                    <a:pt x="79" y="195"/>
                    <a:pt x="78" y="195"/>
                    <a:pt x="78" y="196"/>
                  </a:cubicBezTo>
                  <a:cubicBezTo>
                    <a:pt x="77" y="196"/>
                    <a:pt x="77" y="196"/>
                    <a:pt x="77" y="196"/>
                  </a:cubicBezTo>
                  <a:cubicBezTo>
                    <a:pt x="76" y="197"/>
                    <a:pt x="76" y="197"/>
                    <a:pt x="75" y="198"/>
                  </a:cubicBezTo>
                  <a:cubicBezTo>
                    <a:pt x="75" y="198"/>
                    <a:pt x="75" y="198"/>
                    <a:pt x="75" y="198"/>
                  </a:cubicBezTo>
                  <a:cubicBezTo>
                    <a:pt x="74" y="199"/>
                    <a:pt x="73" y="200"/>
                    <a:pt x="73" y="200"/>
                  </a:cubicBezTo>
                  <a:cubicBezTo>
                    <a:pt x="73" y="200"/>
                    <a:pt x="72" y="200"/>
                    <a:pt x="72" y="200"/>
                  </a:cubicBezTo>
                  <a:cubicBezTo>
                    <a:pt x="72" y="201"/>
                    <a:pt x="71" y="201"/>
                    <a:pt x="71" y="202"/>
                  </a:cubicBezTo>
                  <a:cubicBezTo>
                    <a:pt x="71" y="202"/>
                    <a:pt x="70" y="202"/>
                    <a:pt x="70" y="202"/>
                  </a:cubicBezTo>
                  <a:cubicBezTo>
                    <a:pt x="70" y="202"/>
                    <a:pt x="70" y="203"/>
                    <a:pt x="69" y="203"/>
                  </a:cubicBezTo>
                  <a:cubicBezTo>
                    <a:pt x="68" y="204"/>
                    <a:pt x="67" y="205"/>
                    <a:pt x="66" y="206"/>
                  </a:cubicBezTo>
                  <a:cubicBezTo>
                    <a:pt x="66" y="196"/>
                    <a:pt x="66" y="186"/>
                    <a:pt x="66" y="176"/>
                  </a:cubicBezTo>
                  <a:cubicBezTo>
                    <a:pt x="63" y="175"/>
                    <a:pt x="59" y="175"/>
                    <a:pt x="56" y="174"/>
                  </a:cubicBezTo>
                  <a:cubicBezTo>
                    <a:pt x="55" y="174"/>
                    <a:pt x="54" y="173"/>
                    <a:pt x="53" y="173"/>
                  </a:cubicBezTo>
                  <a:cubicBezTo>
                    <a:pt x="53" y="173"/>
                    <a:pt x="53" y="173"/>
                    <a:pt x="53" y="173"/>
                  </a:cubicBezTo>
                  <a:cubicBezTo>
                    <a:pt x="51" y="173"/>
                    <a:pt x="48" y="172"/>
                    <a:pt x="46" y="172"/>
                  </a:cubicBezTo>
                  <a:cubicBezTo>
                    <a:pt x="42" y="171"/>
                    <a:pt x="37" y="170"/>
                    <a:pt x="33" y="168"/>
                  </a:cubicBezTo>
                  <a:cubicBezTo>
                    <a:pt x="32" y="168"/>
                    <a:pt x="31" y="168"/>
                    <a:pt x="30" y="168"/>
                  </a:cubicBezTo>
                  <a:cubicBezTo>
                    <a:pt x="27" y="167"/>
                    <a:pt x="23" y="166"/>
                    <a:pt x="20" y="165"/>
                  </a:cubicBezTo>
                  <a:cubicBezTo>
                    <a:pt x="20" y="165"/>
                    <a:pt x="19" y="165"/>
                    <a:pt x="19" y="165"/>
                  </a:cubicBezTo>
                  <a:cubicBezTo>
                    <a:pt x="16" y="164"/>
                    <a:pt x="13" y="164"/>
                    <a:pt x="10" y="163"/>
                  </a:cubicBezTo>
                  <a:cubicBezTo>
                    <a:pt x="9" y="163"/>
                    <a:pt x="8" y="163"/>
                    <a:pt x="7" y="163"/>
                  </a:cubicBezTo>
                  <a:cubicBezTo>
                    <a:pt x="5" y="162"/>
                    <a:pt x="3" y="161"/>
                    <a:pt x="0" y="161"/>
                  </a:cubicBezTo>
                  <a:cubicBezTo>
                    <a:pt x="1" y="160"/>
                    <a:pt x="2" y="159"/>
                    <a:pt x="3" y="158"/>
                  </a:cubicBezTo>
                  <a:cubicBezTo>
                    <a:pt x="3" y="158"/>
                    <a:pt x="3" y="158"/>
                    <a:pt x="3" y="158"/>
                  </a:cubicBezTo>
                  <a:cubicBezTo>
                    <a:pt x="3" y="157"/>
                    <a:pt x="3" y="157"/>
                    <a:pt x="3" y="157"/>
                  </a:cubicBezTo>
                  <a:cubicBezTo>
                    <a:pt x="4" y="157"/>
                    <a:pt x="4" y="156"/>
                    <a:pt x="4" y="156"/>
                  </a:cubicBezTo>
                  <a:cubicBezTo>
                    <a:pt x="4" y="156"/>
                    <a:pt x="4" y="156"/>
                    <a:pt x="4" y="156"/>
                  </a:cubicBezTo>
                  <a:cubicBezTo>
                    <a:pt x="4" y="156"/>
                    <a:pt x="5" y="156"/>
                    <a:pt x="5" y="156"/>
                  </a:cubicBezTo>
                  <a:cubicBezTo>
                    <a:pt x="5" y="155"/>
                    <a:pt x="5" y="154"/>
                    <a:pt x="5" y="153"/>
                  </a:cubicBezTo>
                  <a:cubicBezTo>
                    <a:pt x="5" y="153"/>
                    <a:pt x="6" y="153"/>
                    <a:pt x="6" y="153"/>
                  </a:cubicBezTo>
                  <a:cubicBezTo>
                    <a:pt x="6" y="153"/>
                    <a:pt x="6" y="153"/>
                    <a:pt x="6" y="152"/>
                  </a:cubicBezTo>
                  <a:cubicBezTo>
                    <a:pt x="6" y="152"/>
                    <a:pt x="6" y="152"/>
                    <a:pt x="6" y="152"/>
                  </a:cubicBezTo>
                  <a:cubicBezTo>
                    <a:pt x="6" y="152"/>
                    <a:pt x="6" y="151"/>
                    <a:pt x="6" y="151"/>
                  </a:cubicBezTo>
                  <a:cubicBezTo>
                    <a:pt x="6" y="151"/>
                    <a:pt x="6" y="151"/>
                    <a:pt x="6" y="151"/>
                  </a:cubicBezTo>
                  <a:cubicBezTo>
                    <a:pt x="6" y="151"/>
                    <a:pt x="6" y="150"/>
                    <a:pt x="6" y="150"/>
                  </a:cubicBezTo>
                  <a:cubicBezTo>
                    <a:pt x="7" y="150"/>
                    <a:pt x="7" y="150"/>
                    <a:pt x="7" y="150"/>
                  </a:cubicBezTo>
                  <a:cubicBezTo>
                    <a:pt x="7" y="149"/>
                    <a:pt x="7" y="149"/>
                    <a:pt x="7" y="149"/>
                  </a:cubicBezTo>
                  <a:cubicBezTo>
                    <a:pt x="7" y="149"/>
                    <a:pt x="7" y="149"/>
                    <a:pt x="7" y="149"/>
                  </a:cubicBezTo>
                  <a:cubicBezTo>
                    <a:pt x="7" y="149"/>
                    <a:pt x="7" y="148"/>
                    <a:pt x="7" y="148"/>
                  </a:cubicBezTo>
                  <a:cubicBezTo>
                    <a:pt x="7" y="148"/>
                    <a:pt x="8" y="148"/>
                    <a:pt x="8" y="148"/>
                  </a:cubicBezTo>
                  <a:cubicBezTo>
                    <a:pt x="8" y="147"/>
                    <a:pt x="9" y="146"/>
                    <a:pt x="10" y="146"/>
                  </a:cubicBezTo>
                  <a:cubicBezTo>
                    <a:pt x="10" y="146"/>
                    <a:pt x="10" y="146"/>
                    <a:pt x="10" y="146"/>
                  </a:cubicBezTo>
                  <a:cubicBezTo>
                    <a:pt x="11" y="145"/>
                    <a:pt x="11" y="145"/>
                    <a:pt x="12" y="144"/>
                  </a:cubicBezTo>
                  <a:cubicBezTo>
                    <a:pt x="12" y="144"/>
                    <a:pt x="12" y="144"/>
                    <a:pt x="12" y="144"/>
                  </a:cubicBezTo>
                  <a:cubicBezTo>
                    <a:pt x="13" y="144"/>
                    <a:pt x="13" y="143"/>
                    <a:pt x="13" y="143"/>
                  </a:cubicBezTo>
                  <a:cubicBezTo>
                    <a:pt x="14" y="143"/>
                    <a:pt x="14" y="143"/>
                    <a:pt x="14" y="143"/>
                  </a:cubicBezTo>
                  <a:cubicBezTo>
                    <a:pt x="14" y="142"/>
                    <a:pt x="15" y="142"/>
                    <a:pt x="15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6" y="141"/>
                    <a:pt x="16" y="141"/>
                    <a:pt x="17" y="140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18" y="140"/>
                    <a:pt x="18" y="139"/>
                    <a:pt x="19" y="138"/>
                  </a:cubicBezTo>
                  <a:cubicBezTo>
                    <a:pt x="19" y="138"/>
                    <a:pt x="19" y="138"/>
                    <a:pt x="19" y="138"/>
                  </a:cubicBezTo>
                  <a:cubicBezTo>
                    <a:pt x="20" y="138"/>
                    <a:pt x="20" y="137"/>
                    <a:pt x="21" y="137"/>
                  </a:cubicBezTo>
                  <a:cubicBezTo>
                    <a:pt x="21" y="137"/>
                    <a:pt x="21" y="137"/>
                    <a:pt x="21" y="137"/>
                  </a:cubicBezTo>
                  <a:cubicBezTo>
                    <a:pt x="22" y="136"/>
                    <a:pt x="23" y="135"/>
                    <a:pt x="24" y="134"/>
                  </a:cubicBezTo>
                  <a:cubicBezTo>
                    <a:pt x="24" y="134"/>
                    <a:pt x="24" y="134"/>
                    <a:pt x="24" y="134"/>
                  </a:cubicBezTo>
                  <a:cubicBezTo>
                    <a:pt x="25" y="133"/>
                    <a:pt x="26" y="132"/>
                    <a:pt x="27" y="131"/>
                  </a:cubicBezTo>
                  <a:cubicBezTo>
                    <a:pt x="29" y="130"/>
                    <a:pt x="30" y="128"/>
                    <a:pt x="32" y="126"/>
                  </a:cubicBezTo>
                  <a:cubicBezTo>
                    <a:pt x="32" y="126"/>
                    <a:pt x="32" y="126"/>
                    <a:pt x="32" y="126"/>
                  </a:cubicBezTo>
                  <a:cubicBezTo>
                    <a:pt x="33" y="125"/>
                    <a:pt x="34" y="124"/>
                    <a:pt x="34" y="124"/>
                  </a:cubicBezTo>
                  <a:cubicBezTo>
                    <a:pt x="34" y="123"/>
                    <a:pt x="34" y="123"/>
                    <a:pt x="34" y="123"/>
                  </a:cubicBezTo>
                  <a:cubicBezTo>
                    <a:pt x="35" y="123"/>
                    <a:pt x="36" y="122"/>
                    <a:pt x="36" y="122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7" y="121"/>
                    <a:pt x="37" y="120"/>
                    <a:pt x="38" y="120"/>
                  </a:cubicBezTo>
                  <a:cubicBezTo>
                    <a:pt x="38" y="120"/>
                    <a:pt x="38" y="119"/>
                    <a:pt x="38" y="119"/>
                  </a:cubicBezTo>
                  <a:cubicBezTo>
                    <a:pt x="38" y="119"/>
                    <a:pt x="38" y="119"/>
                    <a:pt x="39" y="118"/>
                  </a:cubicBezTo>
                  <a:cubicBezTo>
                    <a:pt x="39" y="118"/>
                    <a:pt x="39" y="118"/>
                    <a:pt x="39" y="118"/>
                  </a:cubicBezTo>
                  <a:cubicBezTo>
                    <a:pt x="39" y="118"/>
                    <a:pt x="39" y="117"/>
                    <a:pt x="40" y="117"/>
                  </a:cubicBezTo>
                  <a:cubicBezTo>
                    <a:pt x="40" y="117"/>
                    <a:pt x="40" y="117"/>
                    <a:pt x="40" y="116"/>
                  </a:cubicBezTo>
                  <a:cubicBezTo>
                    <a:pt x="40" y="116"/>
                    <a:pt x="40" y="116"/>
                    <a:pt x="41" y="116"/>
                  </a:cubicBezTo>
                  <a:cubicBezTo>
                    <a:pt x="41" y="115"/>
                    <a:pt x="41" y="115"/>
                    <a:pt x="41" y="115"/>
                  </a:cubicBezTo>
                  <a:cubicBezTo>
                    <a:pt x="41" y="115"/>
                    <a:pt x="41" y="115"/>
                    <a:pt x="41" y="115"/>
                  </a:cubicBezTo>
                  <a:cubicBezTo>
                    <a:pt x="41" y="114"/>
                    <a:pt x="41" y="114"/>
                    <a:pt x="41" y="114"/>
                  </a:cubicBezTo>
                  <a:cubicBezTo>
                    <a:pt x="42" y="114"/>
                    <a:pt x="42" y="114"/>
                    <a:pt x="42" y="114"/>
                  </a:cubicBezTo>
                  <a:cubicBezTo>
                    <a:pt x="42" y="113"/>
                    <a:pt x="42" y="113"/>
                    <a:pt x="42" y="113"/>
                  </a:cubicBezTo>
                  <a:cubicBezTo>
                    <a:pt x="42" y="113"/>
                    <a:pt x="43" y="113"/>
                    <a:pt x="43" y="113"/>
                  </a:cubicBezTo>
                  <a:cubicBezTo>
                    <a:pt x="43" y="112"/>
                    <a:pt x="43" y="112"/>
                    <a:pt x="43" y="112"/>
                  </a:cubicBezTo>
                  <a:cubicBezTo>
                    <a:pt x="43" y="112"/>
                    <a:pt x="43" y="112"/>
                    <a:pt x="43" y="111"/>
                  </a:cubicBezTo>
                  <a:cubicBezTo>
                    <a:pt x="43" y="111"/>
                    <a:pt x="43" y="111"/>
                    <a:pt x="43" y="111"/>
                  </a:cubicBezTo>
                  <a:cubicBezTo>
                    <a:pt x="44" y="111"/>
                    <a:pt x="44" y="111"/>
                    <a:pt x="44" y="110"/>
                  </a:cubicBezTo>
                  <a:cubicBezTo>
                    <a:pt x="44" y="110"/>
                    <a:pt x="44" y="110"/>
                    <a:pt x="44" y="110"/>
                  </a:cubicBezTo>
                  <a:cubicBezTo>
                    <a:pt x="44" y="110"/>
                    <a:pt x="45" y="109"/>
                    <a:pt x="45" y="109"/>
                  </a:cubicBezTo>
                  <a:cubicBezTo>
                    <a:pt x="45" y="109"/>
                    <a:pt x="45" y="109"/>
                    <a:pt x="45" y="109"/>
                  </a:cubicBezTo>
                  <a:cubicBezTo>
                    <a:pt x="45" y="109"/>
                    <a:pt x="45" y="108"/>
                    <a:pt x="46" y="108"/>
                  </a:cubicBezTo>
                  <a:cubicBezTo>
                    <a:pt x="46" y="108"/>
                    <a:pt x="46" y="107"/>
                    <a:pt x="46" y="107"/>
                  </a:cubicBezTo>
                  <a:cubicBezTo>
                    <a:pt x="46" y="107"/>
                    <a:pt x="46" y="107"/>
                    <a:pt x="47" y="107"/>
                  </a:cubicBezTo>
                  <a:cubicBezTo>
                    <a:pt x="47" y="106"/>
                    <a:pt x="47" y="106"/>
                    <a:pt x="47" y="105"/>
                  </a:cubicBezTo>
                  <a:cubicBezTo>
                    <a:pt x="47" y="105"/>
                    <a:pt x="47" y="105"/>
                    <a:pt x="48" y="105"/>
                  </a:cubicBezTo>
                  <a:cubicBezTo>
                    <a:pt x="48" y="104"/>
                    <a:pt x="48" y="103"/>
                    <a:pt x="48" y="103"/>
                  </a:cubicBezTo>
                  <a:cubicBezTo>
                    <a:pt x="49" y="103"/>
                    <a:pt x="49" y="102"/>
                    <a:pt x="49" y="102"/>
                  </a:cubicBezTo>
                  <a:cubicBezTo>
                    <a:pt x="49" y="102"/>
                    <a:pt x="49" y="102"/>
                    <a:pt x="49" y="102"/>
                  </a:cubicBezTo>
                  <a:cubicBezTo>
                    <a:pt x="49" y="102"/>
                    <a:pt x="49" y="102"/>
                    <a:pt x="49" y="102"/>
                  </a:cubicBezTo>
                  <a:cubicBezTo>
                    <a:pt x="49" y="101"/>
                    <a:pt x="49" y="101"/>
                    <a:pt x="49" y="101"/>
                  </a:cubicBezTo>
                  <a:cubicBezTo>
                    <a:pt x="50" y="101"/>
                    <a:pt x="50" y="101"/>
                    <a:pt x="50" y="101"/>
                  </a:cubicBezTo>
                  <a:cubicBezTo>
                    <a:pt x="50" y="101"/>
                    <a:pt x="50" y="100"/>
                    <a:pt x="50" y="100"/>
                  </a:cubicBezTo>
                  <a:cubicBezTo>
                    <a:pt x="50" y="100"/>
                    <a:pt x="50" y="100"/>
                    <a:pt x="50" y="100"/>
                  </a:cubicBezTo>
                  <a:cubicBezTo>
                    <a:pt x="50" y="100"/>
                    <a:pt x="50" y="100"/>
                    <a:pt x="50" y="100"/>
                  </a:cubicBezTo>
                  <a:cubicBezTo>
                    <a:pt x="50" y="99"/>
                    <a:pt x="51" y="99"/>
                    <a:pt x="51" y="99"/>
                  </a:cubicBezTo>
                  <a:cubicBezTo>
                    <a:pt x="51" y="99"/>
                    <a:pt x="51" y="99"/>
                    <a:pt x="51" y="99"/>
                  </a:cubicBezTo>
                  <a:cubicBezTo>
                    <a:pt x="51" y="99"/>
                    <a:pt x="51" y="99"/>
                    <a:pt x="51" y="99"/>
                  </a:cubicBezTo>
                  <a:cubicBezTo>
                    <a:pt x="51" y="98"/>
                    <a:pt x="51" y="98"/>
                    <a:pt x="51" y="98"/>
                  </a:cubicBezTo>
                  <a:cubicBezTo>
                    <a:pt x="51" y="98"/>
                    <a:pt x="51" y="98"/>
                    <a:pt x="51" y="98"/>
                  </a:cubicBezTo>
                  <a:cubicBezTo>
                    <a:pt x="51" y="98"/>
                    <a:pt x="51" y="97"/>
                    <a:pt x="51" y="97"/>
                  </a:cubicBezTo>
                  <a:cubicBezTo>
                    <a:pt x="52" y="97"/>
                    <a:pt x="52" y="97"/>
                    <a:pt x="52" y="97"/>
                  </a:cubicBezTo>
                  <a:cubicBezTo>
                    <a:pt x="52" y="97"/>
                    <a:pt x="52" y="97"/>
                    <a:pt x="52" y="96"/>
                  </a:cubicBezTo>
                  <a:cubicBezTo>
                    <a:pt x="52" y="96"/>
                    <a:pt x="52" y="96"/>
                    <a:pt x="52" y="96"/>
                  </a:cubicBezTo>
                  <a:cubicBezTo>
                    <a:pt x="52" y="96"/>
                    <a:pt x="52" y="96"/>
                    <a:pt x="52" y="96"/>
                  </a:cubicBezTo>
                  <a:cubicBezTo>
                    <a:pt x="52" y="96"/>
                    <a:pt x="52" y="96"/>
                    <a:pt x="53" y="96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53" y="94"/>
                    <a:pt x="53" y="94"/>
                    <a:pt x="54" y="93"/>
                  </a:cubicBezTo>
                  <a:cubicBezTo>
                    <a:pt x="54" y="93"/>
                    <a:pt x="54" y="93"/>
                    <a:pt x="54" y="93"/>
                  </a:cubicBezTo>
                  <a:cubicBezTo>
                    <a:pt x="54" y="93"/>
                    <a:pt x="54" y="92"/>
                    <a:pt x="54" y="92"/>
                  </a:cubicBezTo>
                  <a:cubicBezTo>
                    <a:pt x="54" y="92"/>
                    <a:pt x="54" y="92"/>
                    <a:pt x="54" y="92"/>
                  </a:cubicBezTo>
                  <a:cubicBezTo>
                    <a:pt x="54" y="92"/>
                    <a:pt x="54" y="91"/>
                    <a:pt x="54" y="91"/>
                  </a:cubicBezTo>
                  <a:cubicBezTo>
                    <a:pt x="54" y="91"/>
                    <a:pt x="55" y="91"/>
                    <a:pt x="55" y="91"/>
                  </a:cubicBezTo>
                  <a:cubicBezTo>
                    <a:pt x="55" y="90"/>
                    <a:pt x="55" y="90"/>
                    <a:pt x="55" y="89"/>
                  </a:cubicBezTo>
                  <a:cubicBezTo>
                    <a:pt x="55" y="89"/>
                    <a:pt x="56" y="89"/>
                    <a:pt x="56" y="89"/>
                  </a:cubicBezTo>
                  <a:cubicBezTo>
                    <a:pt x="56" y="89"/>
                    <a:pt x="56" y="88"/>
                    <a:pt x="56" y="88"/>
                  </a:cubicBezTo>
                  <a:cubicBezTo>
                    <a:pt x="58" y="84"/>
                    <a:pt x="60" y="79"/>
                    <a:pt x="60" y="73"/>
                  </a:cubicBezTo>
                  <a:cubicBezTo>
                    <a:pt x="60" y="71"/>
                    <a:pt x="60" y="69"/>
                    <a:pt x="60" y="67"/>
                  </a:cubicBezTo>
                  <a:cubicBezTo>
                    <a:pt x="59" y="65"/>
                    <a:pt x="58" y="63"/>
                    <a:pt x="58" y="61"/>
                  </a:cubicBezTo>
                  <a:cubicBezTo>
                    <a:pt x="58" y="61"/>
                    <a:pt x="57" y="61"/>
                    <a:pt x="57" y="61"/>
                  </a:cubicBezTo>
                  <a:cubicBezTo>
                    <a:pt x="57" y="60"/>
                    <a:pt x="57" y="60"/>
                    <a:pt x="57" y="59"/>
                  </a:cubicBezTo>
                  <a:cubicBezTo>
                    <a:pt x="57" y="59"/>
                    <a:pt x="56" y="59"/>
                    <a:pt x="56" y="59"/>
                  </a:cubicBezTo>
                  <a:cubicBezTo>
                    <a:pt x="56" y="59"/>
                    <a:pt x="56" y="58"/>
                    <a:pt x="56" y="58"/>
                  </a:cubicBezTo>
                  <a:cubicBezTo>
                    <a:pt x="56" y="58"/>
                    <a:pt x="55" y="58"/>
                    <a:pt x="55" y="58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8" y="57"/>
                    <a:pt x="61" y="56"/>
                    <a:pt x="64" y="55"/>
                  </a:cubicBezTo>
                  <a:cubicBezTo>
                    <a:pt x="65" y="55"/>
                    <a:pt x="66" y="55"/>
                    <a:pt x="67" y="55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7" y="55"/>
                    <a:pt x="68" y="55"/>
                    <a:pt x="69" y="55"/>
                  </a:cubicBezTo>
                  <a:cubicBezTo>
                    <a:pt x="69" y="55"/>
                    <a:pt x="69" y="55"/>
                    <a:pt x="69" y="55"/>
                  </a:cubicBezTo>
                  <a:cubicBezTo>
                    <a:pt x="71" y="55"/>
                    <a:pt x="73" y="55"/>
                    <a:pt x="75" y="54"/>
                  </a:cubicBezTo>
                  <a:cubicBezTo>
                    <a:pt x="75" y="54"/>
                    <a:pt x="75" y="54"/>
                    <a:pt x="75" y="54"/>
                  </a:cubicBezTo>
                  <a:cubicBezTo>
                    <a:pt x="75" y="54"/>
                    <a:pt x="76" y="54"/>
                    <a:pt x="77" y="54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8" y="54"/>
                    <a:pt x="79" y="54"/>
                    <a:pt x="79" y="54"/>
                  </a:cubicBezTo>
                  <a:cubicBezTo>
                    <a:pt x="79" y="54"/>
                    <a:pt x="79" y="54"/>
                    <a:pt x="79" y="53"/>
                  </a:cubicBezTo>
                  <a:cubicBezTo>
                    <a:pt x="80" y="53"/>
                    <a:pt x="81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3" y="53"/>
                    <a:pt x="83" y="53"/>
                    <a:pt x="84" y="53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85" y="53"/>
                    <a:pt x="85" y="53"/>
                    <a:pt x="86" y="53"/>
                  </a:cubicBezTo>
                  <a:cubicBezTo>
                    <a:pt x="86" y="53"/>
                    <a:pt x="86" y="52"/>
                    <a:pt x="86" y="52"/>
                  </a:cubicBezTo>
                  <a:cubicBezTo>
                    <a:pt x="87" y="52"/>
                    <a:pt x="87" y="52"/>
                    <a:pt x="88" y="52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89" y="52"/>
                    <a:pt x="89" y="52"/>
                    <a:pt x="90" y="52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1" y="52"/>
                    <a:pt x="92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4" y="51"/>
                    <a:pt x="94" y="51"/>
                    <a:pt x="95" y="51"/>
                  </a:cubicBezTo>
                  <a:cubicBezTo>
                    <a:pt x="95" y="51"/>
                    <a:pt x="95" y="51"/>
                    <a:pt x="95" y="51"/>
                  </a:cubicBezTo>
                  <a:cubicBezTo>
                    <a:pt x="95" y="51"/>
                    <a:pt x="95" y="51"/>
                    <a:pt x="96" y="51"/>
                  </a:cubicBezTo>
                  <a:cubicBezTo>
                    <a:pt x="96" y="50"/>
                    <a:pt x="96" y="50"/>
                    <a:pt x="96" y="50"/>
                  </a:cubicBezTo>
                  <a:cubicBezTo>
                    <a:pt x="96" y="50"/>
                    <a:pt x="97" y="50"/>
                    <a:pt x="97" y="50"/>
                  </a:cubicBezTo>
                  <a:cubicBezTo>
                    <a:pt x="97" y="50"/>
                    <a:pt x="97" y="50"/>
                    <a:pt x="97" y="50"/>
                  </a:cubicBezTo>
                  <a:cubicBezTo>
                    <a:pt x="97" y="50"/>
                    <a:pt x="98" y="50"/>
                    <a:pt x="98" y="50"/>
                  </a:cubicBezTo>
                  <a:cubicBezTo>
                    <a:pt x="98" y="50"/>
                    <a:pt x="98" y="50"/>
                    <a:pt x="98" y="50"/>
                  </a:cubicBezTo>
                  <a:cubicBezTo>
                    <a:pt x="98" y="50"/>
                    <a:pt x="98" y="50"/>
                    <a:pt x="99" y="50"/>
                  </a:cubicBezTo>
                  <a:cubicBezTo>
                    <a:pt x="99" y="49"/>
                    <a:pt x="99" y="49"/>
                    <a:pt x="99" y="49"/>
                  </a:cubicBezTo>
                  <a:cubicBezTo>
                    <a:pt x="99" y="49"/>
                    <a:pt x="99" y="49"/>
                    <a:pt x="99" y="49"/>
                  </a:cubicBezTo>
                  <a:cubicBezTo>
                    <a:pt x="100" y="49"/>
                    <a:pt x="101" y="46"/>
                    <a:pt x="102" y="44"/>
                  </a:cubicBezTo>
                  <a:cubicBezTo>
                    <a:pt x="102" y="42"/>
                    <a:pt x="101" y="36"/>
                    <a:pt x="100" y="34"/>
                  </a:cubicBezTo>
                  <a:cubicBezTo>
                    <a:pt x="100" y="34"/>
                    <a:pt x="100" y="33"/>
                    <a:pt x="100" y="32"/>
                  </a:cubicBezTo>
                  <a:cubicBezTo>
                    <a:pt x="100" y="32"/>
                    <a:pt x="100" y="32"/>
                    <a:pt x="100" y="32"/>
                  </a:cubicBezTo>
                  <a:cubicBezTo>
                    <a:pt x="100" y="32"/>
                    <a:pt x="100" y="31"/>
                    <a:pt x="100" y="31"/>
                  </a:cubicBezTo>
                  <a:cubicBezTo>
                    <a:pt x="100" y="31"/>
                    <a:pt x="100" y="31"/>
                    <a:pt x="100" y="31"/>
                  </a:cubicBezTo>
                  <a:cubicBezTo>
                    <a:pt x="100" y="30"/>
                    <a:pt x="99" y="30"/>
                    <a:pt x="99" y="29"/>
                  </a:cubicBezTo>
                  <a:cubicBezTo>
                    <a:pt x="99" y="29"/>
                    <a:pt x="99" y="29"/>
                    <a:pt x="99" y="29"/>
                  </a:cubicBezTo>
                  <a:cubicBezTo>
                    <a:pt x="99" y="29"/>
                    <a:pt x="99" y="28"/>
                    <a:pt x="99" y="28"/>
                  </a:cubicBezTo>
                  <a:cubicBezTo>
                    <a:pt x="98" y="28"/>
                    <a:pt x="98" y="28"/>
                    <a:pt x="97" y="27"/>
                  </a:cubicBezTo>
                  <a:cubicBezTo>
                    <a:pt x="97" y="27"/>
                    <a:pt x="97" y="27"/>
                    <a:pt x="97" y="26"/>
                  </a:cubicBezTo>
                  <a:cubicBezTo>
                    <a:pt x="97" y="26"/>
                    <a:pt x="96" y="26"/>
                    <a:pt x="96" y="25"/>
                  </a:cubicBezTo>
                  <a:cubicBezTo>
                    <a:pt x="96" y="25"/>
                    <a:pt x="96" y="25"/>
                    <a:pt x="96" y="25"/>
                  </a:cubicBezTo>
                  <a:cubicBezTo>
                    <a:pt x="96" y="25"/>
                    <a:pt x="95" y="25"/>
                    <a:pt x="95" y="25"/>
                  </a:cubicBezTo>
                  <a:cubicBezTo>
                    <a:pt x="95" y="24"/>
                    <a:pt x="94" y="24"/>
                    <a:pt x="94" y="23"/>
                  </a:cubicBezTo>
                  <a:cubicBezTo>
                    <a:pt x="94" y="23"/>
                    <a:pt x="93" y="23"/>
                    <a:pt x="93" y="23"/>
                  </a:cubicBezTo>
                  <a:cubicBezTo>
                    <a:pt x="93" y="23"/>
                    <a:pt x="93" y="23"/>
                    <a:pt x="92" y="22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1" y="22"/>
                    <a:pt x="91" y="22"/>
                    <a:pt x="91" y="21"/>
                  </a:cubicBezTo>
                  <a:cubicBezTo>
                    <a:pt x="91" y="21"/>
                    <a:pt x="91" y="21"/>
                    <a:pt x="90" y="21"/>
                  </a:cubicBezTo>
                  <a:cubicBezTo>
                    <a:pt x="90" y="21"/>
                    <a:pt x="90" y="21"/>
                    <a:pt x="90" y="21"/>
                  </a:cubicBezTo>
                  <a:cubicBezTo>
                    <a:pt x="90" y="20"/>
                    <a:pt x="89" y="20"/>
                    <a:pt x="89" y="20"/>
                  </a:cubicBezTo>
                  <a:cubicBezTo>
                    <a:pt x="89" y="20"/>
                    <a:pt x="88" y="19"/>
                    <a:pt x="88" y="19"/>
                  </a:cubicBezTo>
                  <a:cubicBezTo>
                    <a:pt x="88" y="19"/>
                    <a:pt x="88" y="19"/>
                    <a:pt x="88" y="19"/>
                  </a:cubicBezTo>
                  <a:cubicBezTo>
                    <a:pt x="87" y="18"/>
                    <a:pt x="86" y="17"/>
                    <a:pt x="85" y="17"/>
                  </a:cubicBezTo>
                  <a:cubicBezTo>
                    <a:pt x="85" y="17"/>
                    <a:pt x="85" y="16"/>
                    <a:pt x="85" y="16"/>
                  </a:cubicBezTo>
                  <a:cubicBezTo>
                    <a:pt x="85" y="16"/>
                    <a:pt x="85" y="16"/>
                    <a:pt x="85" y="16"/>
                  </a:cubicBezTo>
                  <a:cubicBezTo>
                    <a:pt x="85" y="16"/>
                    <a:pt x="84" y="16"/>
                    <a:pt x="84" y="16"/>
                  </a:cubicBezTo>
                  <a:cubicBezTo>
                    <a:pt x="84" y="15"/>
                    <a:pt x="84" y="15"/>
                    <a:pt x="84" y="14"/>
                  </a:cubicBezTo>
                  <a:cubicBezTo>
                    <a:pt x="84" y="14"/>
                    <a:pt x="84" y="14"/>
                    <a:pt x="84" y="14"/>
                  </a:cubicBezTo>
                  <a:cubicBezTo>
                    <a:pt x="84" y="14"/>
                    <a:pt x="83" y="13"/>
                    <a:pt x="83" y="12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83" y="12"/>
                    <a:pt x="83" y="11"/>
                    <a:pt x="83" y="11"/>
                  </a:cubicBezTo>
                  <a:cubicBezTo>
                    <a:pt x="83" y="11"/>
                    <a:pt x="83" y="11"/>
                    <a:pt x="83" y="11"/>
                  </a:cubicBezTo>
                  <a:cubicBezTo>
                    <a:pt x="83" y="10"/>
                    <a:pt x="83" y="9"/>
                    <a:pt x="83" y="8"/>
                  </a:cubicBezTo>
                  <a:cubicBezTo>
                    <a:pt x="83" y="8"/>
                    <a:pt x="82" y="8"/>
                    <a:pt x="82" y="8"/>
                  </a:cubicBezTo>
                  <a:cubicBezTo>
                    <a:pt x="82" y="7"/>
                    <a:pt x="82" y="7"/>
                    <a:pt x="82" y="7"/>
                  </a:cubicBezTo>
                  <a:cubicBezTo>
                    <a:pt x="82" y="7"/>
                    <a:pt x="83" y="7"/>
                    <a:pt x="83" y="7"/>
                  </a:cubicBezTo>
                  <a:cubicBezTo>
                    <a:pt x="83" y="6"/>
                    <a:pt x="83" y="5"/>
                    <a:pt x="83" y="4"/>
                  </a:cubicBezTo>
                  <a:cubicBezTo>
                    <a:pt x="83" y="4"/>
                    <a:pt x="83" y="4"/>
                    <a:pt x="83" y="4"/>
                  </a:cubicBezTo>
                  <a:cubicBezTo>
                    <a:pt x="83" y="4"/>
                    <a:pt x="83" y="3"/>
                    <a:pt x="83" y="2"/>
                  </a:cubicBezTo>
                  <a:cubicBezTo>
                    <a:pt x="84" y="2"/>
                    <a:pt x="85" y="1"/>
                    <a:pt x="85" y="1"/>
                  </a:cubicBezTo>
                  <a:cubicBezTo>
                    <a:pt x="86" y="1"/>
                    <a:pt x="86" y="1"/>
                    <a:pt x="87" y="1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8" y="0"/>
                    <a:pt x="90" y="0"/>
                    <a:pt x="92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3" y="0"/>
                    <a:pt x="93" y="0"/>
                    <a:pt x="94" y="0"/>
                  </a:cubicBezTo>
                  <a:cubicBezTo>
                    <a:pt x="96" y="1"/>
                    <a:pt x="99" y="0"/>
                    <a:pt x="101" y="1"/>
                  </a:cubicBezTo>
                  <a:cubicBezTo>
                    <a:pt x="103" y="1"/>
                    <a:pt x="104" y="1"/>
                    <a:pt x="106" y="1"/>
                  </a:cubicBezTo>
                  <a:cubicBezTo>
                    <a:pt x="106" y="1"/>
                    <a:pt x="106" y="1"/>
                    <a:pt x="106" y="1"/>
                  </a:cubicBezTo>
                  <a:cubicBezTo>
                    <a:pt x="106" y="1"/>
                    <a:pt x="107" y="1"/>
                    <a:pt x="107" y="1"/>
                  </a:cubicBezTo>
                  <a:cubicBezTo>
                    <a:pt x="107" y="1"/>
                    <a:pt x="107" y="1"/>
                    <a:pt x="107" y="2"/>
                  </a:cubicBezTo>
                  <a:cubicBezTo>
                    <a:pt x="108" y="2"/>
                    <a:pt x="108" y="2"/>
                    <a:pt x="108" y="2"/>
                  </a:cubicBezTo>
                  <a:cubicBezTo>
                    <a:pt x="108" y="2"/>
                    <a:pt x="108" y="2"/>
                    <a:pt x="109" y="2"/>
                  </a:cubicBezTo>
                  <a:cubicBezTo>
                    <a:pt x="109" y="2"/>
                    <a:pt x="109" y="2"/>
                    <a:pt x="109" y="2"/>
                  </a:cubicBezTo>
                  <a:cubicBezTo>
                    <a:pt x="109" y="3"/>
                    <a:pt x="110" y="3"/>
                    <a:pt x="110" y="3"/>
                  </a:cubicBezTo>
                  <a:cubicBezTo>
                    <a:pt x="110" y="3"/>
                    <a:pt x="110" y="3"/>
                    <a:pt x="111" y="3"/>
                  </a:cubicBezTo>
                  <a:cubicBezTo>
                    <a:pt x="111" y="4"/>
                    <a:pt x="111" y="4"/>
                    <a:pt x="111" y="4"/>
                  </a:cubicBezTo>
                  <a:cubicBezTo>
                    <a:pt x="112" y="4"/>
                    <a:pt x="112" y="4"/>
                    <a:pt x="112" y="4"/>
                  </a:cubicBezTo>
                  <a:cubicBezTo>
                    <a:pt x="112" y="5"/>
                    <a:pt x="112" y="5"/>
                    <a:pt x="112" y="5"/>
                  </a:cubicBezTo>
                  <a:cubicBezTo>
                    <a:pt x="113" y="5"/>
                    <a:pt x="113" y="5"/>
                    <a:pt x="113" y="5"/>
                  </a:cubicBezTo>
                  <a:cubicBezTo>
                    <a:pt x="113" y="5"/>
                    <a:pt x="113" y="6"/>
                    <a:pt x="113" y="6"/>
                  </a:cubicBezTo>
                  <a:cubicBezTo>
                    <a:pt x="114" y="6"/>
                    <a:pt x="114" y="6"/>
                    <a:pt x="114" y="6"/>
                  </a:cubicBezTo>
                  <a:cubicBezTo>
                    <a:pt x="115" y="7"/>
                    <a:pt x="115" y="7"/>
                    <a:pt x="115" y="7"/>
                  </a:cubicBezTo>
                  <a:cubicBezTo>
                    <a:pt x="115" y="7"/>
                    <a:pt x="116" y="7"/>
                    <a:pt x="116" y="7"/>
                  </a:cubicBezTo>
                  <a:cubicBezTo>
                    <a:pt x="116" y="7"/>
                    <a:pt x="116" y="8"/>
                    <a:pt x="116" y="8"/>
                  </a:cubicBezTo>
                  <a:cubicBezTo>
                    <a:pt x="116" y="8"/>
                    <a:pt x="117" y="8"/>
                    <a:pt x="117" y="8"/>
                  </a:cubicBezTo>
                  <a:cubicBezTo>
                    <a:pt x="117" y="8"/>
                    <a:pt x="117" y="9"/>
                    <a:pt x="118" y="9"/>
                  </a:cubicBezTo>
                  <a:cubicBezTo>
                    <a:pt x="118" y="9"/>
                    <a:pt x="118" y="9"/>
                    <a:pt x="118" y="9"/>
                  </a:cubicBezTo>
                  <a:cubicBezTo>
                    <a:pt x="118" y="9"/>
                    <a:pt x="119" y="9"/>
                    <a:pt x="119" y="10"/>
                  </a:cubicBezTo>
                  <a:cubicBezTo>
                    <a:pt x="119" y="10"/>
                    <a:pt x="119" y="10"/>
                    <a:pt x="119" y="10"/>
                  </a:cubicBezTo>
                  <a:cubicBezTo>
                    <a:pt x="120" y="10"/>
                    <a:pt x="120" y="10"/>
                    <a:pt x="120" y="11"/>
                  </a:cubicBezTo>
                  <a:cubicBezTo>
                    <a:pt x="120" y="11"/>
                    <a:pt x="121" y="11"/>
                    <a:pt x="121" y="11"/>
                  </a:cubicBezTo>
                  <a:cubicBezTo>
                    <a:pt x="121" y="11"/>
                    <a:pt x="121" y="11"/>
                    <a:pt x="121" y="12"/>
                  </a:cubicBezTo>
                  <a:cubicBezTo>
                    <a:pt x="122" y="12"/>
                    <a:pt x="122" y="12"/>
                    <a:pt x="122" y="12"/>
                  </a:cubicBezTo>
                  <a:cubicBezTo>
                    <a:pt x="122" y="12"/>
                    <a:pt x="122" y="12"/>
                    <a:pt x="122" y="12"/>
                  </a:cubicBezTo>
                  <a:cubicBezTo>
                    <a:pt x="123" y="12"/>
                    <a:pt x="123" y="12"/>
                    <a:pt x="123" y="12"/>
                  </a:cubicBezTo>
                  <a:cubicBezTo>
                    <a:pt x="123" y="13"/>
                    <a:pt x="124" y="13"/>
                    <a:pt x="124" y="14"/>
                  </a:cubicBezTo>
                  <a:cubicBezTo>
                    <a:pt x="124" y="14"/>
                    <a:pt x="124" y="14"/>
                    <a:pt x="125" y="14"/>
                  </a:cubicBezTo>
                  <a:cubicBezTo>
                    <a:pt x="125" y="14"/>
                    <a:pt x="125" y="14"/>
                    <a:pt x="125" y="15"/>
                  </a:cubicBezTo>
                  <a:cubicBezTo>
                    <a:pt x="126" y="15"/>
                    <a:pt x="126" y="15"/>
                    <a:pt x="126" y="15"/>
                  </a:cubicBezTo>
                  <a:cubicBezTo>
                    <a:pt x="126" y="15"/>
                    <a:pt x="126" y="15"/>
                    <a:pt x="126" y="15"/>
                  </a:cubicBezTo>
                  <a:cubicBezTo>
                    <a:pt x="127" y="15"/>
                    <a:pt x="127" y="15"/>
                    <a:pt x="127" y="15"/>
                  </a:cubicBezTo>
                  <a:cubicBezTo>
                    <a:pt x="127" y="16"/>
                    <a:pt x="128" y="16"/>
                    <a:pt x="128" y="16"/>
                  </a:cubicBezTo>
                  <a:cubicBezTo>
                    <a:pt x="128" y="16"/>
                    <a:pt x="128" y="16"/>
                    <a:pt x="128" y="16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130" y="17"/>
                    <a:pt x="130" y="18"/>
                    <a:pt x="130" y="18"/>
                  </a:cubicBezTo>
                  <a:cubicBezTo>
                    <a:pt x="130" y="18"/>
                    <a:pt x="131" y="18"/>
                    <a:pt x="131" y="18"/>
                  </a:cubicBezTo>
                  <a:cubicBezTo>
                    <a:pt x="131" y="18"/>
                    <a:pt x="131" y="19"/>
                    <a:pt x="132" y="19"/>
                  </a:cubicBezTo>
                  <a:cubicBezTo>
                    <a:pt x="132" y="19"/>
                    <a:pt x="132" y="19"/>
                    <a:pt x="132" y="19"/>
                  </a:cubicBezTo>
                  <a:cubicBezTo>
                    <a:pt x="132" y="19"/>
                    <a:pt x="133" y="20"/>
                    <a:pt x="133" y="20"/>
                  </a:cubicBezTo>
                  <a:cubicBezTo>
                    <a:pt x="133" y="20"/>
                    <a:pt x="133" y="20"/>
                    <a:pt x="133" y="20"/>
                  </a:cubicBezTo>
                  <a:cubicBezTo>
                    <a:pt x="133" y="20"/>
                    <a:pt x="134" y="20"/>
                    <a:pt x="134" y="21"/>
                  </a:cubicBezTo>
                  <a:cubicBezTo>
                    <a:pt x="134" y="21"/>
                    <a:pt x="134" y="21"/>
                    <a:pt x="135" y="21"/>
                  </a:cubicBezTo>
                  <a:cubicBezTo>
                    <a:pt x="135" y="21"/>
                    <a:pt x="135" y="22"/>
                    <a:pt x="135" y="22"/>
                  </a:cubicBezTo>
                  <a:cubicBezTo>
                    <a:pt x="136" y="22"/>
                    <a:pt x="136" y="22"/>
                    <a:pt x="136" y="22"/>
                  </a:cubicBezTo>
                  <a:cubicBezTo>
                    <a:pt x="136" y="22"/>
                    <a:pt x="136" y="22"/>
                    <a:pt x="136" y="23"/>
                  </a:cubicBezTo>
                  <a:cubicBezTo>
                    <a:pt x="137" y="23"/>
                    <a:pt x="137" y="23"/>
                    <a:pt x="137" y="23"/>
                  </a:cubicBezTo>
                  <a:cubicBezTo>
                    <a:pt x="137" y="23"/>
                    <a:pt x="138" y="23"/>
                    <a:pt x="138" y="24"/>
                  </a:cubicBezTo>
                  <a:cubicBezTo>
                    <a:pt x="138" y="24"/>
                    <a:pt x="138" y="24"/>
                    <a:pt x="139" y="24"/>
                  </a:cubicBezTo>
                  <a:cubicBezTo>
                    <a:pt x="139" y="24"/>
                    <a:pt x="139" y="24"/>
                    <a:pt x="139" y="24"/>
                  </a:cubicBezTo>
                  <a:cubicBezTo>
                    <a:pt x="139" y="24"/>
                    <a:pt x="139" y="24"/>
                    <a:pt x="140" y="24"/>
                  </a:cubicBezTo>
                  <a:cubicBezTo>
                    <a:pt x="140" y="25"/>
                    <a:pt x="140" y="25"/>
                    <a:pt x="140" y="25"/>
                  </a:cubicBezTo>
                  <a:cubicBezTo>
                    <a:pt x="140" y="25"/>
                    <a:pt x="141" y="25"/>
                    <a:pt x="141" y="25"/>
                  </a:cubicBezTo>
                  <a:cubicBezTo>
                    <a:pt x="141" y="26"/>
                    <a:pt x="141" y="26"/>
                    <a:pt x="142" y="26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3" y="27"/>
                    <a:pt x="143" y="27"/>
                    <a:pt x="143" y="27"/>
                  </a:cubicBezTo>
                  <a:cubicBezTo>
                    <a:pt x="143" y="27"/>
                    <a:pt x="143" y="27"/>
                    <a:pt x="143" y="27"/>
                  </a:cubicBezTo>
                  <a:cubicBezTo>
                    <a:pt x="144" y="28"/>
                    <a:pt x="144" y="28"/>
                    <a:pt x="145" y="29"/>
                  </a:cubicBezTo>
                  <a:cubicBezTo>
                    <a:pt x="146" y="30"/>
                    <a:pt x="147" y="31"/>
                    <a:pt x="149" y="32"/>
                  </a:cubicBezTo>
                  <a:cubicBezTo>
                    <a:pt x="149" y="33"/>
                    <a:pt x="149" y="33"/>
                    <a:pt x="149" y="33"/>
                  </a:cubicBezTo>
                  <a:cubicBezTo>
                    <a:pt x="149" y="33"/>
                    <a:pt x="149" y="33"/>
                    <a:pt x="149" y="33"/>
                  </a:cubicBezTo>
                  <a:cubicBezTo>
                    <a:pt x="150" y="34"/>
                    <a:pt x="150" y="34"/>
                    <a:pt x="150" y="35"/>
                  </a:cubicBezTo>
                  <a:cubicBezTo>
                    <a:pt x="153" y="37"/>
                    <a:pt x="155" y="39"/>
                    <a:pt x="157" y="42"/>
                  </a:cubicBezTo>
                  <a:cubicBezTo>
                    <a:pt x="159" y="44"/>
                    <a:pt x="162" y="46"/>
                    <a:pt x="164" y="49"/>
                  </a:cubicBezTo>
                  <a:cubicBezTo>
                    <a:pt x="165" y="49"/>
                    <a:pt x="165" y="50"/>
                    <a:pt x="166" y="51"/>
                  </a:cubicBezTo>
                  <a:cubicBezTo>
                    <a:pt x="168" y="53"/>
                    <a:pt x="171" y="56"/>
                    <a:pt x="173" y="58"/>
                  </a:cubicBezTo>
                  <a:cubicBezTo>
                    <a:pt x="174" y="58"/>
                    <a:pt x="174" y="59"/>
                    <a:pt x="174" y="59"/>
                  </a:cubicBezTo>
                  <a:cubicBezTo>
                    <a:pt x="174" y="59"/>
                    <a:pt x="175" y="60"/>
                    <a:pt x="175" y="60"/>
                  </a:cubicBezTo>
                  <a:cubicBezTo>
                    <a:pt x="175" y="60"/>
                    <a:pt x="175" y="60"/>
                    <a:pt x="175" y="61"/>
                  </a:cubicBezTo>
                  <a:cubicBezTo>
                    <a:pt x="176" y="61"/>
                    <a:pt x="176" y="61"/>
                    <a:pt x="176" y="61"/>
                  </a:cubicBezTo>
                  <a:cubicBezTo>
                    <a:pt x="176" y="61"/>
                    <a:pt x="176" y="61"/>
                    <a:pt x="176" y="61"/>
                  </a:cubicBezTo>
                  <a:cubicBezTo>
                    <a:pt x="176" y="61"/>
                    <a:pt x="176" y="61"/>
                    <a:pt x="177" y="61"/>
                  </a:cubicBezTo>
                  <a:cubicBezTo>
                    <a:pt x="177" y="61"/>
                    <a:pt x="177" y="61"/>
                    <a:pt x="177" y="61"/>
                  </a:cubicBezTo>
                  <a:cubicBezTo>
                    <a:pt x="177" y="61"/>
                    <a:pt x="177" y="61"/>
                    <a:pt x="177" y="61"/>
                  </a:cubicBezTo>
                  <a:cubicBezTo>
                    <a:pt x="177" y="62"/>
                    <a:pt x="177" y="62"/>
                    <a:pt x="177" y="62"/>
                  </a:cubicBezTo>
                  <a:cubicBezTo>
                    <a:pt x="178" y="62"/>
                    <a:pt x="178" y="62"/>
                    <a:pt x="178" y="62"/>
                  </a:cubicBezTo>
                  <a:cubicBezTo>
                    <a:pt x="178" y="62"/>
                    <a:pt x="178" y="62"/>
                    <a:pt x="178" y="62"/>
                  </a:cubicBezTo>
                  <a:cubicBezTo>
                    <a:pt x="179" y="62"/>
                    <a:pt x="180" y="63"/>
                    <a:pt x="180" y="63"/>
                  </a:cubicBezTo>
                  <a:cubicBezTo>
                    <a:pt x="180" y="63"/>
                    <a:pt x="180" y="63"/>
                    <a:pt x="180" y="63"/>
                  </a:cubicBezTo>
                  <a:cubicBezTo>
                    <a:pt x="181" y="64"/>
                    <a:pt x="182" y="64"/>
                    <a:pt x="183" y="64"/>
                  </a:cubicBezTo>
                  <a:cubicBezTo>
                    <a:pt x="183" y="64"/>
                    <a:pt x="183" y="64"/>
                    <a:pt x="183" y="65"/>
                  </a:cubicBezTo>
                  <a:cubicBezTo>
                    <a:pt x="184" y="65"/>
                    <a:pt x="184" y="65"/>
                    <a:pt x="184" y="65"/>
                  </a:cubicBezTo>
                  <a:cubicBezTo>
                    <a:pt x="184" y="65"/>
                    <a:pt x="184" y="65"/>
                    <a:pt x="184" y="65"/>
                  </a:cubicBezTo>
                  <a:cubicBezTo>
                    <a:pt x="184" y="65"/>
                    <a:pt x="185" y="65"/>
                    <a:pt x="185" y="65"/>
                  </a:cubicBezTo>
                  <a:cubicBezTo>
                    <a:pt x="185" y="65"/>
                    <a:pt x="185" y="65"/>
                    <a:pt x="185" y="65"/>
                  </a:cubicBezTo>
                  <a:cubicBezTo>
                    <a:pt x="185" y="65"/>
                    <a:pt x="186" y="65"/>
                    <a:pt x="186" y="65"/>
                  </a:cubicBezTo>
                  <a:cubicBezTo>
                    <a:pt x="186" y="65"/>
                    <a:pt x="186" y="66"/>
                    <a:pt x="186" y="66"/>
                  </a:cubicBezTo>
                  <a:cubicBezTo>
                    <a:pt x="186" y="66"/>
                    <a:pt x="187" y="66"/>
                    <a:pt x="187" y="66"/>
                  </a:cubicBezTo>
                  <a:cubicBezTo>
                    <a:pt x="187" y="66"/>
                    <a:pt x="187" y="66"/>
                    <a:pt x="187" y="66"/>
                  </a:cubicBezTo>
                  <a:cubicBezTo>
                    <a:pt x="188" y="66"/>
                    <a:pt x="188" y="66"/>
                    <a:pt x="188" y="66"/>
                  </a:cubicBezTo>
                  <a:cubicBezTo>
                    <a:pt x="188" y="66"/>
                    <a:pt x="188" y="67"/>
                    <a:pt x="188" y="67"/>
                  </a:cubicBezTo>
                  <a:cubicBezTo>
                    <a:pt x="188" y="67"/>
                    <a:pt x="189" y="67"/>
                    <a:pt x="189" y="67"/>
                  </a:cubicBezTo>
                  <a:cubicBezTo>
                    <a:pt x="189" y="67"/>
                    <a:pt x="189" y="67"/>
                    <a:pt x="189" y="67"/>
                  </a:cubicBezTo>
                  <a:cubicBezTo>
                    <a:pt x="189" y="67"/>
                    <a:pt x="190" y="67"/>
                    <a:pt x="190" y="67"/>
                  </a:cubicBezTo>
                  <a:cubicBezTo>
                    <a:pt x="190" y="68"/>
                    <a:pt x="190" y="68"/>
                    <a:pt x="190" y="68"/>
                  </a:cubicBezTo>
                  <a:cubicBezTo>
                    <a:pt x="191" y="68"/>
                    <a:pt x="191" y="68"/>
                    <a:pt x="191" y="68"/>
                  </a:cubicBezTo>
                  <a:cubicBezTo>
                    <a:pt x="191" y="68"/>
                    <a:pt x="191" y="68"/>
                    <a:pt x="191" y="68"/>
                  </a:cubicBezTo>
                  <a:cubicBezTo>
                    <a:pt x="192" y="68"/>
                    <a:pt x="192" y="68"/>
                    <a:pt x="193" y="68"/>
                  </a:cubicBezTo>
                  <a:cubicBezTo>
                    <a:pt x="193" y="69"/>
                    <a:pt x="193" y="69"/>
                    <a:pt x="193" y="69"/>
                  </a:cubicBezTo>
                  <a:cubicBezTo>
                    <a:pt x="193" y="69"/>
                    <a:pt x="193" y="69"/>
                    <a:pt x="194" y="69"/>
                  </a:cubicBezTo>
                  <a:cubicBezTo>
                    <a:pt x="194" y="69"/>
                    <a:pt x="194" y="69"/>
                    <a:pt x="194" y="69"/>
                  </a:cubicBezTo>
                  <a:cubicBezTo>
                    <a:pt x="194" y="69"/>
                    <a:pt x="195" y="69"/>
                    <a:pt x="195" y="69"/>
                  </a:cubicBezTo>
                  <a:cubicBezTo>
                    <a:pt x="195" y="70"/>
                    <a:pt x="195" y="70"/>
                    <a:pt x="195" y="70"/>
                  </a:cubicBezTo>
                  <a:cubicBezTo>
                    <a:pt x="196" y="70"/>
                    <a:pt x="196" y="70"/>
                    <a:pt x="196" y="70"/>
                  </a:cubicBezTo>
                  <a:cubicBezTo>
                    <a:pt x="196" y="70"/>
                    <a:pt x="196" y="70"/>
                    <a:pt x="196" y="70"/>
                  </a:cubicBezTo>
                  <a:cubicBezTo>
                    <a:pt x="197" y="70"/>
                    <a:pt x="197" y="70"/>
                    <a:pt x="197" y="70"/>
                  </a:cubicBezTo>
                  <a:cubicBezTo>
                    <a:pt x="197" y="70"/>
                    <a:pt x="197" y="70"/>
                    <a:pt x="197" y="71"/>
                  </a:cubicBezTo>
                  <a:cubicBezTo>
                    <a:pt x="197" y="71"/>
                    <a:pt x="198" y="71"/>
                    <a:pt x="198" y="71"/>
                  </a:cubicBezTo>
                  <a:cubicBezTo>
                    <a:pt x="198" y="71"/>
                    <a:pt x="198" y="71"/>
                    <a:pt x="198" y="71"/>
                  </a:cubicBezTo>
                  <a:cubicBezTo>
                    <a:pt x="199" y="71"/>
                    <a:pt x="199" y="71"/>
                    <a:pt x="199" y="71"/>
                  </a:cubicBezTo>
                  <a:cubicBezTo>
                    <a:pt x="199" y="71"/>
                    <a:pt x="199" y="71"/>
                    <a:pt x="199" y="72"/>
                  </a:cubicBezTo>
                  <a:cubicBezTo>
                    <a:pt x="200" y="72"/>
                    <a:pt x="200" y="72"/>
                    <a:pt x="200" y="72"/>
                  </a:cubicBezTo>
                  <a:cubicBezTo>
                    <a:pt x="200" y="72"/>
                    <a:pt x="200" y="72"/>
                    <a:pt x="200" y="72"/>
                  </a:cubicBezTo>
                  <a:cubicBezTo>
                    <a:pt x="201" y="72"/>
                    <a:pt x="201" y="72"/>
                    <a:pt x="201" y="72"/>
                  </a:cubicBezTo>
                  <a:cubicBezTo>
                    <a:pt x="201" y="72"/>
                    <a:pt x="201" y="72"/>
                    <a:pt x="201" y="72"/>
                  </a:cubicBezTo>
                  <a:cubicBezTo>
                    <a:pt x="202" y="72"/>
                    <a:pt x="202" y="72"/>
                    <a:pt x="202" y="72"/>
                  </a:cubicBezTo>
                  <a:cubicBezTo>
                    <a:pt x="202" y="72"/>
                    <a:pt x="202" y="73"/>
                    <a:pt x="202" y="73"/>
                  </a:cubicBezTo>
                  <a:cubicBezTo>
                    <a:pt x="202" y="73"/>
                    <a:pt x="203" y="73"/>
                    <a:pt x="203" y="73"/>
                  </a:cubicBezTo>
                  <a:cubicBezTo>
                    <a:pt x="203" y="73"/>
                    <a:pt x="203" y="73"/>
                    <a:pt x="203" y="73"/>
                  </a:cubicBezTo>
                  <a:cubicBezTo>
                    <a:pt x="204" y="73"/>
                    <a:pt x="204" y="73"/>
                    <a:pt x="205" y="73"/>
                  </a:cubicBezTo>
                  <a:cubicBezTo>
                    <a:pt x="205" y="73"/>
                    <a:pt x="205" y="74"/>
                    <a:pt x="205" y="74"/>
                  </a:cubicBezTo>
                  <a:cubicBezTo>
                    <a:pt x="205" y="74"/>
                    <a:pt x="206" y="74"/>
                    <a:pt x="206" y="74"/>
                  </a:cubicBezTo>
                  <a:cubicBezTo>
                    <a:pt x="206" y="74"/>
                    <a:pt x="206" y="74"/>
                    <a:pt x="206" y="74"/>
                  </a:cubicBezTo>
                  <a:cubicBezTo>
                    <a:pt x="206" y="74"/>
                    <a:pt x="207" y="74"/>
                    <a:pt x="208" y="74"/>
                  </a:cubicBezTo>
                  <a:cubicBezTo>
                    <a:pt x="208" y="75"/>
                    <a:pt x="208" y="75"/>
                    <a:pt x="208" y="75"/>
                  </a:cubicBezTo>
                  <a:cubicBezTo>
                    <a:pt x="208" y="75"/>
                    <a:pt x="208" y="75"/>
                    <a:pt x="209" y="75"/>
                  </a:cubicBezTo>
                  <a:cubicBezTo>
                    <a:pt x="209" y="75"/>
                    <a:pt x="209" y="75"/>
                    <a:pt x="209" y="75"/>
                  </a:cubicBezTo>
                  <a:cubicBezTo>
                    <a:pt x="209" y="75"/>
                    <a:pt x="209" y="75"/>
                    <a:pt x="210" y="75"/>
                  </a:cubicBezTo>
                  <a:cubicBezTo>
                    <a:pt x="210" y="75"/>
                    <a:pt x="210" y="75"/>
                    <a:pt x="210" y="75"/>
                  </a:cubicBezTo>
                  <a:cubicBezTo>
                    <a:pt x="210" y="75"/>
                    <a:pt x="210" y="75"/>
                    <a:pt x="211" y="75"/>
                  </a:cubicBezTo>
                  <a:cubicBezTo>
                    <a:pt x="211" y="76"/>
                    <a:pt x="211" y="76"/>
                    <a:pt x="211" y="76"/>
                  </a:cubicBezTo>
                  <a:cubicBezTo>
                    <a:pt x="211" y="76"/>
                    <a:pt x="211" y="76"/>
                    <a:pt x="212" y="76"/>
                  </a:cubicBezTo>
                  <a:cubicBezTo>
                    <a:pt x="212" y="76"/>
                    <a:pt x="212" y="76"/>
                    <a:pt x="212" y="76"/>
                  </a:cubicBezTo>
                  <a:cubicBezTo>
                    <a:pt x="212" y="76"/>
                    <a:pt x="213" y="76"/>
                    <a:pt x="214" y="76"/>
                  </a:cubicBezTo>
                  <a:cubicBezTo>
                    <a:pt x="214" y="77"/>
                    <a:pt x="214" y="77"/>
                    <a:pt x="214" y="77"/>
                  </a:cubicBezTo>
                  <a:cubicBezTo>
                    <a:pt x="216" y="77"/>
                    <a:pt x="218" y="78"/>
                    <a:pt x="220" y="78"/>
                  </a:cubicBezTo>
                  <a:cubicBezTo>
                    <a:pt x="221" y="78"/>
                    <a:pt x="223" y="78"/>
                    <a:pt x="224" y="78"/>
                  </a:cubicBezTo>
                  <a:cubicBezTo>
                    <a:pt x="227" y="79"/>
                    <a:pt x="236" y="79"/>
                    <a:pt x="239" y="78"/>
                  </a:cubicBezTo>
                  <a:cubicBezTo>
                    <a:pt x="239" y="78"/>
                    <a:pt x="239" y="78"/>
                    <a:pt x="239" y="78"/>
                  </a:cubicBezTo>
                  <a:cubicBezTo>
                    <a:pt x="240" y="78"/>
                    <a:pt x="240" y="78"/>
                    <a:pt x="240" y="78"/>
                  </a:cubicBezTo>
                  <a:cubicBezTo>
                    <a:pt x="240" y="77"/>
                    <a:pt x="240" y="77"/>
                    <a:pt x="240" y="77"/>
                  </a:cubicBezTo>
                  <a:cubicBezTo>
                    <a:pt x="241" y="77"/>
                    <a:pt x="241" y="77"/>
                    <a:pt x="241" y="77"/>
                  </a:cubicBezTo>
                  <a:cubicBezTo>
                    <a:pt x="241" y="77"/>
                    <a:pt x="241" y="76"/>
                    <a:pt x="241" y="76"/>
                  </a:cubicBezTo>
                  <a:cubicBezTo>
                    <a:pt x="242" y="76"/>
                    <a:pt x="242" y="76"/>
                    <a:pt x="242" y="76"/>
                  </a:cubicBezTo>
                  <a:cubicBezTo>
                    <a:pt x="242" y="76"/>
                    <a:pt x="242" y="76"/>
                    <a:pt x="242" y="75"/>
                  </a:cubicBezTo>
                  <a:cubicBezTo>
                    <a:pt x="243" y="75"/>
                    <a:pt x="243" y="75"/>
                    <a:pt x="243" y="75"/>
                  </a:cubicBezTo>
                  <a:cubicBezTo>
                    <a:pt x="243" y="75"/>
                    <a:pt x="243" y="75"/>
                    <a:pt x="244" y="75"/>
                  </a:cubicBezTo>
                  <a:cubicBezTo>
                    <a:pt x="244" y="75"/>
                    <a:pt x="244" y="75"/>
                    <a:pt x="244" y="75"/>
                  </a:cubicBezTo>
                  <a:cubicBezTo>
                    <a:pt x="244" y="75"/>
                    <a:pt x="244" y="74"/>
                    <a:pt x="245" y="74"/>
                  </a:cubicBezTo>
                  <a:cubicBezTo>
                    <a:pt x="245" y="74"/>
                    <a:pt x="245" y="74"/>
                    <a:pt x="245" y="74"/>
                  </a:cubicBezTo>
                  <a:cubicBezTo>
                    <a:pt x="245" y="74"/>
                    <a:pt x="245" y="74"/>
                    <a:pt x="246" y="73"/>
                  </a:cubicBezTo>
                  <a:cubicBezTo>
                    <a:pt x="246" y="73"/>
                    <a:pt x="246" y="73"/>
                    <a:pt x="246" y="73"/>
                  </a:cubicBezTo>
                  <a:cubicBezTo>
                    <a:pt x="246" y="73"/>
                    <a:pt x="247" y="73"/>
                    <a:pt x="247" y="73"/>
                  </a:cubicBezTo>
                  <a:cubicBezTo>
                    <a:pt x="247" y="73"/>
                    <a:pt x="247" y="73"/>
                    <a:pt x="247" y="73"/>
                  </a:cubicBezTo>
                  <a:cubicBezTo>
                    <a:pt x="247" y="72"/>
                    <a:pt x="248" y="72"/>
                    <a:pt x="248" y="72"/>
                  </a:cubicBezTo>
                  <a:cubicBezTo>
                    <a:pt x="248" y="72"/>
                    <a:pt x="248" y="72"/>
                    <a:pt x="248" y="72"/>
                  </a:cubicBezTo>
                  <a:cubicBezTo>
                    <a:pt x="249" y="72"/>
                    <a:pt x="249" y="71"/>
                    <a:pt x="249" y="71"/>
                  </a:cubicBezTo>
                  <a:cubicBezTo>
                    <a:pt x="249" y="71"/>
                    <a:pt x="249" y="71"/>
                    <a:pt x="249" y="71"/>
                  </a:cubicBezTo>
                  <a:cubicBezTo>
                    <a:pt x="250" y="71"/>
                    <a:pt x="250" y="71"/>
                    <a:pt x="250" y="71"/>
                  </a:cubicBezTo>
                  <a:cubicBezTo>
                    <a:pt x="250" y="71"/>
                    <a:pt x="250" y="71"/>
                    <a:pt x="251" y="71"/>
                  </a:cubicBezTo>
                  <a:cubicBezTo>
                    <a:pt x="251" y="70"/>
                    <a:pt x="251" y="70"/>
                    <a:pt x="251" y="70"/>
                  </a:cubicBezTo>
                  <a:cubicBezTo>
                    <a:pt x="251" y="70"/>
                    <a:pt x="252" y="70"/>
                    <a:pt x="252" y="69"/>
                  </a:cubicBezTo>
                  <a:cubicBezTo>
                    <a:pt x="252" y="69"/>
                    <a:pt x="252" y="69"/>
                    <a:pt x="253" y="69"/>
                  </a:cubicBezTo>
                  <a:cubicBezTo>
                    <a:pt x="253" y="69"/>
                    <a:pt x="253" y="69"/>
                    <a:pt x="253" y="69"/>
                  </a:cubicBezTo>
                  <a:cubicBezTo>
                    <a:pt x="253" y="69"/>
                    <a:pt x="254" y="68"/>
                    <a:pt x="254" y="68"/>
                  </a:cubicBezTo>
                  <a:cubicBezTo>
                    <a:pt x="254" y="68"/>
                    <a:pt x="254" y="68"/>
                    <a:pt x="254" y="68"/>
                  </a:cubicBezTo>
                  <a:cubicBezTo>
                    <a:pt x="254" y="68"/>
                    <a:pt x="255" y="68"/>
                    <a:pt x="255" y="67"/>
                  </a:cubicBezTo>
                  <a:cubicBezTo>
                    <a:pt x="255" y="67"/>
                    <a:pt x="255" y="67"/>
                    <a:pt x="255" y="67"/>
                  </a:cubicBezTo>
                  <a:cubicBezTo>
                    <a:pt x="256" y="67"/>
                    <a:pt x="256" y="67"/>
                    <a:pt x="256" y="67"/>
                  </a:cubicBezTo>
                  <a:cubicBezTo>
                    <a:pt x="256" y="67"/>
                    <a:pt x="256" y="67"/>
                    <a:pt x="256" y="67"/>
                  </a:cubicBezTo>
                  <a:cubicBezTo>
                    <a:pt x="256" y="67"/>
                    <a:pt x="256" y="66"/>
                    <a:pt x="256" y="66"/>
                  </a:cubicBezTo>
                  <a:cubicBezTo>
                    <a:pt x="257" y="66"/>
                    <a:pt x="257" y="66"/>
                    <a:pt x="257" y="66"/>
                  </a:cubicBezTo>
                  <a:cubicBezTo>
                    <a:pt x="258" y="66"/>
                    <a:pt x="258" y="66"/>
                    <a:pt x="258" y="65"/>
                  </a:cubicBezTo>
                  <a:cubicBezTo>
                    <a:pt x="258" y="65"/>
                    <a:pt x="258" y="65"/>
                    <a:pt x="259" y="65"/>
                  </a:cubicBezTo>
                  <a:cubicBezTo>
                    <a:pt x="259" y="65"/>
                    <a:pt x="259" y="65"/>
                    <a:pt x="259" y="65"/>
                  </a:cubicBezTo>
                  <a:cubicBezTo>
                    <a:pt x="259" y="65"/>
                    <a:pt x="259" y="65"/>
                    <a:pt x="260" y="65"/>
                  </a:cubicBezTo>
                  <a:cubicBezTo>
                    <a:pt x="260" y="64"/>
                    <a:pt x="260" y="64"/>
                    <a:pt x="260" y="64"/>
                  </a:cubicBezTo>
                  <a:cubicBezTo>
                    <a:pt x="260" y="64"/>
                    <a:pt x="260" y="64"/>
                    <a:pt x="261" y="64"/>
                  </a:cubicBezTo>
                  <a:cubicBezTo>
                    <a:pt x="261" y="64"/>
                    <a:pt x="261" y="63"/>
                    <a:pt x="261" y="63"/>
                  </a:cubicBezTo>
                  <a:cubicBezTo>
                    <a:pt x="261" y="63"/>
                    <a:pt x="261" y="63"/>
                    <a:pt x="262" y="63"/>
                  </a:cubicBezTo>
                  <a:cubicBezTo>
                    <a:pt x="262" y="63"/>
                    <a:pt x="262" y="63"/>
                    <a:pt x="262" y="62"/>
                  </a:cubicBezTo>
                  <a:cubicBezTo>
                    <a:pt x="262" y="62"/>
                    <a:pt x="263" y="62"/>
                    <a:pt x="263" y="62"/>
                  </a:cubicBezTo>
                  <a:cubicBezTo>
                    <a:pt x="263" y="62"/>
                    <a:pt x="263" y="62"/>
                    <a:pt x="263" y="62"/>
                  </a:cubicBezTo>
                  <a:cubicBezTo>
                    <a:pt x="263" y="62"/>
                    <a:pt x="264" y="62"/>
                    <a:pt x="264" y="62"/>
                  </a:cubicBezTo>
                  <a:cubicBezTo>
                    <a:pt x="264" y="62"/>
                    <a:pt x="264" y="61"/>
                    <a:pt x="264" y="61"/>
                  </a:cubicBezTo>
                  <a:cubicBezTo>
                    <a:pt x="264" y="61"/>
                    <a:pt x="265" y="61"/>
                    <a:pt x="265" y="61"/>
                  </a:cubicBezTo>
                  <a:cubicBezTo>
                    <a:pt x="265" y="61"/>
                    <a:pt x="265" y="61"/>
                    <a:pt x="265" y="60"/>
                  </a:cubicBezTo>
                  <a:cubicBezTo>
                    <a:pt x="266" y="60"/>
                    <a:pt x="266" y="60"/>
                    <a:pt x="267" y="60"/>
                  </a:cubicBezTo>
                  <a:cubicBezTo>
                    <a:pt x="267" y="60"/>
                    <a:pt x="267" y="60"/>
                    <a:pt x="267" y="60"/>
                  </a:cubicBezTo>
                  <a:cubicBezTo>
                    <a:pt x="267" y="60"/>
                    <a:pt x="267" y="59"/>
                    <a:pt x="268" y="59"/>
                  </a:cubicBezTo>
                  <a:cubicBezTo>
                    <a:pt x="268" y="59"/>
                    <a:pt x="268" y="59"/>
                    <a:pt x="268" y="59"/>
                  </a:cubicBezTo>
                  <a:cubicBezTo>
                    <a:pt x="268" y="59"/>
                    <a:pt x="268" y="59"/>
                    <a:pt x="269" y="59"/>
                  </a:cubicBezTo>
                  <a:cubicBezTo>
                    <a:pt x="269" y="58"/>
                    <a:pt x="269" y="58"/>
                    <a:pt x="269" y="58"/>
                  </a:cubicBezTo>
                  <a:cubicBezTo>
                    <a:pt x="269" y="58"/>
                    <a:pt x="270" y="58"/>
                    <a:pt x="270" y="58"/>
                  </a:cubicBezTo>
                  <a:cubicBezTo>
                    <a:pt x="270" y="58"/>
                    <a:pt x="270" y="57"/>
                    <a:pt x="270" y="57"/>
                  </a:cubicBezTo>
                  <a:cubicBezTo>
                    <a:pt x="270" y="57"/>
                    <a:pt x="271" y="57"/>
                    <a:pt x="271" y="57"/>
                  </a:cubicBezTo>
                  <a:cubicBezTo>
                    <a:pt x="271" y="57"/>
                    <a:pt x="271" y="57"/>
                    <a:pt x="271" y="57"/>
                  </a:cubicBezTo>
                  <a:cubicBezTo>
                    <a:pt x="288" y="57"/>
                    <a:pt x="306" y="58"/>
                    <a:pt x="323" y="58"/>
                  </a:cubicBezTo>
                  <a:cubicBezTo>
                    <a:pt x="323" y="58"/>
                    <a:pt x="323" y="59"/>
                    <a:pt x="323" y="59"/>
                  </a:cubicBezTo>
                  <a:cubicBezTo>
                    <a:pt x="322" y="59"/>
                    <a:pt x="322" y="60"/>
                    <a:pt x="321" y="60"/>
                  </a:cubicBezTo>
                  <a:cubicBezTo>
                    <a:pt x="321" y="61"/>
                    <a:pt x="320" y="61"/>
                    <a:pt x="320" y="61"/>
                  </a:cubicBezTo>
                  <a:cubicBezTo>
                    <a:pt x="320" y="61"/>
                    <a:pt x="320" y="61"/>
                    <a:pt x="319" y="61"/>
                  </a:cubicBezTo>
                  <a:cubicBezTo>
                    <a:pt x="319" y="62"/>
                    <a:pt x="318" y="63"/>
                    <a:pt x="318" y="63"/>
                  </a:cubicBezTo>
                  <a:cubicBezTo>
                    <a:pt x="318" y="63"/>
                    <a:pt x="318" y="63"/>
                    <a:pt x="317" y="63"/>
                  </a:cubicBezTo>
                  <a:cubicBezTo>
                    <a:pt x="317" y="64"/>
                    <a:pt x="316" y="64"/>
                    <a:pt x="316" y="65"/>
                  </a:cubicBezTo>
                  <a:cubicBezTo>
                    <a:pt x="316" y="65"/>
                    <a:pt x="315" y="65"/>
                    <a:pt x="315" y="65"/>
                  </a:cubicBezTo>
                  <a:cubicBezTo>
                    <a:pt x="315" y="65"/>
                    <a:pt x="314" y="66"/>
                    <a:pt x="314" y="66"/>
                  </a:cubicBezTo>
                  <a:cubicBezTo>
                    <a:pt x="314" y="66"/>
                    <a:pt x="314" y="66"/>
                    <a:pt x="313" y="66"/>
                  </a:cubicBezTo>
                  <a:cubicBezTo>
                    <a:pt x="313" y="67"/>
                    <a:pt x="313" y="68"/>
                    <a:pt x="312" y="68"/>
                  </a:cubicBezTo>
                  <a:cubicBezTo>
                    <a:pt x="305" y="73"/>
                    <a:pt x="299" y="79"/>
                    <a:pt x="292" y="84"/>
                  </a:cubicBezTo>
                  <a:cubicBezTo>
                    <a:pt x="291" y="85"/>
                    <a:pt x="291" y="85"/>
                    <a:pt x="290" y="86"/>
                  </a:cubicBezTo>
                  <a:cubicBezTo>
                    <a:pt x="290" y="86"/>
                    <a:pt x="290" y="86"/>
                    <a:pt x="290" y="86"/>
                  </a:cubicBezTo>
                  <a:cubicBezTo>
                    <a:pt x="289" y="86"/>
                    <a:pt x="289" y="87"/>
                    <a:pt x="289" y="87"/>
                  </a:cubicBezTo>
                  <a:cubicBezTo>
                    <a:pt x="288" y="87"/>
                    <a:pt x="288" y="87"/>
                    <a:pt x="288" y="87"/>
                  </a:cubicBezTo>
                  <a:cubicBezTo>
                    <a:pt x="287" y="88"/>
                    <a:pt x="287" y="88"/>
                    <a:pt x="287" y="89"/>
                  </a:cubicBezTo>
                  <a:cubicBezTo>
                    <a:pt x="286" y="89"/>
                    <a:pt x="286" y="89"/>
                    <a:pt x="286" y="89"/>
                  </a:cubicBezTo>
                  <a:cubicBezTo>
                    <a:pt x="285" y="90"/>
                    <a:pt x="285" y="90"/>
                    <a:pt x="284" y="91"/>
                  </a:cubicBezTo>
                  <a:cubicBezTo>
                    <a:pt x="284" y="91"/>
                    <a:pt x="283" y="91"/>
                    <a:pt x="283" y="91"/>
                  </a:cubicBezTo>
                  <a:cubicBezTo>
                    <a:pt x="283" y="91"/>
                    <a:pt x="283" y="92"/>
                    <a:pt x="283" y="92"/>
                  </a:cubicBezTo>
                  <a:cubicBezTo>
                    <a:pt x="282" y="92"/>
                    <a:pt x="281" y="92"/>
                    <a:pt x="281" y="93"/>
                  </a:cubicBezTo>
                  <a:cubicBezTo>
                    <a:pt x="280" y="93"/>
                    <a:pt x="280" y="93"/>
                    <a:pt x="280" y="93"/>
                  </a:cubicBezTo>
                  <a:cubicBezTo>
                    <a:pt x="280" y="94"/>
                    <a:pt x="279" y="94"/>
                    <a:pt x="278" y="94"/>
                  </a:cubicBezTo>
                  <a:cubicBezTo>
                    <a:pt x="278" y="94"/>
                    <a:pt x="278" y="94"/>
                    <a:pt x="278" y="95"/>
                  </a:cubicBezTo>
                  <a:cubicBezTo>
                    <a:pt x="278" y="95"/>
                    <a:pt x="277" y="95"/>
                    <a:pt x="277" y="95"/>
                  </a:cubicBezTo>
                  <a:cubicBezTo>
                    <a:pt x="277" y="95"/>
                    <a:pt x="277" y="95"/>
                    <a:pt x="277" y="95"/>
                  </a:cubicBezTo>
                  <a:cubicBezTo>
                    <a:pt x="277" y="95"/>
                    <a:pt x="277" y="95"/>
                    <a:pt x="276" y="95"/>
                  </a:cubicBezTo>
                  <a:cubicBezTo>
                    <a:pt x="276" y="95"/>
                    <a:pt x="276" y="95"/>
                    <a:pt x="276" y="95"/>
                  </a:cubicBezTo>
                  <a:cubicBezTo>
                    <a:pt x="276" y="95"/>
                    <a:pt x="276" y="95"/>
                    <a:pt x="276" y="95"/>
                  </a:cubicBezTo>
                  <a:cubicBezTo>
                    <a:pt x="276" y="95"/>
                    <a:pt x="276" y="96"/>
                    <a:pt x="276" y="96"/>
                  </a:cubicBezTo>
                  <a:cubicBezTo>
                    <a:pt x="275" y="96"/>
                    <a:pt x="275" y="96"/>
                    <a:pt x="275" y="96"/>
                  </a:cubicBezTo>
                  <a:cubicBezTo>
                    <a:pt x="275" y="96"/>
                    <a:pt x="275" y="96"/>
                    <a:pt x="275" y="96"/>
                  </a:cubicBezTo>
                  <a:cubicBezTo>
                    <a:pt x="274" y="97"/>
                    <a:pt x="273" y="97"/>
                    <a:pt x="273" y="97"/>
                  </a:cubicBezTo>
                  <a:cubicBezTo>
                    <a:pt x="272" y="97"/>
                    <a:pt x="272" y="98"/>
                    <a:pt x="272" y="98"/>
                  </a:cubicBezTo>
                  <a:cubicBezTo>
                    <a:pt x="271" y="98"/>
                    <a:pt x="271" y="98"/>
                    <a:pt x="270" y="99"/>
                  </a:cubicBezTo>
                  <a:cubicBezTo>
                    <a:pt x="270" y="99"/>
                    <a:pt x="270" y="99"/>
                    <a:pt x="270" y="99"/>
                  </a:cubicBezTo>
                  <a:cubicBezTo>
                    <a:pt x="270" y="99"/>
                    <a:pt x="269" y="99"/>
                    <a:pt x="269" y="99"/>
                  </a:cubicBezTo>
                  <a:cubicBezTo>
                    <a:pt x="269" y="99"/>
                    <a:pt x="269" y="99"/>
                    <a:pt x="269" y="100"/>
                  </a:cubicBezTo>
                  <a:cubicBezTo>
                    <a:pt x="269" y="100"/>
                    <a:pt x="269" y="100"/>
                    <a:pt x="268" y="100"/>
                  </a:cubicBezTo>
                  <a:cubicBezTo>
                    <a:pt x="268" y="100"/>
                    <a:pt x="268" y="100"/>
                    <a:pt x="268" y="100"/>
                  </a:cubicBezTo>
                  <a:cubicBezTo>
                    <a:pt x="268" y="100"/>
                    <a:pt x="268" y="100"/>
                    <a:pt x="268" y="100"/>
                  </a:cubicBezTo>
                  <a:cubicBezTo>
                    <a:pt x="268" y="100"/>
                    <a:pt x="268" y="100"/>
                    <a:pt x="268" y="100"/>
                  </a:cubicBezTo>
                  <a:cubicBezTo>
                    <a:pt x="267" y="100"/>
                    <a:pt x="267" y="100"/>
                    <a:pt x="267" y="100"/>
                  </a:cubicBezTo>
                  <a:cubicBezTo>
                    <a:pt x="267" y="100"/>
                    <a:pt x="267" y="101"/>
                    <a:pt x="267" y="101"/>
                  </a:cubicBezTo>
                  <a:cubicBezTo>
                    <a:pt x="266" y="101"/>
                    <a:pt x="265" y="101"/>
                    <a:pt x="264" y="102"/>
                  </a:cubicBezTo>
                  <a:cubicBezTo>
                    <a:pt x="264" y="102"/>
                    <a:pt x="264" y="102"/>
                    <a:pt x="264" y="102"/>
                  </a:cubicBezTo>
                  <a:cubicBezTo>
                    <a:pt x="263" y="103"/>
                    <a:pt x="263" y="103"/>
                    <a:pt x="262" y="103"/>
                  </a:cubicBezTo>
                  <a:cubicBezTo>
                    <a:pt x="262" y="103"/>
                    <a:pt x="262" y="104"/>
                    <a:pt x="262" y="104"/>
                  </a:cubicBezTo>
                  <a:cubicBezTo>
                    <a:pt x="261" y="104"/>
                    <a:pt x="261" y="104"/>
                    <a:pt x="261" y="104"/>
                  </a:cubicBezTo>
                  <a:cubicBezTo>
                    <a:pt x="261" y="104"/>
                    <a:pt x="261" y="104"/>
                    <a:pt x="261" y="104"/>
                  </a:cubicBezTo>
                  <a:cubicBezTo>
                    <a:pt x="261" y="104"/>
                    <a:pt x="261" y="104"/>
                    <a:pt x="260" y="104"/>
                  </a:cubicBezTo>
                  <a:cubicBezTo>
                    <a:pt x="260" y="104"/>
                    <a:pt x="260" y="104"/>
                    <a:pt x="260" y="104"/>
                  </a:cubicBezTo>
                  <a:cubicBezTo>
                    <a:pt x="260" y="104"/>
                    <a:pt x="260" y="104"/>
                    <a:pt x="260" y="104"/>
                  </a:cubicBezTo>
                  <a:cubicBezTo>
                    <a:pt x="260" y="105"/>
                    <a:pt x="260" y="105"/>
                    <a:pt x="260" y="105"/>
                  </a:cubicBezTo>
                  <a:cubicBezTo>
                    <a:pt x="259" y="105"/>
                    <a:pt x="259" y="105"/>
                    <a:pt x="259" y="105"/>
                  </a:cubicBezTo>
                  <a:cubicBezTo>
                    <a:pt x="259" y="105"/>
                    <a:pt x="259" y="105"/>
                    <a:pt x="259" y="106"/>
                  </a:cubicBezTo>
                  <a:cubicBezTo>
                    <a:pt x="258" y="106"/>
                    <a:pt x="257" y="106"/>
                    <a:pt x="256" y="106"/>
                  </a:cubicBezTo>
                  <a:cubicBezTo>
                    <a:pt x="256" y="106"/>
                    <a:pt x="256" y="107"/>
                    <a:pt x="256" y="107"/>
                  </a:cubicBezTo>
                  <a:cubicBezTo>
                    <a:pt x="256" y="107"/>
                    <a:pt x="255" y="107"/>
                    <a:pt x="255" y="107"/>
                  </a:cubicBezTo>
                  <a:cubicBezTo>
                    <a:pt x="254" y="108"/>
                    <a:pt x="254" y="109"/>
                    <a:pt x="254" y="109"/>
                  </a:cubicBezTo>
                  <a:cubicBezTo>
                    <a:pt x="254" y="109"/>
                    <a:pt x="254" y="109"/>
                    <a:pt x="253" y="109"/>
                  </a:cubicBezTo>
                  <a:cubicBezTo>
                    <a:pt x="253" y="110"/>
                    <a:pt x="253" y="111"/>
                    <a:pt x="253" y="111"/>
                  </a:cubicBezTo>
                  <a:cubicBezTo>
                    <a:pt x="252" y="112"/>
                    <a:pt x="252" y="112"/>
                    <a:pt x="252" y="112"/>
                  </a:cubicBezTo>
                  <a:cubicBezTo>
                    <a:pt x="252" y="113"/>
                    <a:pt x="251" y="113"/>
                    <a:pt x="251" y="114"/>
                  </a:cubicBezTo>
                  <a:cubicBezTo>
                    <a:pt x="251" y="114"/>
                    <a:pt x="251" y="114"/>
                    <a:pt x="251" y="114"/>
                  </a:cubicBezTo>
                  <a:cubicBezTo>
                    <a:pt x="251" y="114"/>
                    <a:pt x="251" y="115"/>
                    <a:pt x="251" y="115"/>
                  </a:cubicBezTo>
                  <a:cubicBezTo>
                    <a:pt x="250" y="115"/>
                    <a:pt x="250" y="115"/>
                    <a:pt x="250" y="115"/>
                  </a:cubicBezTo>
                  <a:cubicBezTo>
                    <a:pt x="250" y="115"/>
                    <a:pt x="250" y="115"/>
                    <a:pt x="250" y="116"/>
                  </a:cubicBezTo>
                  <a:cubicBezTo>
                    <a:pt x="250" y="116"/>
                    <a:pt x="250" y="116"/>
                    <a:pt x="250" y="116"/>
                  </a:cubicBezTo>
                  <a:cubicBezTo>
                    <a:pt x="250" y="116"/>
                    <a:pt x="250" y="116"/>
                    <a:pt x="250" y="116"/>
                  </a:cubicBezTo>
                  <a:cubicBezTo>
                    <a:pt x="250" y="116"/>
                    <a:pt x="249" y="117"/>
                    <a:pt x="249" y="117"/>
                  </a:cubicBezTo>
                  <a:cubicBezTo>
                    <a:pt x="249" y="117"/>
                    <a:pt x="249" y="118"/>
                    <a:pt x="248" y="119"/>
                  </a:cubicBezTo>
                  <a:cubicBezTo>
                    <a:pt x="248" y="119"/>
                    <a:pt x="248" y="119"/>
                    <a:pt x="248" y="119"/>
                  </a:cubicBezTo>
                  <a:cubicBezTo>
                    <a:pt x="247" y="120"/>
                    <a:pt x="247" y="121"/>
                    <a:pt x="247" y="121"/>
                  </a:cubicBezTo>
                  <a:cubicBezTo>
                    <a:pt x="247" y="121"/>
                    <a:pt x="247" y="121"/>
                    <a:pt x="246" y="122"/>
                  </a:cubicBezTo>
                  <a:cubicBezTo>
                    <a:pt x="246" y="122"/>
                    <a:pt x="246" y="123"/>
                    <a:pt x="246" y="124"/>
                  </a:cubicBezTo>
                  <a:cubicBezTo>
                    <a:pt x="245" y="124"/>
                    <a:pt x="245" y="124"/>
                    <a:pt x="245" y="124"/>
                  </a:cubicBezTo>
                  <a:cubicBezTo>
                    <a:pt x="245" y="125"/>
                    <a:pt x="244" y="125"/>
                    <a:pt x="244" y="126"/>
                  </a:cubicBezTo>
                  <a:cubicBezTo>
                    <a:pt x="244" y="126"/>
                    <a:pt x="244" y="126"/>
                    <a:pt x="244" y="126"/>
                  </a:cubicBezTo>
                  <a:cubicBezTo>
                    <a:pt x="243" y="127"/>
                    <a:pt x="243" y="128"/>
                    <a:pt x="243" y="129"/>
                  </a:cubicBezTo>
                  <a:cubicBezTo>
                    <a:pt x="243" y="129"/>
                    <a:pt x="242" y="129"/>
                    <a:pt x="242" y="129"/>
                  </a:cubicBezTo>
                  <a:cubicBezTo>
                    <a:pt x="242" y="130"/>
                    <a:pt x="242" y="130"/>
                    <a:pt x="241" y="131"/>
                  </a:cubicBezTo>
                  <a:cubicBezTo>
                    <a:pt x="241" y="131"/>
                    <a:pt x="241" y="131"/>
                    <a:pt x="241" y="131"/>
                  </a:cubicBezTo>
                  <a:cubicBezTo>
                    <a:pt x="241" y="132"/>
                    <a:pt x="241" y="132"/>
                    <a:pt x="241" y="132"/>
                  </a:cubicBezTo>
                  <a:cubicBezTo>
                    <a:pt x="241" y="132"/>
                    <a:pt x="240" y="132"/>
                    <a:pt x="240" y="132"/>
                  </a:cubicBezTo>
                  <a:cubicBezTo>
                    <a:pt x="240" y="132"/>
                    <a:pt x="240" y="133"/>
                    <a:pt x="240" y="133"/>
                  </a:cubicBezTo>
                  <a:cubicBezTo>
                    <a:pt x="240" y="133"/>
                    <a:pt x="240" y="133"/>
                    <a:pt x="240" y="133"/>
                  </a:cubicBezTo>
                  <a:cubicBezTo>
                    <a:pt x="240" y="133"/>
                    <a:pt x="240" y="133"/>
                    <a:pt x="240" y="133"/>
                  </a:cubicBezTo>
                  <a:cubicBezTo>
                    <a:pt x="240" y="134"/>
                    <a:pt x="240" y="134"/>
                    <a:pt x="239" y="134"/>
                  </a:cubicBezTo>
                  <a:cubicBezTo>
                    <a:pt x="239" y="134"/>
                    <a:pt x="239" y="134"/>
                    <a:pt x="239" y="135"/>
                  </a:cubicBezTo>
                  <a:cubicBezTo>
                    <a:pt x="239" y="135"/>
                    <a:pt x="239" y="135"/>
                    <a:pt x="239" y="135"/>
                  </a:cubicBezTo>
                  <a:cubicBezTo>
                    <a:pt x="239" y="135"/>
                    <a:pt x="239" y="135"/>
                    <a:pt x="239" y="136"/>
                  </a:cubicBezTo>
                  <a:cubicBezTo>
                    <a:pt x="238" y="136"/>
                    <a:pt x="238" y="136"/>
                    <a:pt x="238" y="136"/>
                  </a:cubicBezTo>
                  <a:cubicBezTo>
                    <a:pt x="238" y="136"/>
                    <a:pt x="238" y="136"/>
                    <a:pt x="238" y="137"/>
                  </a:cubicBezTo>
                  <a:cubicBezTo>
                    <a:pt x="238" y="137"/>
                    <a:pt x="238" y="137"/>
                    <a:pt x="238" y="137"/>
                  </a:cubicBezTo>
                  <a:cubicBezTo>
                    <a:pt x="237" y="137"/>
                    <a:pt x="237" y="137"/>
                    <a:pt x="237" y="138"/>
                  </a:cubicBezTo>
                  <a:cubicBezTo>
                    <a:pt x="237" y="138"/>
                    <a:pt x="237" y="138"/>
                    <a:pt x="237" y="138"/>
                  </a:cubicBezTo>
                  <a:cubicBezTo>
                    <a:pt x="237" y="138"/>
                    <a:pt x="237" y="139"/>
                    <a:pt x="237" y="139"/>
                  </a:cubicBezTo>
                  <a:cubicBezTo>
                    <a:pt x="236" y="139"/>
                    <a:pt x="236" y="139"/>
                    <a:pt x="235" y="139"/>
                  </a:cubicBezTo>
                  <a:cubicBezTo>
                    <a:pt x="235" y="140"/>
                    <a:pt x="235" y="140"/>
                    <a:pt x="235" y="140"/>
                  </a:cubicBezTo>
                  <a:cubicBezTo>
                    <a:pt x="235" y="140"/>
                    <a:pt x="235" y="140"/>
                    <a:pt x="235" y="140"/>
                  </a:cubicBezTo>
                  <a:cubicBezTo>
                    <a:pt x="235" y="140"/>
                    <a:pt x="235" y="141"/>
                    <a:pt x="235" y="141"/>
                  </a:cubicBezTo>
                  <a:cubicBezTo>
                    <a:pt x="235" y="141"/>
                    <a:pt x="234" y="141"/>
                    <a:pt x="234" y="142"/>
                  </a:cubicBezTo>
                  <a:cubicBezTo>
                    <a:pt x="234" y="142"/>
                    <a:pt x="234" y="142"/>
                    <a:pt x="234" y="142"/>
                  </a:cubicBezTo>
                  <a:cubicBezTo>
                    <a:pt x="234" y="142"/>
                    <a:pt x="233" y="143"/>
                    <a:pt x="233" y="143"/>
                  </a:cubicBezTo>
                  <a:cubicBezTo>
                    <a:pt x="233" y="143"/>
                    <a:pt x="233" y="143"/>
                    <a:pt x="233" y="144"/>
                  </a:cubicBezTo>
                  <a:cubicBezTo>
                    <a:pt x="233" y="144"/>
                    <a:pt x="233" y="144"/>
                    <a:pt x="232" y="144"/>
                  </a:cubicBezTo>
                  <a:cubicBezTo>
                    <a:pt x="232" y="144"/>
                    <a:pt x="232" y="144"/>
                    <a:pt x="232" y="145"/>
                  </a:cubicBezTo>
                  <a:cubicBezTo>
                    <a:pt x="232" y="145"/>
                    <a:pt x="232" y="145"/>
                    <a:pt x="232" y="145"/>
                  </a:cubicBezTo>
                  <a:cubicBezTo>
                    <a:pt x="232" y="145"/>
                    <a:pt x="232" y="145"/>
                    <a:pt x="232" y="146"/>
                  </a:cubicBezTo>
                  <a:cubicBezTo>
                    <a:pt x="231" y="146"/>
                    <a:pt x="231" y="146"/>
                    <a:pt x="231" y="146"/>
                  </a:cubicBezTo>
                  <a:cubicBezTo>
                    <a:pt x="231" y="146"/>
                    <a:pt x="231" y="147"/>
                    <a:pt x="231" y="147"/>
                  </a:cubicBezTo>
                  <a:cubicBezTo>
                    <a:pt x="231" y="147"/>
                    <a:pt x="230" y="147"/>
                    <a:pt x="230" y="147"/>
                  </a:cubicBezTo>
                  <a:cubicBezTo>
                    <a:pt x="230" y="148"/>
                    <a:pt x="230" y="148"/>
                    <a:pt x="230" y="148"/>
                  </a:cubicBezTo>
                  <a:cubicBezTo>
                    <a:pt x="230" y="148"/>
                    <a:pt x="229" y="148"/>
                    <a:pt x="229" y="149"/>
                  </a:cubicBezTo>
                  <a:cubicBezTo>
                    <a:pt x="229" y="149"/>
                    <a:pt x="229" y="149"/>
                    <a:pt x="229" y="149"/>
                  </a:cubicBezTo>
                  <a:cubicBezTo>
                    <a:pt x="229" y="149"/>
                    <a:pt x="229" y="149"/>
                    <a:pt x="229" y="149"/>
                  </a:cubicBezTo>
                  <a:cubicBezTo>
                    <a:pt x="229" y="150"/>
                    <a:pt x="229" y="150"/>
                    <a:pt x="228" y="150"/>
                  </a:cubicBezTo>
                  <a:cubicBezTo>
                    <a:pt x="228" y="150"/>
                    <a:pt x="228" y="151"/>
                    <a:pt x="228" y="151"/>
                  </a:cubicBezTo>
                  <a:cubicBezTo>
                    <a:pt x="228" y="151"/>
                    <a:pt x="228" y="151"/>
                    <a:pt x="228" y="151"/>
                  </a:cubicBezTo>
                  <a:cubicBezTo>
                    <a:pt x="227" y="152"/>
                    <a:pt x="227" y="152"/>
                    <a:pt x="227" y="152"/>
                  </a:cubicBezTo>
                  <a:cubicBezTo>
                    <a:pt x="227" y="152"/>
                    <a:pt x="227" y="152"/>
                    <a:pt x="227" y="153"/>
                  </a:cubicBezTo>
                  <a:cubicBezTo>
                    <a:pt x="227" y="153"/>
                    <a:pt x="226" y="153"/>
                    <a:pt x="226" y="153"/>
                  </a:cubicBezTo>
                  <a:cubicBezTo>
                    <a:pt x="226" y="153"/>
                    <a:pt x="226" y="153"/>
                    <a:pt x="226" y="154"/>
                  </a:cubicBezTo>
                  <a:cubicBezTo>
                    <a:pt x="226" y="154"/>
                    <a:pt x="226" y="154"/>
                    <a:pt x="225" y="154"/>
                  </a:cubicBezTo>
                  <a:cubicBezTo>
                    <a:pt x="225" y="154"/>
                    <a:pt x="225" y="155"/>
                    <a:pt x="225" y="155"/>
                  </a:cubicBezTo>
                  <a:cubicBezTo>
                    <a:pt x="225" y="155"/>
                    <a:pt x="225" y="155"/>
                    <a:pt x="224" y="156"/>
                  </a:cubicBezTo>
                  <a:cubicBezTo>
                    <a:pt x="224" y="156"/>
                    <a:pt x="224" y="156"/>
                    <a:pt x="224" y="156"/>
                  </a:cubicBezTo>
                  <a:cubicBezTo>
                    <a:pt x="224" y="156"/>
                    <a:pt x="224" y="156"/>
                    <a:pt x="224" y="157"/>
                  </a:cubicBezTo>
                  <a:cubicBezTo>
                    <a:pt x="224" y="157"/>
                    <a:pt x="224" y="157"/>
                    <a:pt x="224" y="157"/>
                  </a:cubicBezTo>
                  <a:cubicBezTo>
                    <a:pt x="223" y="157"/>
                    <a:pt x="223" y="157"/>
                    <a:pt x="223" y="157"/>
                  </a:cubicBezTo>
                  <a:cubicBezTo>
                    <a:pt x="223" y="158"/>
                    <a:pt x="223" y="158"/>
                    <a:pt x="223" y="158"/>
                  </a:cubicBezTo>
                  <a:cubicBezTo>
                    <a:pt x="223" y="158"/>
                    <a:pt x="222" y="159"/>
                    <a:pt x="222" y="159"/>
                  </a:cubicBezTo>
                  <a:cubicBezTo>
                    <a:pt x="222" y="159"/>
                    <a:pt x="222" y="159"/>
                    <a:pt x="222" y="159"/>
                  </a:cubicBezTo>
                  <a:cubicBezTo>
                    <a:pt x="222" y="160"/>
                    <a:pt x="221" y="160"/>
                    <a:pt x="221" y="160"/>
                  </a:cubicBezTo>
                  <a:cubicBezTo>
                    <a:pt x="221" y="160"/>
                    <a:pt x="221" y="161"/>
                    <a:pt x="221" y="161"/>
                  </a:cubicBezTo>
                  <a:cubicBezTo>
                    <a:pt x="221" y="161"/>
                    <a:pt x="221" y="161"/>
                    <a:pt x="220" y="161"/>
                  </a:cubicBezTo>
                  <a:cubicBezTo>
                    <a:pt x="220" y="161"/>
                    <a:pt x="220" y="162"/>
                    <a:pt x="220" y="162"/>
                  </a:cubicBezTo>
                  <a:cubicBezTo>
                    <a:pt x="220" y="162"/>
                    <a:pt x="220" y="162"/>
                    <a:pt x="220" y="162"/>
                  </a:cubicBezTo>
                  <a:cubicBezTo>
                    <a:pt x="220" y="162"/>
                    <a:pt x="220" y="163"/>
                    <a:pt x="220" y="163"/>
                  </a:cubicBezTo>
                  <a:cubicBezTo>
                    <a:pt x="219" y="163"/>
                    <a:pt x="219" y="163"/>
                    <a:pt x="219" y="163"/>
                  </a:cubicBezTo>
                  <a:cubicBezTo>
                    <a:pt x="219" y="163"/>
                    <a:pt x="219" y="164"/>
                    <a:pt x="219" y="164"/>
                  </a:cubicBezTo>
                  <a:cubicBezTo>
                    <a:pt x="219" y="164"/>
                    <a:pt x="218" y="164"/>
                    <a:pt x="218" y="165"/>
                  </a:cubicBezTo>
                  <a:cubicBezTo>
                    <a:pt x="218" y="165"/>
                    <a:pt x="218" y="165"/>
                    <a:pt x="218" y="165"/>
                  </a:cubicBezTo>
                  <a:cubicBezTo>
                    <a:pt x="218" y="165"/>
                    <a:pt x="218" y="165"/>
                    <a:pt x="218" y="165"/>
                  </a:cubicBezTo>
                  <a:cubicBezTo>
                    <a:pt x="218" y="166"/>
                    <a:pt x="217" y="166"/>
                    <a:pt x="217" y="166"/>
                  </a:cubicBezTo>
                  <a:cubicBezTo>
                    <a:pt x="217" y="166"/>
                    <a:pt x="217" y="167"/>
                    <a:pt x="217" y="167"/>
                  </a:cubicBezTo>
                  <a:cubicBezTo>
                    <a:pt x="217" y="167"/>
                    <a:pt x="217" y="167"/>
                    <a:pt x="217" y="167"/>
                  </a:cubicBezTo>
                  <a:cubicBezTo>
                    <a:pt x="216" y="168"/>
                    <a:pt x="216" y="168"/>
                    <a:pt x="216" y="168"/>
                  </a:cubicBezTo>
                  <a:cubicBezTo>
                    <a:pt x="216" y="168"/>
                    <a:pt x="216" y="169"/>
                    <a:pt x="216" y="169"/>
                  </a:cubicBezTo>
                  <a:cubicBezTo>
                    <a:pt x="215" y="169"/>
                    <a:pt x="215" y="169"/>
                    <a:pt x="215" y="169"/>
                  </a:cubicBezTo>
                  <a:cubicBezTo>
                    <a:pt x="215" y="169"/>
                    <a:pt x="215" y="170"/>
                    <a:pt x="215" y="170"/>
                  </a:cubicBezTo>
                  <a:cubicBezTo>
                    <a:pt x="215" y="170"/>
                    <a:pt x="215" y="170"/>
                    <a:pt x="214" y="170"/>
                  </a:cubicBezTo>
                  <a:cubicBezTo>
                    <a:pt x="214" y="170"/>
                    <a:pt x="214" y="171"/>
                    <a:pt x="214" y="171"/>
                  </a:cubicBezTo>
                  <a:cubicBezTo>
                    <a:pt x="214" y="171"/>
                    <a:pt x="214" y="171"/>
                    <a:pt x="213" y="171"/>
                  </a:cubicBezTo>
                  <a:cubicBezTo>
                    <a:pt x="213" y="171"/>
                    <a:pt x="213" y="172"/>
                    <a:pt x="213" y="172"/>
                  </a:cubicBezTo>
                  <a:cubicBezTo>
                    <a:pt x="213" y="172"/>
                    <a:pt x="213" y="172"/>
                    <a:pt x="212" y="173"/>
                  </a:cubicBezTo>
                  <a:cubicBezTo>
                    <a:pt x="212" y="173"/>
                    <a:pt x="212" y="173"/>
                    <a:pt x="212" y="173"/>
                  </a:cubicBezTo>
                  <a:cubicBezTo>
                    <a:pt x="212" y="173"/>
                    <a:pt x="212" y="174"/>
                    <a:pt x="212" y="174"/>
                  </a:cubicBezTo>
                  <a:cubicBezTo>
                    <a:pt x="212" y="174"/>
                    <a:pt x="212" y="174"/>
                    <a:pt x="212" y="174"/>
                  </a:cubicBezTo>
                  <a:cubicBezTo>
                    <a:pt x="212" y="174"/>
                    <a:pt x="211" y="174"/>
                    <a:pt x="211" y="174"/>
                  </a:cubicBezTo>
                  <a:cubicBezTo>
                    <a:pt x="211" y="175"/>
                    <a:pt x="211" y="175"/>
                    <a:pt x="211" y="175"/>
                  </a:cubicBezTo>
                  <a:cubicBezTo>
                    <a:pt x="211" y="176"/>
                    <a:pt x="211" y="176"/>
                    <a:pt x="210" y="176"/>
                  </a:cubicBezTo>
                  <a:cubicBezTo>
                    <a:pt x="210" y="176"/>
                    <a:pt x="210" y="176"/>
                    <a:pt x="210" y="177"/>
                  </a:cubicBezTo>
                  <a:cubicBezTo>
                    <a:pt x="210" y="177"/>
                    <a:pt x="210" y="177"/>
                    <a:pt x="209" y="177"/>
                  </a:cubicBezTo>
                  <a:cubicBezTo>
                    <a:pt x="209" y="178"/>
                    <a:pt x="208" y="179"/>
                    <a:pt x="207" y="180"/>
                  </a:cubicBezTo>
                  <a:cubicBezTo>
                    <a:pt x="208" y="180"/>
                    <a:pt x="208" y="180"/>
                    <a:pt x="208" y="180"/>
                  </a:cubicBezTo>
                  <a:cubicBezTo>
                    <a:pt x="209" y="181"/>
                    <a:pt x="210" y="181"/>
                    <a:pt x="212" y="181"/>
                  </a:cubicBezTo>
                  <a:cubicBezTo>
                    <a:pt x="212" y="181"/>
                    <a:pt x="212" y="181"/>
                    <a:pt x="212" y="181"/>
                  </a:cubicBezTo>
                  <a:cubicBezTo>
                    <a:pt x="212" y="181"/>
                    <a:pt x="213" y="181"/>
                    <a:pt x="213" y="181"/>
                  </a:cubicBezTo>
                  <a:cubicBezTo>
                    <a:pt x="213" y="182"/>
                    <a:pt x="213" y="182"/>
                    <a:pt x="213" y="182"/>
                  </a:cubicBezTo>
                  <a:cubicBezTo>
                    <a:pt x="214" y="182"/>
                    <a:pt x="215" y="182"/>
                    <a:pt x="215" y="182"/>
                  </a:cubicBezTo>
                  <a:cubicBezTo>
                    <a:pt x="215" y="182"/>
                    <a:pt x="215" y="182"/>
                    <a:pt x="215" y="182"/>
                  </a:cubicBezTo>
                  <a:cubicBezTo>
                    <a:pt x="216" y="182"/>
                    <a:pt x="216" y="182"/>
                    <a:pt x="217" y="182"/>
                  </a:cubicBezTo>
                  <a:cubicBezTo>
                    <a:pt x="217" y="182"/>
                    <a:pt x="217" y="182"/>
                    <a:pt x="217" y="182"/>
                  </a:cubicBezTo>
                  <a:cubicBezTo>
                    <a:pt x="218" y="182"/>
                    <a:pt x="218" y="182"/>
                    <a:pt x="219" y="182"/>
                  </a:cubicBezTo>
                  <a:cubicBezTo>
                    <a:pt x="219" y="183"/>
                    <a:pt x="219" y="183"/>
                    <a:pt x="219" y="183"/>
                  </a:cubicBezTo>
                  <a:cubicBezTo>
                    <a:pt x="219" y="183"/>
                    <a:pt x="220" y="183"/>
                    <a:pt x="220" y="183"/>
                  </a:cubicBezTo>
                  <a:cubicBezTo>
                    <a:pt x="222" y="183"/>
                    <a:pt x="225" y="184"/>
                    <a:pt x="227" y="184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</a:ln>
            <a:effectLst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64800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4000" b="1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0000"/>
                </a:solidFill>
                <a:latin typeface="UKIJ Qolyazma" pitchFamily="18" charset="0"/>
                <a:cs typeface="UKIJ Qolyazma" pitchFamily="18" charset="0"/>
              </a:endParaRPr>
            </a:p>
          </p:txBody>
        </p:sp>
        <p:sp>
          <p:nvSpPr>
            <p:cNvPr id="104" name="Freeform 16">
              <a:extLst>
                <a:ext uri="{FF2B5EF4-FFF2-40B4-BE49-F238E27FC236}">
                  <a16:creationId xmlns:a16="http://schemas.microsoft.com/office/drawing/2014/main" id="{001118FC-2EFF-F4AB-3332-4576A2D186A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0864" y="1947214"/>
              <a:ext cx="459084" cy="439527"/>
            </a:xfrm>
            <a:custGeom>
              <a:avLst/>
              <a:gdLst>
                <a:gd name="T0" fmla="*/ 22 w 211"/>
                <a:gd name="T1" fmla="*/ 102 h 202"/>
                <a:gd name="T2" fmla="*/ 27 w 211"/>
                <a:gd name="T3" fmla="*/ 100 h 202"/>
                <a:gd name="T4" fmla="*/ 31 w 211"/>
                <a:gd name="T5" fmla="*/ 98 h 202"/>
                <a:gd name="T6" fmla="*/ 38 w 211"/>
                <a:gd name="T7" fmla="*/ 93 h 202"/>
                <a:gd name="T8" fmla="*/ 44 w 211"/>
                <a:gd name="T9" fmla="*/ 90 h 202"/>
                <a:gd name="T10" fmla="*/ 48 w 211"/>
                <a:gd name="T11" fmla="*/ 87 h 202"/>
                <a:gd name="T12" fmla="*/ 54 w 211"/>
                <a:gd name="T13" fmla="*/ 84 h 202"/>
                <a:gd name="T14" fmla="*/ 62 w 211"/>
                <a:gd name="T15" fmla="*/ 77 h 202"/>
                <a:gd name="T16" fmla="*/ 68 w 211"/>
                <a:gd name="T17" fmla="*/ 70 h 202"/>
                <a:gd name="T18" fmla="*/ 71 w 211"/>
                <a:gd name="T19" fmla="*/ 64 h 202"/>
                <a:gd name="T20" fmla="*/ 77 w 211"/>
                <a:gd name="T21" fmla="*/ 57 h 202"/>
                <a:gd name="T22" fmla="*/ 83 w 211"/>
                <a:gd name="T23" fmla="*/ 50 h 202"/>
                <a:gd name="T24" fmla="*/ 107 w 211"/>
                <a:gd name="T25" fmla="*/ 24 h 202"/>
                <a:gd name="T26" fmla="*/ 118 w 211"/>
                <a:gd name="T27" fmla="*/ 15 h 202"/>
                <a:gd name="T28" fmla="*/ 124 w 211"/>
                <a:gd name="T29" fmla="*/ 9 h 202"/>
                <a:gd name="T30" fmla="*/ 130 w 211"/>
                <a:gd name="T31" fmla="*/ 6 h 202"/>
                <a:gd name="T32" fmla="*/ 136 w 211"/>
                <a:gd name="T33" fmla="*/ 2 h 202"/>
                <a:gd name="T34" fmla="*/ 149 w 211"/>
                <a:gd name="T35" fmla="*/ 1 h 202"/>
                <a:gd name="T36" fmla="*/ 176 w 211"/>
                <a:gd name="T37" fmla="*/ 1 h 202"/>
                <a:gd name="T38" fmla="*/ 194 w 211"/>
                <a:gd name="T39" fmla="*/ 5 h 202"/>
                <a:gd name="T40" fmla="*/ 202 w 211"/>
                <a:gd name="T41" fmla="*/ 9 h 202"/>
                <a:gd name="T42" fmla="*/ 208 w 211"/>
                <a:gd name="T43" fmla="*/ 16 h 202"/>
                <a:gd name="T44" fmla="*/ 209 w 211"/>
                <a:gd name="T45" fmla="*/ 33 h 202"/>
                <a:gd name="T46" fmla="*/ 208 w 211"/>
                <a:gd name="T47" fmla="*/ 39 h 202"/>
                <a:gd name="T48" fmla="*/ 206 w 211"/>
                <a:gd name="T49" fmla="*/ 43 h 202"/>
                <a:gd name="T50" fmla="*/ 203 w 211"/>
                <a:gd name="T51" fmla="*/ 50 h 202"/>
                <a:gd name="T52" fmla="*/ 201 w 211"/>
                <a:gd name="T53" fmla="*/ 53 h 202"/>
                <a:gd name="T54" fmla="*/ 200 w 211"/>
                <a:gd name="T55" fmla="*/ 57 h 202"/>
                <a:gd name="T56" fmla="*/ 197 w 211"/>
                <a:gd name="T57" fmla="*/ 60 h 202"/>
                <a:gd name="T58" fmla="*/ 194 w 211"/>
                <a:gd name="T59" fmla="*/ 66 h 202"/>
                <a:gd name="T60" fmla="*/ 190 w 211"/>
                <a:gd name="T61" fmla="*/ 72 h 202"/>
                <a:gd name="T62" fmla="*/ 184 w 211"/>
                <a:gd name="T63" fmla="*/ 80 h 202"/>
                <a:gd name="T64" fmla="*/ 159 w 211"/>
                <a:gd name="T65" fmla="*/ 102 h 202"/>
                <a:gd name="T66" fmla="*/ 153 w 211"/>
                <a:gd name="T67" fmla="*/ 112 h 202"/>
                <a:gd name="T68" fmla="*/ 145 w 211"/>
                <a:gd name="T69" fmla="*/ 120 h 202"/>
                <a:gd name="T70" fmla="*/ 139 w 211"/>
                <a:gd name="T71" fmla="*/ 124 h 202"/>
                <a:gd name="T72" fmla="*/ 135 w 211"/>
                <a:gd name="T73" fmla="*/ 127 h 202"/>
                <a:gd name="T74" fmla="*/ 130 w 211"/>
                <a:gd name="T75" fmla="*/ 130 h 202"/>
                <a:gd name="T76" fmla="*/ 122 w 211"/>
                <a:gd name="T77" fmla="*/ 136 h 202"/>
                <a:gd name="T78" fmla="*/ 114 w 211"/>
                <a:gd name="T79" fmla="*/ 145 h 202"/>
                <a:gd name="T80" fmla="*/ 108 w 211"/>
                <a:gd name="T81" fmla="*/ 158 h 202"/>
                <a:gd name="T82" fmla="*/ 106 w 211"/>
                <a:gd name="T83" fmla="*/ 164 h 202"/>
                <a:gd name="T84" fmla="*/ 104 w 211"/>
                <a:gd name="T85" fmla="*/ 168 h 202"/>
                <a:gd name="T86" fmla="*/ 101 w 211"/>
                <a:gd name="T87" fmla="*/ 175 h 202"/>
                <a:gd name="T88" fmla="*/ 99 w 211"/>
                <a:gd name="T89" fmla="*/ 178 h 202"/>
                <a:gd name="T90" fmla="*/ 97 w 211"/>
                <a:gd name="T91" fmla="*/ 183 h 202"/>
                <a:gd name="T92" fmla="*/ 93 w 211"/>
                <a:gd name="T93" fmla="*/ 189 h 202"/>
                <a:gd name="T94" fmla="*/ 85 w 211"/>
                <a:gd name="T95" fmla="*/ 198 h 202"/>
                <a:gd name="T96" fmla="*/ 76 w 211"/>
                <a:gd name="T97" fmla="*/ 201 h 202"/>
                <a:gd name="T98" fmla="*/ 70 w 211"/>
                <a:gd name="T99" fmla="*/ 177 h 202"/>
                <a:gd name="T100" fmla="*/ 75 w 211"/>
                <a:gd name="T101" fmla="*/ 161 h 202"/>
                <a:gd name="T102" fmla="*/ 72 w 211"/>
                <a:gd name="T103" fmla="*/ 149 h 202"/>
                <a:gd name="T104" fmla="*/ 44 w 211"/>
                <a:gd name="T105" fmla="*/ 148 h 202"/>
                <a:gd name="T106" fmla="*/ 38 w 211"/>
                <a:gd name="T107" fmla="*/ 154 h 202"/>
                <a:gd name="T108" fmla="*/ 33 w 211"/>
                <a:gd name="T109" fmla="*/ 160 h 202"/>
                <a:gd name="T110" fmla="*/ 29 w 211"/>
                <a:gd name="T111" fmla="*/ 166 h 202"/>
                <a:gd name="T112" fmla="*/ 16 w 211"/>
                <a:gd name="T113" fmla="*/ 180 h 202"/>
                <a:gd name="T114" fmla="*/ 0 w 211"/>
                <a:gd name="T115" fmla="*/ 179 h 202"/>
                <a:gd name="T116" fmla="*/ 10 w 211"/>
                <a:gd name="T117" fmla="*/ 14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11" h="202">
                  <a:moveTo>
                    <a:pt x="16" y="105"/>
                  </a:moveTo>
                  <a:cubicBezTo>
                    <a:pt x="18" y="105"/>
                    <a:pt x="18" y="104"/>
                    <a:pt x="19" y="104"/>
                  </a:cubicBezTo>
                  <a:cubicBezTo>
                    <a:pt x="19" y="104"/>
                    <a:pt x="20" y="104"/>
                    <a:pt x="20" y="104"/>
                  </a:cubicBezTo>
                  <a:cubicBezTo>
                    <a:pt x="20" y="104"/>
                    <a:pt x="20" y="103"/>
                    <a:pt x="20" y="103"/>
                  </a:cubicBezTo>
                  <a:cubicBezTo>
                    <a:pt x="21" y="103"/>
                    <a:pt x="21" y="103"/>
                    <a:pt x="21" y="103"/>
                  </a:cubicBezTo>
                  <a:cubicBezTo>
                    <a:pt x="21" y="103"/>
                    <a:pt x="21" y="103"/>
                    <a:pt x="21" y="103"/>
                  </a:cubicBezTo>
                  <a:cubicBezTo>
                    <a:pt x="21" y="103"/>
                    <a:pt x="21" y="103"/>
                    <a:pt x="22" y="103"/>
                  </a:cubicBezTo>
                  <a:cubicBezTo>
                    <a:pt x="22" y="103"/>
                    <a:pt x="22" y="103"/>
                    <a:pt x="22" y="102"/>
                  </a:cubicBezTo>
                  <a:cubicBezTo>
                    <a:pt x="22" y="102"/>
                    <a:pt x="22" y="102"/>
                    <a:pt x="22" y="102"/>
                  </a:cubicBezTo>
                  <a:cubicBezTo>
                    <a:pt x="22" y="102"/>
                    <a:pt x="22" y="102"/>
                    <a:pt x="22" y="102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23" y="102"/>
                    <a:pt x="24" y="102"/>
                    <a:pt x="24" y="102"/>
                  </a:cubicBezTo>
                  <a:cubicBezTo>
                    <a:pt x="24" y="102"/>
                    <a:pt x="24" y="102"/>
                    <a:pt x="24" y="101"/>
                  </a:cubicBezTo>
                  <a:cubicBezTo>
                    <a:pt x="24" y="101"/>
                    <a:pt x="25" y="101"/>
                    <a:pt x="25" y="101"/>
                  </a:cubicBezTo>
                  <a:cubicBezTo>
                    <a:pt x="25" y="101"/>
                    <a:pt x="25" y="101"/>
                    <a:pt x="26" y="100"/>
                  </a:cubicBezTo>
                  <a:cubicBezTo>
                    <a:pt x="26" y="100"/>
                    <a:pt x="26" y="100"/>
                    <a:pt x="27" y="100"/>
                  </a:cubicBezTo>
                  <a:cubicBezTo>
                    <a:pt x="27" y="100"/>
                    <a:pt x="27" y="100"/>
                    <a:pt x="27" y="100"/>
                  </a:cubicBezTo>
                  <a:cubicBezTo>
                    <a:pt x="27" y="100"/>
                    <a:pt x="27" y="100"/>
                    <a:pt x="28" y="100"/>
                  </a:cubicBezTo>
                  <a:cubicBezTo>
                    <a:pt x="28" y="100"/>
                    <a:pt x="28" y="99"/>
                    <a:pt x="28" y="99"/>
                  </a:cubicBezTo>
                  <a:cubicBezTo>
                    <a:pt x="28" y="99"/>
                    <a:pt x="28" y="99"/>
                    <a:pt x="28" y="99"/>
                  </a:cubicBezTo>
                  <a:cubicBezTo>
                    <a:pt x="28" y="99"/>
                    <a:pt x="29" y="99"/>
                    <a:pt x="29" y="99"/>
                  </a:cubicBezTo>
                  <a:cubicBezTo>
                    <a:pt x="29" y="99"/>
                    <a:pt x="29" y="99"/>
                    <a:pt x="29" y="99"/>
                  </a:cubicBezTo>
                  <a:cubicBezTo>
                    <a:pt x="29" y="99"/>
                    <a:pt x="29" y="98"/>
                    <a:pt x="29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30" y="98"/>
                    <a:pt x="31" y="98"/>
                    <a:pt x="31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32" y="97"/>
                    <a:pt x="32" y="97"/>
                    <a:pt x="32" y="97"/>
                  </a:cubicBezTo>
                  <a:cubicBezTo>
                    <a:pt x="33" y="97"/>
                    <a:pt x="33" y="96"/>
                    <a:pt x="34" y="96"/>
                  </a:cubicBezTo>
                  <a:cubicBezTo>
                    <a:pt x="34" y="96"/>
                    <a:pt x="34" y="96"/>
                    <a:pt x="34" y="95"/>
                  </a:cubicBezTo>
                  <a:cubicBezTo>
                    <a:pt x="35" y="95"/>
                    <a:pt x="35" y="95"/>
                    <a:pt x="36" y="95"/>
                  </a:cubicBezTo>
                  <a:cubicBezTo>
                    <a:pt x="36" y="95"/>
                    <a:pt x="36" y="95"/>
                    <a:pt x="36" y="94"/>
                  </a:cubicBezTo>
                  <a:cubicBezTo>
                    <a:pt x="36" y="94"/>
                    <a:pt x="37" y="94"/>
                    <a:pt x="37" y="94"/>
                  </a:cubicBezTo>
                  <a:cubicBezTo>
                    <a:pt x="38" y="94"/>
                    <a:pt x="38" y="94"/>
                    <a:pt x="38" y="93"/>
                  </a:cubicBezTo>
                  <a:cubicBezTo>
                    <a:pt x="38" y="93"/>
                    <a:pt x="39" y="93"/>
                    <a:pt x="39" y="93"/>
                  </a:cubicBezTo>
                  <a:cubicBezTo>
                    <a:pt x="39" y="93"/>
                    <a:pt x="39" y="93"/>
                    <a:pt x="40" y="92"/>
                  </a:cubicBezTo>
                  <a:cubicBezTo>
                    <a:pt x="40" y="92"/>
                    <a:pt x="40" y="92"/>
                    <a:pt x="41" y="92"/>
                  </a:cubicBezTo>
                  <a:cubicBezTo>
                    <a:pt x="41" y="92"/>
                    <a:pt x="41" y="92"/>
                    <a:pt x="41" y="91"/>
                  </a:cubicBezTo>
                  <a:cubicBezTo>
                    <a:pt x="42" y="91"/>
                    <a:pt x="42" y="91"/>
                    <a:pt x="42" y="91"/>
                  </a:cubicBezTo>
                  <a:cubicBezTo>
                    <a:pt x="42" y="91"/>
                    <a:pt x="42" y="91"/>
                    <a:pt x="42" y="91"/>
                  </a:cubicBezTo>
                  <a:cubicBezTo>
                    <a:pt x="42" y="91"/>
                    <a:pt x="42" y="91"/>
                    <a:pt x="43" y="91"/>
                  </a:cubicBezTo>
                  <a:cubicBezTo>
                    <a:pt x="43" y="91"/>
                    <a:pt x="43" y="90"/>
                    <a:pt x="43" y="90"/>
                  </a:cubicBezTo>
                  <a:cubicBezTo>
                    <a:pt x="43" y="90"/>
                    <a:pt x="43" y="90"/>
                    <a:pt x="44" y="90"/>
                  </a:cubicBezTo>
                  <a:cubicBezTo>
                    <a:pt x="44" y="90"/>
                    <a:pt x="44" y="90"/>
                    <a:pt x="44" y="90"/>
                  </a:cubicBezTo>
                  <a:cubicBezTo>
                    <a:pt x="44" y="90"/>
                    <a:pt x="45" y="90"/>
                    <a:pt x="45" y="90"/>
                  </a:cubicBezTo>
                  <a:cubicBezTo>
                    <a:pt x="45" y="89"/>
                    <a:pt x="45" y="89"/>
                    <a:pt x="45" y="89"/>
                  </a:cubicBezTo>
                  <a:cubicBezTo>
                    <a:pt x="45" y="89"/>
                    <a:pt x="46" y="89"/>
                    <a:pt x="46" y="89"/>
                  </a:cubicBezTo>
                  <a:cubicBezTo>
                    <a:pt x="46" y="89"/>
                    <a:pt x="46" y="88"/>
                    <a:pt x="46" y="88"/>
                  </a:cubicBezTo>
                  <a:cubicBezTo>
                    <a:pt x="46" y="88"/>
                    <a:pt x="47" y="88"/>
                    <a:pt x="47" y="88"/>
                  </a:cubicBezTo>
                  <a:cubicBezTo>
                    <a:pt x="47" y="88"/>
                    <a:pt x="47" y="88"/>
                    <a:pt x="47" y="87"/>
                  </a:cubicBezTo>
                  <a:cubicBezTo>
                    <a:pt x="47" y="87"/>
                    <a:pt x="48" y="87"/>
                    <a:pt x="48" y="87"/>
                  </a:cubicBezTo>
                  <a:cubicBezTo>
                    <a:pt x="48" y="87"/>
                    <a:pt x="48" y="87"/>
                    <a:pt x="48" y="87"/>
                  </a:cubicBezTo>
                  <a:cubicBezTo>
                    <a:pt x="49" y="87"/>
                    <a:pt x="49" y="87"/>
                    <a:pt x="49" y="87"/>
                  </a:cubicBezTo>
                  <a:cubicBezTo>
                    <a:pt x="49" y="87"/>
                    <a:pt x="49" y="86"/>
                    <a:pt x="49" y="86"/>
                  </a:cubicBezTo>
                  <a:cubicBezTo>
                    <a:pt x="50" y="86"/>
                    <a:pt x="50" y="86"/>
                    <a:pt x="50" y="86"/>
                  </a:cubicBezTo>
                  <a:cubicBezTo>
                    <a:pt x="50" y="86"/>
                    <a:pt x="50" y="86"/>
                    <a:pt x="50" y="86"/>
                  </a:cubicBezTo>
                  <a:cubicBezTo>
                    <a:pt x="50" y="86"/>
                    <a:pt x="51" y="85"/>
                    <a:pt x="51" y="85"/>
                  </a:cubicBezTo>
                  <a:cubicBezTo>
                    <a:pt x="51" y="85"/>
                    <a:pt x="51" y="85"/>
                    <a:pt x="51" y="85"/>
                  </a:cubicBezTo>
                  <a:cubicBezTo>
                    <a:pt x="52" y="85"/>
                    <a:pt x="52" y="85"/>
                    <a:pt x="52" y="85"/>
                  </a:cubicBezTo>
                  <a:cubicBezTo>
                    <a:pt x="52" y="84"/>
                    <a:pt x="53" y="84"/>
                    <a:pt x="53" y="84"/>
                  </a:cubicBezTo>
                  <a:cubicBezTo>
                    <a:pt x="53" y="84"/>
                    <a:pt x="53" y="84"/>
                    <a:pt x="54" y="84"/>
                  </a:cubicBezTo>
                  <a:cubicBezTo>
                    <a:pt x="54" y="83"/>
                    <a:pt x="54" y="83"/>
                    <a:pt x="54" y="83"/>
                  </a:cubicBezTo>
                  <a:cubicBezTo>
                    <a:pt x="54" y="83"/>
                    <a:pt x="54" y="83"/>
                    <a:pt x="55" y="83"/>
                  </a:cubicBezTo>
                  <a:cubicBezTo>
                    <a:pt x="55" y="83"/>
                    <a:pt x="55" y="82"/>
                    <a:pt x="55" y="82"/>
                  </a:cubicBezTo>
                  <a:cubicBezTo>
                    <a:pt x="55" y="82"/>
                    <a:pt x="56" y="82"/>
                    <a:pt x="56" y="82"/>
                  </a:cubicBezTo>
                  <a:cubicBezTo>
                    <a:pt x="56" y="81"/>
                    <a:pt x="57" y="81"/>
                    <a:pt x="57" y="80"/>
                  </a:cubicBezTo>
                  <a:cubicBezTo>
                    <a:pt x="57" y="80"/>
                    <a:pt x="57" y="80"/>
                    <a:pt x="58" y="80"/>
                  </a:cubicBezTo>
                  <a:cubicBezTo>
                    <a:pt x="58" y="80"/>
                    <a:pt x="58" y="80"/>
                    <a:pt x="59" y="79"/>
                  </a:cubicBezTo>
                  <a:cubicBezTo>
                    <a:pt x="59" y="79"/>
                    <a:pt x="59" y="79"/>
                    <a:pt x="59" y="79"/>
                  </a:cubicBezTo>
                  <a:cubicBezTo>
                    <a:pt x="60" y="78"/>
                    <a:pt x="61" y="77"/>
                    <a:pt x="62" y="7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63" y="76"/>
                    <a:pt x="63" y="75"/>
                    <a:pt x="64" y="75"/>
                  </a:cubicBezTo>
                  <a:cubicBezTo>
                    <a:pt x="64" y="75"/>
                    <a:pt x="64" y="75"/>
                    <a:pt x="64" y="74"/>
                  </a:cubicBezTo>
                  <a:cubicBezTo>
                    <a:pt x="64" y="74"/>
                    <a:pt x="64" y="74"/>
                    <a:pt x="64" y="74"/>
                  </a:cubicBezTo>
                  <a:cubicBezTo>
                    <a:pt x="65" y="73"/>
                    <a:pt x="66" y="73"/>
                    <a:pt x="66" y="72"/>
                  </a:cubicBezTo>
                  <a:cubicBezTo>
                    <a:pt x="66" y="72"/>
                    <a:pt x="66" y="72"/>
                    <a:pt x="66" y="71"/>
                  </a:cubicBezTo>
                  <a:cubicBezTo>
                    <a:pt x="67" y="71"/>
                    <a:pt x="67" y="71"/>
                    <a:pt x="67" y="71"/>
                  </a:cubicBezTo>
                  <a:cubicBezTo>
                    <a:pt x="67" y="71"/>
                    <a:pt x="67" y="71"/>
                    <a:pt x="67" y="70"/>
                  </a:cubicBezTo>
                  <a:cubicBezTo>
                    <a:pt x="67" y="70"/>
                    <a:pt x="68" y="70"/>
                    <a:pt x="68" y="70"/>
                  </a:cubicBezTo>
                  <a:cubicBezTo>
                    <a:pt x="68" y="69"/>
                    <a:pt x="68" y="69"/>
                    <a:pt x="68" y="69"/>
                  </a:cubicBezTo>
                  <a:cubicBezTo>
                    <a:pt x="68" y="68"/>
                    <a:pt x="69" y="68"/>
                    <a:pt x="69" y="68"/>
                  </a:cubicBezTo>
                  <a:cubicBezTo>
                    <a:pt x="69" y="68"/>
                    <a:pt x="69" y="67"/>
                    <a:pt x="69" y="67"/>
                  </a:cubicBezTo>
                  <a:cubicBezTo>
                    <a:pt x="69" y="67"/>
                    <a:pt x="70" y="67"/>
                    <a:pt x="70" y="66"/>
                  </a:cubicBezTo>
                  <a:cubicBezTo>
                    <a:pt x="70" y="66"/>
                    <a:pt x="70" y="66"/>
                    <a:pt x="70" y="66"/>
                  </a:cubicBezTo>
                  <a:cubicBezTo>
                    <a:pt x="70" y="66"/>
                    <a:pt x="70" y="66"/>
                    <a:pt x="70" y="66"/>
                  </a:cubicBezTo>
                  <a:cubicBezTo>
                    <a:pt x="70" y="65"/>
                    <a:pt x="71" y="65"/>
                    <a:pt x="71" y="65"/>
                  </a:cubicBezTo>
                  <a:cubicBezTo>
                    <a:pt x="71" y="65"/>
                    <a:pt x="71" y="64"/>
                    <a:pt x="71" y="64"/>
                  </a:cubicBezTo>
                  <a:cubicBezTo>
                    <a:pt x="71" y="64"/>
                    <a:pt x="71" y="64"/>
                    <a:pt x="71" y="64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2" y="63"/>
                    <a:pt x="72" y="62"/>
                    <a:pt x="72" y="62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3" y="61"/>
                    <a:pt x="73" y="61"/>
                    <a:pt x="73" y="61"/>
                  </a:cubicBezTo>
                  <a:cubicBezTo>
                    <a:pt x="74" y="61"/>
                    <a:pt x="74" y="60"/>
                    <a:pt x="74" y="60"/>
                  </a:cubicBezTo>
                  <a:cubicBezTo>
                    <a:pt x="74" y="60"/>
                    <a:pt x="74" y="60"/>
                    <a:pt x="74" y="59"/>
                  </a:cubicBezTo>
                  <a:cubicBezTo>
                    <a:pt x="75" y="59"/>
                    <a:pt x="75" y="59"/>
                    <a:pt x="76" y="58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6" y="57"/>
                    <a:pt x="77" y="57"/>
                    <a:pt x="77" y="57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8" y="56"/>
                    <a:pt x="78" y="55"/>
                    <a:pt x="79" y="55"/>
                  </a:cubicBezTo>
                  <a:cubicBezTo>
                    <a:pt x="79" y="55"/>
                    <a:pt x="79" y="54"/>
                    <a:pt x="79" y="54"/>
                  </a:cubicBezTo>
                  <a:cubicBezTo>
                    <a:pt x="79" y="54"/>
                    <a:pt x="80" y="53"/>
                    <a:pt x="80" y="53"/>
                  </a:cubicBezTo>
                  <a:cubicBezTo>
                    <a:pt x="80" y="53"/>
                    <a:pt x="80" y="52"/>
                    <a:pt x="80" y="52"/>
                  </a:cubicBezTo>
                  <a:cubicBezTo>
                    <a:pt x="81" y="52"/>
                    <a:pt x="81" y="52"/>
                    <a:pt x="81" y="51"/>
                  </a:cubicBezTo>
                  <a:cubicBezTo>
                    <a:pt x="82" y="51"/>
                    <a:pt x="82" y="51"/>
                    <a:pt x="82" y="50"/>
                  </a:cubicBezTo>
                  <a:cubicBezTo>
                    <a:pt x="82" y="50"/>
                    <a:pt x="82" y="50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49"/>
                    <a:pt x="84" y="49"/>
                    <a:pt x="85" y="48"/>
                  </a:cubicBezTo>
                  <a:cubicBezTo>
                    <a:pt x="85" y="48"/>
                    <a:pt x="85" y="47"/>
                    <a:pt x="85" y="47"/>
                  </a:cubicBezTo>
                  <a:cubicBezTo>
                    <a:pt x="85" y="47"/>
                    <a:pt x="86" y="46"/>
                    <a:pt x="87" y="45"/>
                  </a:cubicBezTo>
                  <a:cubicBezTo>
                    <a:pt x="87" y="45"/>
                    <a:pt x="87" y="45"/>
                    <a:pt x="87" y="44"/>
                  </a:cubicBezTo>
                  <a:cubicBezTo>
                    <a:pt x="88" y="43"/>
                    <a:pt x="89" y="42"/>
                    <a:pt x="91" y="41"/>
                  </a:cubicBezTo>
                  <a:cubicBezTo>
                    <a:pt x="91" y="41"/>
                    <a:pt x="91" y="41"/>
                    <a:pt x="91" y="40"/>
                  </a:cubicBezTo>
                  <a:cubicBezTo>
                    <a:pt x="93" y="39"/>
                    <a:pt x="94" y="37"/>
                    <a:pt x="96" y="36"/>
                  </a:cubicBezTo>
                  <a:cubicBezTo>
                    <a:pt x="98" y="33"/>
                    <a:pt x="101" y="31"/>
                    <a:pt x="103" y="28"/>
                  </a:cubicBezTo>
                  <a:cubicBezTo>
                    <a:pt x="104" y="27"/>
                    <a:pt x="106" y="25"/>
                    <a:pt x="107" y="24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09" y="23"/>
                    <a:pt x="110" y="21"/>
                    <a:pt x="112" y="20"/>
                  </a:cubicBezTo>
                  <a:cubicBezTo>
                    <a:pt x="112" y="20"/>
                    <a:pt x="112" y="20"/>
                    <a:pt x="112" y="20"/>
                  </a:cubicBezTo>
                  <a:cubicBezTo>
                    <a:pt x="113" y="19"/>
                    <a:pt x="114" y="18"/>
                    <a:pt x="115" y="17"/>
                  </a:cubicBezTo>
                  <a:cubicBezTo>
                    <a:pt x="115" y="17"/>
                    <a:pt x="115" y="17"/>
                    <a:pt x="115" y="17"/>
                  </a:cubicBezTo>
                  <a:cubicBezTo>
                    <a:pt x="115" y="17"/>
                    <a:pt x="115" y="17"/>
                    <a:pt x="115" y="16"/>
                  </a:cubicBezTo>
                  <a:cubicBezTo>
                    <a:pt x="116" y="16"/>
                    <a:pt x="116" y="16"/>
                    <a:pt x="116" y="16"/>
                  </a:cubicBezTo>
                  <a:cubicBezTo>
                    <a:pt x="117" y="15"/>
                    <a:pt x="117" y="15"/>
                    <a:pt x="117" y="15"/>
                  </a:cubicBezTo>
                  <a:cubicBezTo>
                    <a:pt x="117" y="15"/>
                    <a:pt x="118" y="15"/>
                    <a:pt x="118" y="15"/>
                  </a:cubicBezTo>
                  <a:cubicBezTo>
                    <a:pt x="118" y="14"/>
                    <a:pt x="119" y="14"/>
                    <a:pt x="119" y="13"/>
                  </a:cubicBezTo>
                  <a:cubicBezTo>
                    <a:pt x="119" y="13"/>
                    <a:pt x="120" y="13"/>
                    <a:pt x="120" y="13"/>
                  </a:cubicBezTo>
                  <a:cubicBezTo>
                    <a:pt x="120" y="13"/>
                    <a:pt x="120" y="12"/>
                    <a:pt x="120" y="12"/>
                  </a:cubicBezTo>
                  <a:cubicBezTo>
                    <a:pt x="120" y="12"/>
                    <a:pt x="121" y="12"/>
                    <a:pt x="121" y="12"/>
                  </a:cubicBezTo>
                  <a:cubicBezTo>
                    <a:pt x="121" y="12"/>
                    <a:pt x="121" y="12"/>
                    <a:pt x="121" y="12"/>
                  </a:cubicBezTo>
                  <a:cubicBezTo>
                    <a:pt x="121" y="12"/>
                    <a:pt x="121" y="12"/>
                    <a:pt x="122" y="12"/>
                  </a:cubicBezTo>
                  <a:cubicBezTo>
                    <a:pt x="122" y="11"/>
                    <a:pt x="122" y="11"/>
                    <a:pt x="122" y="10"/>
                  </a:cubicBezTo>
                  <a:cubicBezTo>
                    <a:pt x="123" y="10"/>
                    <a:pt x="123" y="10"/>
                    <a:pt x="123" y="10"/>
                  </a:cubicBezTo>
                  <a:cubicBezTo>
                    <a:pt x="124" y="10"/>
                    <a:pt x="124" y="10"/>
                    <a:pt x="124" y="9"/>
                  </a:cubicBezTo>
                  <a:cubicBezTo>
                    <a:pt x="124" y="9"/>
                    <a:pt x="124" y="9"/>
                    <a:pt x="125" y="9"/>
                  </a:cubicBezTo>
                  <a:cubicBezTo>
                    <a:pt x="125" y="9"/>
                    <a:pt x="125" y="9"/>
                    <a:pt x="125" y="8"/>
                  </a:cubicBezTo>
                  <a:cubicBezTo>
                    <a:pt x="125" y="8"/>
                    <a:pt x="126" y="8"/>
                    <a:pt x="126" y="8"/>
                  </a:cubicBezTo>
                  <a:cubicBezTo>
                    <a:pt x="126" y="8"/>
                    <a:pt x="126" y="8"/>
                    <a:pt x="126" y="8"/>
                  </a:cubicBezTo>
                  <a:cubicBezTo>
                    <a:pt x="126" y="8"/>
                    <a:pt x="127" y="8"/>
                    <a:pt x="127" y="8"/>
                  </a:cubicBezTo>
                  <a:cubicBezTo>
                    <a:pt x="127" y="7"/>
                    <a:pt x="127" y="7"/>
                    <a:pt x="128" y="7"/>
                  </a:cubicBezTo>
                  <a:cubicBezTo>
                    <a:pt x="128" y="7"/>
                    <a:pt x="129" y="6"/>
                    <a:pt x="129" y="6"/>
                  </a:cubicBezTo>
                  <a:cubicBezTo>
                    <a:pt x="129" y="6"/>
                    <a:pt x="129" y="6"/>
                    <a:pt x="129" y="6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30" y="5"/>
                    <a:pt x="130" y="5"/>
                    <a:pt x="130" y="5"/>
                  </a:cubicBezTo>
                  <a:cubicBezTo>
                    <a:pt x="131" y="5"/>
                    <a:pt x="132" y="4"/>
                    <a:pt x="133" y="4"/>
                  </a:cubicBezTo>
                  <a:cubicBezTo>
                    <a:pt x="133" y="4"/>
                    <a:pt x="133" y="4"/>
                    <a:pt x="133" y="4"/>
                  </a:cubicBezTo>
                  <a:cubicBezTo>
                    <a:pt x="133" y="4"/>
                    <a:pt x="133" y="4"/>
                    <a:pt x="133" y="4"/>
                  </a:cubicBezTo>
                  <a:cubicBezTo>
                    <a:pt x="133" y="4"/>
                    <a:pt x="133" y="4"/>
                    <a:pt x="133" y="4"/>
                  </a:cubicBezTo>
                  <a:cubicBezTo>
                    <a:pt x="134" y="3"/>
                    <a:pt x="135" y="3"/>
                    <a:pt x="135" y="3"/>
                  </a:cubicBezTo>
                  <a:cubicBezTo>
                    <a:pt x="135" y="3"/>
                    <a:pt x="135" y="3"/>
                    <a:pt x="135" y="2"/>
                  </a:cubicBezTo>
                  <a:cubicBezTo>
                    <a:pt x="136" y="2"/>
                    <a:pt x="136" y="2"/>
                    <a:pt x="136" y="2"/>
                  </a:cubicBezTo>
                  <a:cubicBezTo>
                    <a:pt x="136" y="2"/>
                    <a:pt x="136" y="2"/>
                    <a:pt x="136" y="2"/>
                  </a:cubicBezTo>
                  <a:cubicBezTo>
                    <a:pt x="137" y="2"/>
                    <a:pt x="137" y="2"/>
                    <a:pt x="137" y="2"/>
                  </a:cubicBezTo>
                  <a:cubicBezTo>
                    <a:pt x="137" y="2"/>
                    <a:pt x="137" y="2"/>
                    <a:pt x="137" y="2"/>
                  </a:cubicBezTo>
                  <a:cubicBezTo>
                    <a:pt x="138" y="2"/>
                    <a:pt x="139" y="2"/>
                    <a:pt x="139" y="2"/>
                  </a:cubicBezTo>
                  <a:cubicBezTo>
                    <a:pt x="139" y="2"/>
                    <a:pt x="139" y="2"/>
                    <a:pt x="139" y="1"/>
                  </a:cubicBezTo>
                  <a:cubicBezTo>
                    <a:pt x="140" y="1"/>
                    <a:pt x="141" y="1"/>
                    <a:pt x="142" y="1"/>
                  </a:cubicBezTo>
                  <a:cubicBezTo>
                    <a:pt x="142" y="1"/>
                    <a:pt x="142" y="1"/>
                    <a:pt x="142" y="1"/>
                  </a:cubicBezTo>
                  <a:cubicBezTo>
                    <a:pt x="143" y="1"/>
                    <a:pt x="144" y="1"/>
                    <a:pt x="145" y="1"/>
                  </a:cubicBezTo>
                  <a:cubicBezTo>
                    <a:pt x="145" y="1"/>
                    <a:pt x="145" y="1"/>
                    <a:pt x="145" y="1"/>
                  </a:cubicBezTo>
                  <a:cubicBezTo>
                    <a:pt x="146" y="1"/>
                    <a:pt x="147" y="1"/>
                    <a:pt x="149" y="1"/>
                  </a:cubicBezTo>
                  <a:cubicBezTo>
                    <a:pt x="149" y="1"/>
                    <a:pt x="149" y="0"/>
                    <a:pt x="149" y="0"/>
                  </a:cubicBezTo>
                  <a:cubicBezTo>
                    <a:pt x="151" y="0"/>
                    <a:pt x="152" y="0"/>
                    <a:pt x="154" y="0"/>
                  </a:cubicBezTo>
                  <a:cubicBezTo>
                    <a:pt x="154" y="0"/>
                    <a:pt x="154" y="0"/>
                    <a:pt x="154" y="0"/>
                  </a:cubicBezTo>
                  <a:cubicBezTo>
                    <a:pt x="156" y="0"/>
                    <a:pt x="157" y="0"/>
                    <a:pt x="158" y="0"/>
                  </a:cubicBezTo>
                  <a:cubicBezTo>
                    <a:pt x="161" y="0"/>
                    <a:pt x="165" y="0"/>
                    <a:pt x="167" y="0"/>
                  </a:cubicBezTo>
                  <a:cubicBezTo>
                    <a:pt x="169" y="0"/>
                    <a:pt x="171" y="0"/>
                    <a:pt x="173" y="0"/>
                  </a:cubicBezTo>
                  <a:cubicBezTo>
                    <a:pt x="173" y="0"/>
                    <a:pt x="173" y="1"/>
                    <a:pt x="173" y="1"/>
                  </a:cubicBezTo>
                  <a:cubicBezTo>
                    <a:pt x="174" y="1"/>
                    <a:pt x="175" y="1"/>
                    <a:pt x="176" y="1"/>
                  </a:cubicBezTo>
                  <a:cubicBezTo>
                    <a:pt x="176" y="1"/>
                    <a:pt x="176" y="1"/>
                    <a:pt x="176" y="1"/>
                  </a:cubicBezTo>
                  <a:cubicBezTo>
                    <a:pt x="177" y="1"/>
                    <a:pt x="178" y="1"/>
                    <a:pt x="179" y="1"/>
                  </a:cubicBezTo>
                  <a:cubicBezTo>
                    <a:pt x="179" y="1"/>
                    <a:pt x="179" y="1"/>
                    <a:pt x="179" y="1"/>
                  </a:cubicBezTo>
                  <a:cubicBezTo>
                    <a:pt x="179" y="1"/>
                    <a:pt x="180" y="1"/>
                    <a:pt x="181" y="1"/>
                  </a:cubicBezTo>
                  <a:cubicBezTo>
                    <a:pt x="181" y="2"/>
                    <a:pt x="181" y="2"/>
                    <a:pt x="181" y="2"/>
                  </a:cubicBezTo>
                  <a:cubicBezTo>
                    <a:pt x="182" y="2"/>
                    <a:pt x="182" y="2"/>
                    <a:pt x="183" y="2"/>
                  </a:cubicBezTo>
                  <a:cubicBezTo>
                    <a:pt x="186" y="3"/>
                    <a:pt x="190" y="4"/>
                    <a:pt x="193" y="5"/>
                  </a:cubicBezTo>
                  <a:cubicBezTo>
                    <a:pt x="193" y="5"/>
                    <a:pt x="193" y="5"/>
                    <a:pt x="193" y="5"/>
                  </a:cubicBezTo>
                  <a:cubicBezTo>
                    <a:pt x="193" y="5"/>
                    <a:pt x="194" y="5"/>
                    <a:pt x="194" y="5"/>
                  </a:cubicBezTo>
                  <a:cubicBezTo>
                    <a:pt x="194" y="5"/>
                    <a:pt x="194" y="5"/>
                    <a:pt x="194" y="5"/>
                  </a:cubicBezTo>
                  <a:cubicBezTo>
                    <a:pt x="194" y="5"/>
                    <a:pt x="194" y="5"/>
                    <a:pt x="195" y="5"/>
                  </a:cubicBezTo>
                  <a:cubicBezTo>
                    <a:pt x="195" y="5"/>
                    <a:pt x="195" y="5"/>
                    <a:pt x="195" y="6"/>
                  </a:cubicBezTo>
                  <a:cubicBezTo>
                    <a:pt x="196" y="6"/>
                    <a:pt x="196" y="6"/>
                    <a:pt x="197" y="6"/>
                  </a:cubicBezTo>
                  <a:cubicBezTo>
                    <a:pt x="197" y="6"/>
                    <a:pt x="197" y="7"/>
                    <a:pt x="197" y="7"/>
                  </a:cubicBezTo>
                  <a:cubicBezTo>
                    <a:pt x="198" y="7"/>
                    <a:pt x="198" y="7"/>
                    <a:pt x="199" y="7"/>
                  </a:cubicBezTo>
                  <a:cubicBezTo>
                    <a:pt x="199" y="8"/>
                    <a:pt x="199" y="8"/>
                    <a:pt x="199" y="8"/>
                  </a:cubicBezTo>
                  <a:cubicBezTo>
                    <a:pt x="200" y="8"/>
                    <a:pt x="200" y="8"/>
                    <a:pt x="201" y="8"/>
                  </a:cubicBezTo>
                  <a:cubicBezTo>
                    <a:pt x="201" y="9"/>
                    <a:pt x="201" y="9"/>
                    <a:pt x="201" y="9"/>
                  </a:cubicBezTo>
                  <a:cubicBezTo>
                    <a:pt x="202" y="9"/>
                    <a:pt x="202" y="9"/>
                    <a:pt x="202" y="9"/>
                  </a:cubicBezTo>
                  <a:cubicBezTo>
                    <a:pt x="202" y="10"/>
                    <a:pt x="203" y="10"/>
                    <a:pt x="203" y="11"/>
                  </a:cubicBezTo>
                  <a:cubicBezTo>
                    <a:pt x="203" y="11"/>
                    <a:pt x="204" y="11"/>
                    <a:pt x="204" y="11"/>
                  </a:cubicBezTo>
                  <a:cubicBezTo>
                    <a:pt x="204" y="11"/>
                    <a:pt x="204" y="11"/>
                    <a:pt x="204" y="12"/>
                  </a:cubicBezTo>
                  <a:cubicBezTo>
                    <a:pt x="205" y="12"/>
                    <a:pt x="205" y="12"/>
                    <a:pt x="206" y="13"/>
                  </a:cubicBezTo>
                  <a:cubicBezTo>
                    <a:pt x="206" y="13"/>
                    <a:pt x="206" y="13"/>
                    <a:pt x="206" y="13"/>
                  </a:cubicBezTo>
                  <a:cubicBezTo>
                    <a:pt x="206" y="14"/>
                    <a:pt x="207" y="14"/>
                    <a:pt x="207" y="14"/>
                  </a:cubicBezTo>
                  <a:cubicBezTo>
                    <a:pt x="207" y="15"/>
                    <a:pt x="207" y="15"/>
                    <a:pt x="207" y="15"/>
                  </a:cubicBezTo>
                  <a:cubicBezTo>
                    <a:pt x="207" y="15"/>
                    <a:pt x="208" y="15"/>
                    <a:pt x="208" y="15"/>
                  </a:cubicBezTo>
                  <a:cubicBezTo>
                    <a:pt x="208" y="16"/>
                    <a:pt x="208" y="16"/>
                    <a:pt x="208" y="16"/>
                  </a:cubicBezTo>
                  <a:cubicBezTo>
                    <a:pt x="208" y="16"/>
                    <a:pt x="208" y="16"/>
                    <a:pt x="208" y="16"/>
                  </a:cubicBezTo>
                  <a:cubicBezTo>
                    <a:pt x="208" y="17"/>
                    <a:pt x="209" y="17"/>
                    <a:pt x="209" y="18"/>
                  </a:cubicBezTo>
                  <a:cubicBezTo>
                    <a:pt x="209" y="18"/>
                    <a:pt x="209" y="18"/>
                    <a:pt x="209" y="18"/>
                  </a:cubicBezTo>
                  <a:cubicBezTo>
                    <a:pt x="210" y="20"/>
                    <a:pt x="211" y="27"/>
                    <a:pt x="211" y="29"/>
                  </a:cubicBezTo>
                  <a:cubicBezTo>
                    <a:pt x="210" y="29"/>
                    <a:pt x="210" y="29"/>
                    <a:pt x="210" y="29"/>
                  </a:cubicBezTo>
                  <a:cubicBezTo>
                    <a:pt x="210" y="30"/>
                    <a:pt x="210" y="31"/>
                    <a:pt x="210" y="32"/>
                  </a:cubicBezTo>
                  <a:cubicBezTo>
                    <a:pt x="210" y="32"/>
                    <a:pt x="210" y="32"/>
                    <a:pt x="210" y="32"/>
                  </a:cubicBezTo>
                  <a:cubicBezTo>
                    <a:pt x="210" y="32"/>
                    <a:pt x="210" y="33"/>
                    <a:pt x="210" y="33"/>
                  </a:cubicBezTo>
                  <a:cubicBezTo>
                    <a:pt x="210" y="33"/>
                    <a:pt x="210" y="33"/>
                    <a:pt x="209" y="33"/>
                  </a:cubicBezTo>
                  <a:cubicBezTo>
                    <a:pt x="209" y="34"/>
                    <a:pt x="209" y="34"/>
                    <a:pt x="209" y="35"/>
                  </a:cubicBezTo>
                  <a:cubicBezTo>
                    <a:pt x="209" y="35"/>
                    <a:pt x="209" y="35"/>
                    <a:pt x="209" y="35"/>
                  </a:cubicBezTo>
                  <a:cubicBezTo>
                    <a:pt x="209" y="35"/>
                    <a:pt x="209" y="36"/>
                    <a:pt x="209" y="36"/>
                  </a:cubicBezTo>
                  <a:cubicBezTo>
                    <a:pt x="209" y="36"/>
                    <a:pt x="209" y="36"/>
                    <a:pt x="209" y="36"/>
                  </a:cubicBezTo>
                  <a:cubicBezTo>
                    <a:pt x="209" y="36"/>
                    <a:pt x="209" y="37"/>
                    <a:pt x="209" y="37"/>
                  </a:cubicBezTo>
                  <a:cubicBezTo>
                    <a:pt x="209" y="37"/>
                    <a:pt x="209" y="37"/>
                    <a:pt x="208" y="37"/>
                  </a:cubicBezTo>
                  <a:cubicBezTo>
                    <a:pt x="208" y="37"/>
                    <a:pt x="208" y="38"/>
                    <a:pt x="208" y="38"/>
                  </a:cubicBezTo>
                  <a:cubicBezTo>
                    <a:pt x="208" y="38"/>
                    <a:pt x="208" y="38"/>
                    <a:pt x="208" y="38"/>
                  </a:cubicBezTo>
                  <a:cubicBezTo>
                    <a:pt x="208" y="38"/>
                    <a:pt x="208" y="39"/>
                    <a:pt x="208" y="39"/>
                  </a:cubicBezTo>
                  <a:cubicBezTo>
                    <a:pt x="208" y="39"/>
                    <a:pt x="208" y="39"/>
                    <a:pt x="208" y="39"/>
                  </a:cubicBezTo>
                  <a:cubicBezTo>
                    <a:pt x="208" y="39"/>
                    <a:pt x="208" y="40"/>
                    <a:pt x="208" y="40"/>
                  </a:cubicBezTo>
                  <a:cubicBezTo>
                    <a:pt x="208" y="40"/>
                    <a:pt x="208" y="40"/>
                    <a:pt x="207" y="40"/>
                  </a:cubicBezTo>
                  <a:cubicBezTo>
                    <a:pt x="207" y="40"/>
                    <a:pt x="207" y="41"/>
                    <a:pt x="207" y="41"/>
                  </a:cubicBezTo>
                  <a:cubicBezTo>
                    <a:pt x="207" y="41"/>
                    <a:pt x="207" y="41"/>
                    <a:pt x="207" y="41"/>
                  </a:cubicBezTo>
                  <a:cubicBezTo>
                    <a:pt x="207" y="41"/>
                    <a:pt x="207" y="42"/>
                    <a:pt x="207" y="42"/>
                  </a:cubicBezTo>
                  <a:cubicBezTo>
                    <a:pt x="207" y="42"/>
                    <a:pt x="206" y="42"/>
                    <a:pt x="206" y="42"/>
                  </a:cubicBezTo>
                  <a:cubicBezTo>
                    <a:pt x="206" y="43"/>
                    <a:pt x="206" y="43"/>
                    <a:pt x="206" y="43"/>
                  </a:cubicBezTo>
                  <a:cubicBezTo>
                    <a:pt x="206" y="43"/>
                    <a:pt x="206" y="43"/>
                    <a:pt x="206" y="43"/>
                  </a:cubicBezTo>
                  <a:cubicBezTo>
                    <a:pt x="206" y="44"/>
                    <a:pt x="206" y="44"/>
                    <a:pt x="206" y="45"/>
                  </a:cubicBezTo>
                  <a:cubicBezTo>
                    <a:pt x="206" y="45"/>
                    <a:pt x="205" y="45"/>
                    <a:pt x="205" y="45"/>
                  </a:cubicBezTo>
                  <a:cubicBezTo>
                    <a:pt x="205" y="45"/>
                    <a:pt x="205" y="46"/>
                    <a:pt x="205" y="47"/>
                  </a:cubicBezTo>
                  <a:cubicBezTo>
                    <a:pt x="205" y="47"/>
                    <a:pt x="205" y="47"/>
                    <a:pt x="205" y="47"/>
                  </a:cubicBezTo>
                  <a:cubicBezTo>
                    <a:pt x="204" y="47"/>
                    <a:pt x="204" y="48"/>
                    <a:pt x="204" y="49"/>
                  </a:cubicBezTo>
                  <a:cubicBezTo>
                    <a:pt x="204" y="49"/>
                    <a:pt x="204" y="49"/>
                    <a:pt x="204" y="49"/>
                  </a:cubicBezTo>
                  <a:cubicBezTo>
                    <a:pt x="204" y="49"/>
                    <a:pt x="204" y="49"/>
                    <a:pt x="204" y="49"/>
                  </a:cubicBezTo>
                  <a:cubicBezTo>
                    <a:pt x="203" y="49"/>
                    <a:pt x="203" y="49"/>
                    <a:pt x="203" y="49"/>
                  </a:cubicBezTo>
                  <a:cubicBezTo>
                    <a:pt x="203" y="50"/>
                    <a:pt x="203" y="50"/>
                    <a:pt x="203" y="50"/>
                  </a:cubicBezTo>
                  <a:cubicBezTo>
                    <a:pt x="203" y="50"/>
                    <a:pt x="203" y="50"/>
                    <a:pt x="203" y="50"/>
                  </a:cubicBezTo>
                  <a:cubicBezTo>
                    <a:pt x="203" y="50"/>
                    <a:pt x="203" y="50"/>
                    <a:pt x="203" y="51"/>
                  </a:cubicBezTo>
                  <a:cubicBezTo>
                    <a:pt x="203" y="51"/>
                    <a:pt x="203" y="51"/>
                    <a:pt x="202" y="51"/>
                  </a:cubicBezTo>
                  <a:cubicBezTo>
                    <a:pt x="202" y="51"/>
                    <a:pt x="202" y="51"/>
                    <a:pt x="202" y="51"/>
                  </a:cubicBezTo>
                  <a:cubicBezTo>
                    <a:pt x="202" y="51"/>
                    <a:pt x="202" y="51"/>
                    <a:pt x="202" y="51"/>
                  </a:cubicBezTo>
                  <a:cubicBezTo>
                    <a:pt x="202" y="52"/>
                    <a:pt x="202" y="52"/>
                    <a:pt x="202" y="52"/>
                  </a:cubicBezTo>
                  <a:cubicBezTo>
                    <a:pt x="202" y="52"/>
                    <a:pt x="202" y="52"/>
                    <a:pt x="202" y="52"/>
                  </a:cubicBezTo>
                  <a:cubicBezTo>
                    <a:pt x="202" y="52"/>
                    <a:pt x="202" y="53"/>
                    <a:pt x="202" y="53"/>
                  </a:cubicBezTo>
                  <a:cubicBezTo>
                    <a:pt x="202" y="53"/>
                    <a:pt x="202" y="53"/>
                    <a:pt x="201" y="53"/>
                  </a:cubicBezTo>
                  <a:cubicBezTo>
                    <a:pt x="201" y="53"/>
                    <a:pt x="201" y="53"/>
                    <a:pt x="201" y="54"/>
                  </a:cubicBezTo>
                  <a:cubicBezTo>
                    <a:pt x="201" y="54"/>
                    <a:pt x="201" y="54"/>
                    <a:pt x="201" y="54"/>
                  </a:cubicBezTo>
                  <a:cubicBezTo>
                    <a:pt x="201" y="54"/>
                    <a:pt x="201" y="54"/>
                    <a:pt x="201" y="54"/>
                  </a:cubicBezTo>
                  <a:cubicBezTo>
                    <a:pt x="201" y="54"/>
                    <a:pt x="201" y="54"/>
                    <a:pt x="201" y="54"/>
                  </a:cubicBezTo>
                  <a:cubicBezTo>
                    <a:pt x="201" y="54"/>
                    <a:pt x="201" y="55"/>
                    <a:pt x="201" y="55"/>
                  </a:cubicBezTo>
                  <a:cubicBezTo>
                    <a:pt x="201" y="55"/>
                    <a:pt x="200" y="55"/>
                    <a:pt x="200" y="55"/>
                  </a:cubicBezTo>
                  <a:cubicBezTo>
                    <a:pt x="200" y="55"/>
                    <a:pt x="200" y="56"/>
                    <a:pt x="200" y="56"/>
                  </a:cubicBezTo>
                  <a:cubicBezTo>
                    <a:pt x="200" y="56"/>
                    <a:pt x="200" y="56"/>
                    <a:pt x="200" y="56"/>
                  </a:cubicBezTo>
                  <a:cubicBezTo>
                    <a:pt x="200" y="56"/>
                    <a:pt x="200" y="56"/>
                    <a:pt x="200" y="57"/>
                  </a:cubicBezTo>
                  <a:cubicBezTo>
                    <a:pt x="200" y="57"/>
                    <a:pt x="199" y="57"/>
                    <a:pt x="199" y="57"/>
                  </a:cubicBezTo>
                  <a:cubicBezTo>
                    <a:pt x="199" y="57"/>
                    <a:pt x="199" y="57"/>
                    <a:pt x="199" y="57"/>
                  </a:cubicBezTo>
                  <a:cubicBezTo>
                    <a:pt x="199" y="57"/>
                    <a:pt x="199" y="57"/>
                    <a:pt x="199" y="57"/>
                  </a:cubicBezTo>
                  <a:cubicBezTo>
                    <a:pt x="199" y="58"/>
                    <a:pt x="199" y="58"/>
                    <a:pt x="199" y="58"/>
                  </a:cubicBezTo>
                  <a:cubicBezTo>
                    <a:pt x="199" y="58"/>
                    <a:pt x="199" y="58"/>
                    <a:pt x="198" y="58"/>
                  </a:cubicBezTo>
                  <a:cubicBezTo>
                    <a:pt x="198" y="59"/>
                    <a:pt x="198" y="59"/>
                    <a:pt x="198" y="59"/>
                  </a:cubicBezTo>
                  <a:cubicBezTo>
                    <a:pt x="198" y="59"/>
                    <a:pt x="198" y="59"/>
                    <a:pt x="198" y="59"/>
                  </a:cubicBezTo>
                  <a:cubicBezTo>
                    <a:pt x="198" y="59"/>
                    <a:pt x="198" y="60"/>
                    <a:pt x="198" y="60"/>
                  </a:cubicBezTo>
                  <a:cubicBezTo>
                    <a:pt x="198" y="60"/>
                    <a:pt x="197" y="60"/>
                    <a:pt x="197" y="60"/>
                  </a:cubicBezTo>
                  <a:cubicBezTo>
                    <a:pt x="197" y="61"/>
                    <a:pt x="197" y="61"/>
                    <a:pt x="197" y="62"/>
                  </a:cubicBezTo>
                  <a:cubicBezTo>
                    <a:pt x="197" y="62"/>
                    <a:pt x="196" y="62"/>
                    <a:pt x="196" y="62"/>
                  </a:cubicBezTo>
                  <a:cubicBezTo>
                    <a:pt x="196" y="62"/>
                    <a:pt x="196" y="63"/>
                    <a:pt x="196" y="63"/>
                  </a:cubicBezTo>
                  <a:cubicBezTo>
                    <a:pt x="196" y="63"/>
                    <a:pt x="195" y="64"/>
                    <a:pt x="195" y="64"/>
                  </a:cubicBezTo>
                  <a:cubicBezTo>
                    <a:pt x="195" y="64"/>
                    <a:pt x="195" y="64"/>
                    <a:pt x="195" y="64"/>
                  </a:cubicBezTo>
                  <a:cubicBezTo>
                    <a:pt x="195" y="64"/>
                    <a:pt x="195" y="65"/>
                    <a:pt x="194" y="65"/>
                  </a:cubicBezTo>
                  <a:cubicBezTo>
                    <a:pt x="194" y="65"/>
                    <a:pt x="194" y="65"/>
                    <a:pt x="194" y="65"/>
                  </a:cubicBezTo>
                  <a:cubicBezTo>
                    <a:pt x="194" y="66"/>
                    <a:pt x="194" y="66"/>
                    <a:pt x="194" y="66"/>
                  </a:cubicBezTo>
                  <a:cubicBezTo>
                    <a:pt x="194" y="66"/>
                    <a:pt x="194" y="66"/>
                    <a:pt x="194" y="66"/>
                  </a:cubicBezTo>
                  <a:cubicBezTo>
                    <a:pt x="194" y="67"/>
                    <a:pt x="193" y="67"/>
                    <a:pt x="193" y="67"/>
                  </a:cubicBezTo>
                  <a:cubicBezTo>
                    <a:pt x="193" y="67"/>
                    <a:pt x="193" y="67"/>
                    <a:pt x="193" y="68"/>
                  </a:cubicBezTo>
                  <a:cubicBezTo>
                    <a:pt x="193" y="68"/>
                    <a:pt x="193" y="68"/>
                    <a:pt x="192" y="68"/>
                  </a:cubicBezTo>
                  <a:cubicBezTo>
                    <a:pt x="192" y="68"/>
                    <a:pt x="192" y="68"/>
                    <a:pt x="192" y="69"/>
                  </a:cubicBezTo>
                  <a:cubicBezTo>
                    <a:pt x="192" y="69"/>
                    <a:pt x="192" y="69"/>
                    <a:pt x="192" y="69"/>
                  </a:cubicBezTo>
                  <a:cubicBezTo>
                    <a:pt x="192" y="69"/>
                    <a:pt x="192" y="69"/>
                    <a:pt x="192" y="70"/>
                  </a:cubicBezTo>
                  <a:cubicBezTo>
                    <a:pt x="191" y="70"/>
                    <a:pt x="191" y="70"/>
                    <a:pt x="191" y="70"/>
                  </a:cubicBezTo>
                  <a:cubicBezTo>
                    <a:pt x="191" y="70"/>
                    <a:pt x="191" y="71"/>
                    <a:pt x="191" y="71"/>
                  </a:cubicBezTo>
                  <a:cubicBezTo>
                    <a:pt x="190" y="71"/>
                    <a:pt x="190" y="71"/>
                    <a:pt x="190" y="72"/>
                  </a:cubicBezTo>
                  <a:cubicBezTo>
                    <a:pt x="190" y="72"/>
                    <a:pt x="190" y="72"/>
                    <a:pt x="190" y="72"/>
                  </a:cubicBezTo>
                  <a:cubicBezTo>
                    <a:pt x="189" y="73"/>
                    <a:pt x="189" y="73"/>
                    <a:pt x="189" y="73"/>
                  </a:cubicBezTo>
                  <a:cubicBezTo>
                    <a:pt x="189" y="73"/>
                    <a:pt x="189" y="74"/>
                    <a:pt x="189" y="74"/>
                  </a:cubicBezTo>
                  <a:cubicBezTo>
                    <a:pt x="188" y="74"/>
                    <a:pt x="188" y="74"/>
                    <a:pt x="188" y="74"/>
                  </a:cubicBezTo>
                  <a:cubicBezTo>
                    <a:pt x="188" y="74"/>
                    <a:pt x="188" y="75"/>
                    <a:pt x="187" y="75"/>
                  </a:cubicBezTo>
                  <a:cubicBezTo>
                    <a:pt x="187" y="76"/>
                    <a:pt x="186" y="76"/>
                    <a:pt x="186" y="77"/>
                  </a:cubicBezTo>
                  <a:cubicBezTo>
                    <a:pt x="186" y="77"/>
                    <a:pt x="186" y="77"/>
                    <a:pt x="186" y="77"/>
                  </a:cubicBezTo>
                  <a:cubicBezTo>
                    <a:pt x="185" y="78"/>
                    <a:pt x="184" y="78"/>
                    <a:pt x="184" y="79"/>
                  </a:cubicBezTo>
                  <a:cubicBezTo>
                    <a:pt x="184" y="79"/>
                    <a:pt x="184" y="80"/>
                    <a:pt x="184" y="80"/>
                  </a:cubicBezTo>
                  <a:cubicBezTo>
                    <a:pt x="182" y="81"/>
                    <a:pt x="180" y="83"/>
                    <a:pt x="179" y="84"/>
                  </a:cubicBezTo>
                  <a:cubicBezTo>
                    <a:pt x="177" y="86"/>
                    <a:pt x="175" y="88"/>
                    <a:pt x="173" y="90"/>
                  </a:cubicBezTo>
                  <a:cubicBezTo>
                    <a:pt x="173" y="90"/>
                    <a:pt x="173" y="90"/>
                    <a:pt x="172" y="90"/>
                  </a:cubicBezTo>
                  <a:cubicBezTo>
                    <a:pt x="172" y="91"/>
                    <a:pt x="171" y="92"/>
                    <a:pt x="171" y="92"/>
                  </a:cubicBezTo>
                  <a:cubicBezTo>
                    <a:pt x="170" y="92"/>
                    <a:pt x="170" y="92"/>
                    <a:pt x="170" y="92"/>
                  </a:cubicBezTo>
                  <a:cubicBezTo>
                    <a:pt x="170" y="93"/>
                    <a:pt x="169" y="94"/>
                    <a:pt x="169" y="94"/>
                  </a:cubicBezTo>
                  <a:cubicBezTo>
                    <a:pt x="168" y="94"/>
                    <a:pt x="168" y="94"/>
                    <a:pt x="168" y="94"/>
                  </a:cubicBezTo>
                  <a:cubicBezTo>
                    <a:pt x="168" y="95"/>
                    <a:pt x="167" y="95"/>
                    <a:pt x="167" y="95"/>
                  </a:cubicBezTo>
                  <a:cubicBezTo>
                    <a:pt x="164" y="98"/>
                    <a:pt x="161" y="99"/>
                    <a:pt x="159" y="102"/>
                  </a:cubicBezTo>
                  <a:cubicBezTo>
                    <a:pt x="158" y="103"/>
                    <a:pt x="157" y="104"/>
                    <a:pt x="157" y="105"/>
                  </a:cubicBezTo>
                  <a:cubicBezTo>
                    <a:pt x="157" y="106"/>
                    <a:pt x="156" y="107"/>
                    <a:pt x="156" y="107"/>
                  </a:cubicBezTo>
                  <a:cubicBezTo>
                    <a:pt x="156" y="107"/>
                    <a:pt x="156" y="107"/>
                    <a:pt x="156" y="107"/>
                  </a:cubicBezTo>
                  <a:cubicBezTo>
                    <a:pt x="156" y="108"/>
                    <a:pt x="156" y="108"/>
                    <a:pt x="156" y="108"/>
                  </a:cubicBezTo>
                  <a:cubicBezTo>
                    <a:pt x="156" y="108"/>
                    <a:pt x="156" y="108"/>
                    <a:pt x="156" y="108"/>
                  </a:cubicBezTo>
                  <a:cubicBezTo>
                    <a:pt x="155" y="109"/>
                    <a:pt x="155" y="110"/>
                    <a:pt x="155" y="111"/>
                  </a:cubicBezTo>
                  <a:cubicBezTo>
                    <a:pt x="155" y="111"/>
                    <a:pt x="155" y="111"/>
                    <a:pt x="155" y="111"/>
                  </a:cubicBezTo>
                  <a:cubicBezTo>
                    <a:pt x="155" y="111"/>
                    <a:pt x="155" y="111"/>
                    <a:pt x="155" y="111"/>
                  </a:cubicBezTo>
                  <a:cubicBezTo>
                    <a:pt x="154" y="112"/>
                    <a:pt x="154" y="112"/>
                    <a:pt x="153" y="112"/>
                  </a:cubicBezTo>
                  <a:cubicBezTo>
                    <a:pt x="153" y="113"/>
                    <a:pt x="153" y="113"/>
                    <a:pt x="153" y="113"/>
                  </a:cubicBezTo>
                  <a:cubicBezTo>
                    <a:pt x="153" y="113"/>
                    <a:pt x="152" y="114"/>
                    <a:pt x="152" y="114"/>
                  </a:cubicBezTo>
                  <a:cubicBezTo>
                    <a:pt x="152" y="114"/>
                    <a:pt x="152" y="114"/>
                    <a:pt x="151" y="115"/>
                  </a:cubicBezTo>
                  <a:cubicBezTo>
                    <a:pt x="151" y="115"/>
                    <a:pt x="151" y="115"/>
                    <a:pt x="151" y="115"/>
                  </a:cubicBezTo>
                  <a:cubicBezTo>
                    <a:pt x="150" y="115"/>
                    <a:pt x="150" y="116"/>
                    <a:pt x="149" y="117"/>
                  </a:cubicBezTo>
                  <a:cubicBezTo>
                    <a:pt x="149" y="117"/>
                    <a:pt x="149" y="117"/>
                    <a:pt x="148" y="117"/>
                  </a:cubicBezTo>
                  <a:cubicBezTo>
                    <a:pt x="148" y="117"/>
                    <a:pt x="147" y="118"/>
                    <a:pt x="147" y="119"/>
                  </a:cubicBezTo>
                  <a:cubicBezTo>
                    <a:pt x="147" y="119"/>
                    <a:pt x="146" y="119"/>
                    <a:pt x="146" y="119"/>
                  </a:cubicBezTo>
                  <a:cubicBezTo>
                    <a:pt x="146" y="119"/>
                    <a:pt x="146" y="119"/>
                    <a:pt x="145" y="120"/>
                  </a:cubicBezTo>
                  <a:cubicBezTo>
                    <a:pt x="145" y="120"/>
                    <a:pt x="145" y="120"/>
                    <a:pt x="145" y="120"/>
                  </a:cubicBezTo>
                  <a:cubicBezTo>
                    <a:pt x="144" y="120"/>
                    <a:pt x="144" y="121"/>
                    <a:pt x="144" y="121"/>
                  </a:cubicBezTo>
                  <a:cubicBezTo>
                    <a:pt x="143" y="121"/>
                    <a:pt x="143" y="121"/>
                    <a:pt x="143" y="121"/>
                  </a:cubicBezTo>
                  <a:cubicBezTo>
                    <a:pt x="143" y="122"/>
                    <a:pt x="142" y="122"/>
                    <a:pt x="142" y="122"/>
                  </a:cubicBezTo>
                  <a:cubicBezTo>
                    <a:pt x="142" y="122"/>
                    <a:pt x="142" y="122"/>
                    <a:pt x="142" y="122"/>
                  </a:cubicBezTo>
                  <a:cubicBezTo>
                    <a:pt x="142" y="122"/>
                    <a:pt x="141" y="123"/>
                    <a:pt x="141" y="123"/>
                  </a:cubicBezTo>
                  <a:cubicBezTo>
                    <a:pt x="141" y="123"/>
                    <a:pt x="141" y="123"/>
                    <a:pt x="141" y="123"/>
                  </a:cubicBezTo>
                  <a:cubicBezTo>
                    <a:pt x="140" y="123"/>
                    <a:pt x="140" y="123"/>
                    <a:pt x="140" y="124"/>
                  </a:cubicBezTo>
                  <a:cubicBezTo>
                    <a:pt x="140" y="124"/>
                    <a:pt x="139" y="124"/>
                    <a:pt x="139" y="124"/>
                  </a:cubicBezTo>
                  <a:cubicBezTo>
                    <a:pt x="139" y="124"/>
                    <a:pt x="139" y="124"/>
                    <a:pt x="139" y="125"/>
                  </a:cubicBezTo>
                  <a:cubicBezTo>
                    <a:pt x="139" y="125"/>
                    <a:pt x="138" y="125"/>
                    <a:pt x="138" y="125"/>
                  </a:cubicBezTo>
                  <a:cubicBezTo>
                    <a:pt x="138" y="125"/>
                    <a:pt x="138" y="125"/>
                    <a:pt x="138" y="125"/>
                  </a:cubicBezTo>
                  <a:cubicBezTo>
                    <a:pt x="138" y="125"/>
                    <a:pt x="137" y="125"/>
                    <a:pt x="137" y="125"/>
                  </a:cubicBezTo>
                  <a:cubicBezTo>
                    <a:pt x="137" y="125"/>
                    <a:pt x="137" y="126"/>
                    <a:pt x="137" y="126"/>
                  </a:cubicBezTo>
                  <a:cubicBezTo>
                    <a:pt x="137" y="126"/>
                    <a:pt x="136" y="126"/>
                    <a:pt x="136" y="126"/>
                  </a:cubicBezTo>
                  <a:cubicBezTo>
                    <a:pt x="136" y="126"/>
                    <a:pt x="136" y="126"/>
                    <a:pt x="136" y="127"/>
                  </a:cubicBezTo>
                  <a:cubicBezTo>
                    <a:pt x="135" y="127"/>
                    <a:pt x="135" y="127"/>
                    <a:pt x="135" y="127"/>
                  </a:cubicBezTo>
                  <a:cubicBezTo>
                    <a:pt x="135" y="127"/>
                    <a:pt x="135" y="127"/>
                    <a:pt x="135" y="127"/>
                  </a:cubicBezTo>
                  <a:cubicBezTo>
                    <a:pt x="134" y="127"/>
                    <a:pt x="134" y="127"/>
                    <a:pt x="134" y="127"/>
                  </a:cubicBezTo>
                  <a:cubicBezTo>
                    <a:pt x="134" y="128"/>
                    <a:pt x="134" y="128"/>
                    <a:pt x="134" y="128"/>
                  </a:cubicBezTo>
                  <a:cubicBezTo>
                    <a:pt x="133" y="128"/>
                    <a:pt x="133" y="128"/>
                    <a:pt x="133" y="128"/>
                  </a:cubicBezTo>
                  <a:cubicBezTo>
                    <a:pt x="133" y="128"/>
                    <a:pt x="133" y="128"/>
                    <a:pt x="133" y="129"/>
                  </a:cubicBezTo>
                  <a:cubicBezTo>
                    <a:pt x="132" y="129"/>
                    <a:pt x="132" y="129"/>
                    <a:pt x="132" y="129"/>
                  </a:cubicBezTo>
                  <a:cubicBezTo>
                    <a:pt x="132" y="129"/>
                    <a:pt x="132" y="129"/>
                    <a:pt x="132" y="129"/>
                  </a:cubicBezTo>
                  <a:cubicBezTo>
                    <a:pt x="132" y="129"/>
                    <a:pt x="131" y="129"/>
                    <a:pt x="131" y="129"/>
                  </a:cubicBezTo>
                  <a:cubicBezTo>
                    <a:pt x="131" y="130"/>
                    <a:pt x="131" y="130"/>
                    <a:pt x="130" y="130"/>
                  </a:cubicBezTo>
                  <a:cubicBezTo>
                    <a:pt x="130" y="130"/>
                    <a:pt x="130" y="130"/>
                    <a:pt x="130" y="130"/>
                  </a:cubicBezTo>
                  <a:cubicBezTo>
                    <a:pt x="130" y="130"/>
                    <a:pt x="129" y="131"/>
                    <a:pt x="129" y="131"/>
                  </a:cubicBezTo>
                  <a:cubicBezTo>
                    <a:pt x="129" y="131"/>
                    <a:pt x="129" y="131"/>
                    <a:pt x="128" y="131"/>
                  </a:cubicBezTo>
                  <a:cubicBezTo>
                    <a:pt x="128" y="131"/>
                    <a:pt x="128" y="132"/>
                    <a:pt x="128" y="132"/>
                  </a:cubicBezTo>
                  <a:cubicBezTo>
                    <a:pt x="128" y="132"/>
                    <a:pt x="128" y="132"/>
                    <a:pt x="127" y="132"/>
                  </a:cubicBezTo>
                  <a:cubicBezTo>
                    <a:pt x="127" y="132"/>
                    <a:pt x="127" y="133"/>
                    <a:pt x="127" y="133"/>
                  </a:cubicBezTo>
                  <a:cubicBezTo>
                    <a:pt x="126" y="133"/>
                    <a:pt x="126" y="133"/>
                    <a:pt x="126" y="133"/>
                  </a:cubicBezTo>
                  <a:cubicBezTo>
                    <a:pt x="126" y="133"/>
                    <a:pt x="125" y="134"/>
                    <a:pt x="125" y="134"/>
                  </a:cubicBezTo>
                  <a:cubicBezTo>
                    <a:pt x="125" y="134"/>
                    <a:pt x="124" y="134"/>
                    <a:pt x="124" y="134"/>
                  </a:cubicBezTo>
                  <a:cubicBezTo>
                    <a:pt x="124" y="135"/>
                    <a:pt x="123" y="136"/>
                    <a:pt x="122" y="136"/>
                  </a:cubicBezTo>
                  <a:cubicBezTo>
                    <a:pt x="122" y="136"/>
                    <a:pt x="122" y="136"/>
                    <a:pt x="122" y="136"/>
                  </a:cubicBezTo>
                  <a:cubicBezTo>
                    <a:pt x="121" y="137"/>
                    <a:pt x="121" y="138"/>
                    <a:pt x="120" y="138"/>
                  </a:cubicBezTo>
                  <a:cubicBezTo>
                    <a:pt x="119" y="139"/>
                    <a:pt x="118" y="140"/>
                    <a:pt x="117" y="141"/>
                  </a:cubicBezTo>
                  <a:cubicBezTo>
                    <a:pt x="117" y="141"/>
                    <a:pt x="117" y="141"/>
                    <a:pt x="117" y="142"/>
                  </a:cubicBezTo>
                  <a:cubicBezTo>
                    <a:pt x="117" y="142"/>
                    <a:pt x="116" y="143"/>
                    <a:pt x="115" y="143"/>
                  </a:cubicBezTo>
                  <a:cubicBezTo>
                    <a:pt x="115" y="143"/>
                    <a:pt x="115" y="144"/>
                    <a:pt x="115" y="144"/>
                  </a:cubicBezTo>
                  <a:cubicBezTo>
                    <a:pt x="115" y="144"/>
                    <a:pt x="115" y="144"/>
                    <a:pt x="114" y="144"/>
                  </a:cubicBezTo>
                  <a:cubicBezTo>
                    <a:pt x="114" y="145"/>
                    <a:pt x="114" y="145"/>
                    <a:pt x="114" y="145"/>
                  </a:cubicBezTo>
                  <a:cubicBezTo>
                    <a:pt x="114" y="145"/>
                    <a:pt x="114" y="145"/>
                    <a:pt x="114" y="145"/>
                  </a:cubicBezTo>
                  <a:cubicBezTo>
                    <a:pt x="114" y="146"/>
                    <a:pt x="114" y="146"/>
                    <a:pt x="114" y="146"/>
                  </a:cubicBezTo>
                  <a:cubicBezTo>
                    <a:pt x="113" y="146"/>
                    <a:pt x="113" y="146"/>
                    <a:pt x="113" y="147"/>
                  </a:cubicBezTo>
                  <a:cubicBezTo>
                    <a:pt x="113" y="147"/>
                    <a:pt x="113" y="147"/>
                    <a:pt x="113" y="148"/>
                  </a:cubicBezTo>
                  <a:cubicBezTo>
                    <a:pt x="112" y="148"/>
                    <a:pt x="112" y="148"/>
                    <a:pt x="112" y="148"/>
                  </a:cubicBezTo>
                  <a:cubicBezTo>
                    <a:pt x="111" y="151"/>
                    <a:pt x="110" y="153"/>
                    <a:pt x="109" y="156"/>
                  </a:cubicBezTo>
                  <a:cubicBezTo>
                    <a:pt x="109" y="156"/>
                    <a:pt x="109" y="157"/>
                    <a:pt x="109" y="157"/>
                  </a:cubicBezTo>
                  <a:cubicBezTo>
                    <a:pt x="109" y="157"/>
                    <a:pt x="109" y="157"/>
                    <a:pt x="108" y="157"/>
                  </a:cubicBezTo>
                  <a:cubicBezTo>
                    <a:pt x="108" y="157"/>
                    <a:pt x="108" y="158"/>
                    <a:pt x="108" y="158"/>
                  </a:cubicBezTo>
                  <a:cubicBezTo>
                    <a:pt x="108" y="158"/>
                    <a:pt x="108" y="158"/>
                    <a:pt x="108" y="158"/>
                  </a:cubicBezTo>
                  <a:cubicBezTo>
                    <a:pt x="108" y="158"/>
                    <a:pt x="108" y="159"/>
                    <a:pt x="108" y="159"/>
                  </a:cubicBezTo>
                  <a:cubicBezTo>
                    <a:pt x="108" y="159"/>
                    <a:pt x="108" y="159"/>
                    <a:pt x="108" y="159"/>
                  </a:cubicBezTo>
                  <a:cubicBezTo>
                    <a:pt x="108" y="159"/>
                    <a:pt x="108" y="160"/>
                    <a:pt x="108" y="160"/>
                  </a:cubicBezTo>
                  <a:cubicBezTo>
                    <a:pt x="108" y="160"/>
                    <a:pt x="107" y="160"/>
                    <a:pt x="107" y="160"/>
                  </a:cubicBezTo>
                  <a:cubicBezTo>
                    <a:pt x="107" y="161"/>
                    <a:pt x="107" y="161"/>
                    <a:pt x="107" y="161"/>
                  </a:cubicBezTo>
                  <a:cubicBezTo>
                    <a:pt x="107" y="161"/>
                    <a:pt x="107" y="161"/>
                    <a:pt x="107" y="161"/>
                  </a:cubicBezTo>
                  <a:cubicBezTo>
                    <a:pt x="107" y="161"/>
                    <a:pt x="107" y="162"/>
                    <a:pt x="107" y="162"/>
                  </a:cubicBezTo>
                  <a:cubicBezTo>
                    <a:pt x="107" y="162"/>
                    <a:pt x="107" y="162"/>
                    <a:pt x="107" y="162"/>
                  </a:cubicBezTo>
                  <a:cubicBezTo>
                    <a:pt x="107" y="163"/>
                    <a:pt x="106" y="163"/>
                    <a:pt x="106" y="164"/>
                  </a:cubicBezTo>
                  <a:cubicBezTo>
                    <a:pt x="106" y="164"/>
                    <a:pt x="106" y="164"/>
                    <a:pt x="106" y="164"/>
                  </a:cubicBezTo>
                  <a:cubicBezTo>
                    <a:pt x="106" y="164"/>
                    <a:pt x="106" y="164"/>
                    <a:pt x="106" y="165"/>
                  </a:cubicBezTo>
                  <a:cubicBezTo>
                    <a:pt x="106" y="165"/>
                    <a:pt x="106" y="165"/>
                    <a:pt x="106" y="165"/>
                  </a:cubicBezTo>
                  <a:cubicBezTo>
                    <a:pt x="106" y="165"/>
                    <a:pt x="106" y="165"/>
                    <a:pt x="106" y="166"/>
                  </a:cubicBezTo>
                  <a:cubicBezTo>
                    <a:pt x="106" y="166"/>
                    <a:pt x="105" y="166"/>
                    <a:pt x="105" y="166"/>
                  </a:cubicBezTo>
                  <a:cubicBezTo>
                    <a:pt x="105" y="166"/>
                    <a:pt x="105" y="167"/>
                    <a:pt x="105" y="167"/>
                  </a:cubicBezTo>
                  <a:cubicBezTo>
                    <a:pt x="105" y="167"/>
                    <a:pt x="105" y="167"/>
                    <a:pt x="105" y="167"/>
                  </a:cubicBezTo>
                  <a:cubicBezTo>
                    <a:pt x="105" y="168"/>
                    <a:pt x="105" y="168"/>
                    <a:pt x="105" y="168"/>
                  </a:cubicBezTo>
                  <a:cubicBezTo>
                    <a:pt x="104" y="168"/>
                    <a:pt x="104" y="168"/>
                    <a:pt x="104" y="168"/>
                  </a:cubicBezTo>
                  <a:cubicBezTo>
                    <a:pt x="104" y="169"/>
                    <a:pt x="104" y="169"/>
                    <a:pt x="104" y="170"/>
                  </a:cubicBezTo>
                  <a:cubicBezTo>
                    <a:pt x="104" y="170"/>
                    <a:pt x="104" y="170"/>
                    <a:pt x="104" y="170"/>
                  </a:cubicBezTo>
                  <a:cubicBezTo>
                    <a:pt x="103" y="170"/>
                    <a:pt x="103" y="171"/>
                    <a:pt x="103" y="171"/>
                  </a:cubicBezTo>
                  <a:cubicBezTo>
                    <a:pt x="103" y="171"/>
                    <a:pt x="103" y="171"/>
                    <a:pt x="103" y="171"/>
                  </a:cubicBezTo>
                  <a:cubicBezTo>
                    <a:pt x="103" y="172"/>
                    <a:pt x="102" y="173"/>
                    <a:pt x="102" y="173"/>
                  </a:cubicBezTo>
                  <a:cubicBezTo>
                    <a:pt x="102" y="173"/>
                    <a:pt x="102" y="173"/>
                    <a:pt x="102" y="173"/>
                  </a:cubicBezTo>
                  <a:cubicBezTo>
                    <a:pt x="102" y="174"/>
                    <a:pt x="102" y="174"/>
                    <a:pt x="102" y="174"/>
                  </a:cubicBezTo>
                  <a:cubicBezTo>
                    <a:pt x="102" y="174"/>
                    <a:pt x="102" y="174"/>
                    <a:pt x="101" y="174"/>
                  </a:cubicBezTo>
                  <a:cubicBezTo>
                    <a:pt x="101" y="174"/>
                    <a:pt x="101" y="175"/>
                    <a:pt x="101" y="175"/>
                  </a:cubicBezTo>
                  <a:cubicBezTo>
                    <a:pt x="101" y="175"/>
                    <a:pt x="101" y="175"/>
                    <a:pt x="101" y="175"/>
                  </a:cubicBezTo>
                  <a:cubicBezTo>
                    <a:pt x="101" y="175"/>
                    <a:pt x="101" y="175"/>
                    <a:pt x="101" y="176"/>
                  </a:cubicBezTo>
                  <a:cubicBezTo>
                    <a:pt x="101" y="176"/>
                    <a:pt x="101" y="176"/>
                    <a:pt x="101" y="176"/>
                  </a:cubicBezTo>
                  <a:cubicBezTo>
                    <a:pt x="101" y="176"/>
                    <a:pt x="101" y="176"/>
                    <a:pt x="101" y="176"/>
                  </a:cubicBezTo>
                  <a:cubicBezTo>
                    <a:pt x="101" y="176"/>
                    <a:pt x="100" y="176"/>
                    <a:pt x="100" y="176"/>
                  </a:cubicBezTo>
                  <a:cubicBezTo>
                    <a:pt x="100" y="177"/>
                    <a:pt x="100" y="177"/>
                    <a:pt x="100" y="177"/>
                  </a:cubicBezTo>
                  <a:cubicBezTo>
                    <a:pt x="100" y="177"/>
                    <a:pt x="100" y="177"/>
                    <a:pt x="100" y="177"/>
                  </a:cubicBezTo>
                  <a:cubicBezTo>
                    <a:pt x="100" y="177"/>
                    <a:pt x="100" y="177"/>
                    <a:pt x="100" y="178"/>
                  </a:cubicBezTo>
                  <a:cubicBezTo>
                    <a:pt x="100" y="178"/>
                    <a:pt x="100" y="178"/>
                    <a:pt x="99" y="178"/>
                  </a:cubicBezTo>
                  <a:cubicBezTo>
                    <a:pt x="99" y="178"/>
                    <a:pt x="99" y="178"/>
                    <a:pt x="99" y="179"/>
                  </a:cubicBezTo>
                  <a:cubicBezTo>
                    <a:pt x="99" y="179"/>
                    <a:pt x="99" y="179"/>
                    <a:pt x="99" y="179"/>
                  </a:cubicBezTo>
                  <a:cubicBezTo>
                    <a:pt x="99" y="179"/>
                    <a:pt x="99" y="179"/>
                    <a:pt x="99" y="179"/>
                  </a:cubicBezTo>
                  <a:cubicBezTo>
                    <a:pt x="99" y="179"/>
                    <a:pt x="99" y="179"/>
                    <a:pt x="99" y="179"/>
                  </a:cubicBezTo>
                  <a:cubicBezTo>
                    <a:pt x="99" y="180"/>
                    <a:pt x="99" y="180"/>
                    <a:pt x="99" y="180"/>
                  </a:cubicBezTo>
                  <a:cubicBezTo>
                    <a:pt x="99" y="180"/>
                    <a:pt x="98" y="180"/>
                    <a:pt x="98" y="180"/>
                  </a:cubicBezTo>
                  <a:cubicBezTo>
                    <a:pt x="98" y="180"/>
                    <a:pt x="98" y="181"/>
                    <a:pt x="98" y="181"/>
                  </a:cubicBezTo>
                  <a:cubicBezTo>
                    <a:pt x="98" y="181"/>
                    <a:pt x="98" y="181"/>
                    <a:pt x="98" y="181"/>
                  </a:cubicBezTo>
                  <a:cubicBezTo>
                    <a:pt x="97" y="182"/>
                    <a:pt x="97" y="183"/>
                    <a:pt x="97" y="183"/>
                  </a:cubicBezTo>
                  <a:cubicBezTo>
                    <a:pt x="97" y="183"/>
                    <a:pt x="97" y="183"/>
                    <a:pt x="97" y="183"/>
                  </a:cubicBezTo>
                  <a:cubicBezTo>
                    <a:pt x="96" y="184"/>
                    <a:pt x="96" y="184"/>
                    <a:pt x="96" y="184"/>
                  </a:cubicBezTo>
                  <a:cubicBezTo>
                    <a:pt x="96" y="184"/>
                    <a:pt x="96" y="185"/>
                    <a:pt x="95" y="185"/>
                  </a:cubicBezTo>
                  <a:cubicBezTo>
                    <a:pt x="95" y="185"/>
                    <a:pt x="95" y="186"/>
                    <a:pt x="95" y="186"/>
                  </a:cubicBezTo>
                  <a:cubicBezTo>
                    <a:pt x="95" y="186"/>
                    <a:pt x="95" y="186"/>
                    <a:pt x="94" y="186"/>
                  </a:cubicBezTo>
                  <a:cubicBezTo>
                    <a:pt x="94" y="187"/>
                    <a:pt x="94" y="187"/>
                    <a:pt x="94" y="187"/>
                  </a:cubicBezTo>
                  <a:cubicBezTo>
                    <a:pt x="94" y="187"/>
                    <a:pt x="94" y="187"/>
                    <a:pt x="94" y="187"/>
                  </a:cubicBezTo>
                  <a:cubicBezTo>
                    <a:pt x="94" y="187"/>
                    <a:pt x="94" y="188"/>
                    <a:pt x="94" y="188"/>
                  </a:cubicBezTo>
                  <a:cubicBezTo>
                    <a:pt x="94" y="188"/>
                    <a:pt x="93" y="188"/>
                    <a:pt x="93" y="189"/>
                  </a:cubicBezTo>
                  <a:cubicBezTo>
                    <a:pt x="93" y="189"/>
                    <a:pt x="93" y="189"/>
                    <a:pt x="93" y="189"/>
                  </a:cubicBezTo>
                  <a:cubicBezTo>
                    <a:pt x="93" y="189"/>
                    <a:pt x="92" y="190"/>
                    <a:pt x="92" y="190"/>
                  </a:cubicBezTo>
                  <a:cubicBezTo>
                    <a:pt x="92" y="190"/>
                    <a:pt x="92" y="190"/>
                    <a:pt x="92" y="191"/>
                  </a:cubicBezTo>
                  <a:cubicBezTo>
                    <a:pt x="92" y="191"/>
                    <a:pt x="91" y="191"/>
                    <a:pt x="91" y="191"/>
                  </a:cubicBezTo>
                  <a:cubicBezTo>
                    <a:pt x="91" y="192"/>
                    <a:pt x="91" y="192"/>
                    <a:pt x="91" y="192"/>
                  </a:cubicBezTo>
                  <a:cubicBezTo>
                    <a:pt x="90" y="192"/>
                    <a:pt x="90" y="193"/>
                    <a:pt x="90" y="193"/>
                  </a:cubicBezTo>
                  <a:cubicBezTo>
                    <a:pt x="90" y="193"/>
                    <a:pt x="90" y="194"/>
                    <a:pt x="90" y="194"/>
                  </a:cubicBezTo>
                  <a:cubicBezTo>
                    <a:pt x="89" y="194"/>
                    <a:pt x="88" y="195"/>
                    <a:pt x="88" y="195"/>
                  </a:cubicBezTo>
                  <a:cubicBezTo>
                    <a:pt x="87" y="196"/>
                    <a:pt x="86" y="197"/>
                    <a:pt x="85" y="198"/>
                  </a:cubicBezTo>
                  <a:cubicBezTo>
                    <a:pt x="85" y="198"/>
                    <a:pt x="85" y="198"/>
                    <a:pt x="84" y="198"/>
                  </a:cubicBezTo>
                  <a:cubicBezTo>
                    <a:pt x="84" y="199"/>
                    <a:pt x="84" y="199"/>
                    <a:pt x="84" y="199"/>
                  </a:cubicBezTo>
                  <a:cubicBezTo>
                    <a:pt x="83" y="199"/>
                    <a:pt x="83" y="199"/>
                    <a:pt x="83" y="199"/>
                  </a:cubicBezTo>
                  <a:cubicBezTo>
                    <a:pt x="83" y="200"/>
                    <a:pt x="83" y="200"/>
                    <a:pt x="83" y="200"/>
                  </a:cubicBezTo>
                  <a:cubicBezTo>
                    <a:pt x="82" y="200"/>
                    <a:pt x="82" y="200"/>
                    <a:pt x="81" y="200"/>
                  </a:cubicBezTo>
                  <a:cubicBezTo>
                    <a:pt x="81" y="201"/>
                    <a:pt x="81" y="201"/>
                    <a:pt x="81" y="201"/>
                  </a:cubicBezTo>
                  <a:cubicBezTo>
                    <a:pt x="81" y="201"/>
                    <a:pt x="78" y="202"/>
                    <a:pt x="77" y="201"/>
                  </a:cubicBezTo>
                  <a:cubicBezTo>
                    <a:pt x="77" y="201"/>
                    <a:pt x="77" y="201"/>
                    <a:pt x="77" y="201"/>
                  </a:cubicBezTo>
                  <a:cubicBezTo>
                    <a:pt x="77" y="201"/>
                    <a:pt x="76" y="201"/>
                    <a:pt x="76" y="201"/>
                  </a:cubicBezTo>
                  <a:cubicBezTo>
                    <a:pt x="76" y="201"/>
                    <a:pt x="76" y="201"/>
                    <a:pt x="76" y="201"/>
                  </a:cubicBezTo>
                  <a:cubicBezTo>
                    <a:pt x="72" y="200"/>
                    <a:pt x="70" y="193"/>
                    <a:pt x="70" y="189"/>
                  </a:cubicBezTo>
                  <a:cubicBezTo>
                    <a:pt x="69" y="188"/>
                    <a:pt x="69" y="186"/>
                    <a:pt x="69" y="185"/>
                  </a:cubicBezTo>
                  <a:cubicBezTo>
                    <a:pt x="69" y="185"/>
                    <a:pt x="69" y="185"/>
                    <a:pt x="70" y="185"/>
                  </a:cubicBezTo>
                  <a:cubicBezTo>
                    <a:pt x="70" y="184"/>
                    <a:pt x="70" y="182"/>
                    <a:pt x="70" y="181"/>
                  </a:cubicBezTo>
                  <a:cubicBezTo>
                    <a:pt x="70" y="181"/>
                    <a:pt x="70" y="181"/>
                    <a:pt x="70" y="181"/>
                  </a:cubicBezTo>
                  <a:cubicBezTo>
                    <a:pt x="70" y="180"/>
                    <a:pt x="70" y="180"/>
                    <a:pt x="70" y="179"/>
                  </a:cubicBezTo>
                  <a:cubicBezTo>
                    <a:pt x="70" y="179"/>
                    <a:pt x="70" y="179"/>
                    <a:pt x="70" y="179"/>
                  </a:cubicBezTo>
                  <a:cubicBezTo>
                    <a:pt x="70" y="178"/>
                    <a:pt x="70" y="178"/>
                    <a:pt x="70" y="177"/>
                  </a:cubicBezTo>
                  <a:cubicBezTo>
                    <a:pt x="70" y="177"/>
                    <a:pt x="71" y="177"/>
                    <a:pt x="71" y="177"/>
                  </a:cubicBezTo>
                  <a:cubicBezTo>
                    <a:pt x="71" y="177"/>
                    <a:pt x="71" y="176"/>
                    <a:pt x="71" y="176"/>
                  </a:cubicBezTo>
                  <a:cubicBezTo>
                    <a:pt x="71" y="176"/>
                    <a:pt x="71" y="176"/>
                    <a:pt x="71" y="176"/>
                  </a:cubicBezTo>
                  <a:cubicBezTo>
                    <a:pt x="71" y="175"/>
                    <a:pt x="71" y="175"/>
                    <a:pt x="71" y="175"/>
                  </a:cubicBezTo>
                  <a:cubicBezTo>
                    <a:pt x="71" y="175"/>
                    <a:pt x="71" y="175"/>
                    <a:pt x="71" y="175"/>
                  </a:cubicBezTo>
                  <a:cubicBezTo>
                    <a:pt x="71" y="174"/>
                    <a:pt x="71" y="174"/>
                    <a:pt x="71" y="173"/>
                  </a:cubicBezTo>
                  <a:cubicBezTo>
                    <a:pt x="72" y="170"/>
                    <a:pt x="73" y="166"/>
                    <a:pt x="74" y="163"/>
                  </a:cubicBezTo>
                  <a:cubicBezTo>
                    <a:pt x="75" y="162"/>
                    <a:pt x="75" y="161"/>
                    <a:pt x="75" y="161"/>
                  </a:cubicBezTo>
                  <a:cubicBezTo>
                    <a:pt x="75" y="161"/>
                    <a:pt x="75" y="161"/>
                    <a:pt x="75" y="161"/>
                  </a:cubicBezTo>
                  <a:cubicBezTo>
                    <a:pt x="75" y="158"/>
                    <a:pt x="76" y="156"/>
                    <a:pt x="76" y="154"/>
                  </a:cubicBezTo>
                  <a:cubicBezTo>
                    <a:pt x="76" y="153"/>
                    <a:pt x="75" y="152"/>
                    <a:pt x="75" y="151"/>
                  </a:cubicBezTo>
                  <a:cubicBezTo>
                    <a:pt x="75" y="151"/>
                    <a:pt x="75" y="151"/>
                    <a:pt x="75" y="151"/>
                  </a:cubicBezTo>
                  <a:cubicBezTo>
                    <a:pt x="75" y="151"/>
                    <a:pt x="75" y="150"/>
                    <a:pt x="74" y="150"/>
                  </a:cubicBezTo>
                  <a:cubicBezTo>
                    <a:pt x="74" y="150"/>
                    <a:pt x="74" y="150"/>
                    <a:pt x="74" y="150"/>
                  </a:cubicBezTo>
                  <a:cubicBezTo>
                    <a:pt x="74" y="150"/>
                    <a:pt x="74" y="149"/>
                    <a:pt x="74" y="149"/>
                  </a:cubicBezTo>
                  <a:cubicBezTo>
                    <a:pt x="74" y="149"/>
                    <a:pt x="73" y="149"/>
                    <a:pt x="73" y="149"/>
                  </a:cubicBezTo>
                  <a:cubicBezTo>
                    <a:pt x="73" y="149"/>
                    <a:pt x="73" y="149"/>
                    <a:pt x="73" y="149"/>
                  </a:cubicBezTo>
                  <a:cubicBezTo>
                    <a:pt x="72" y="149"/>
                    <a:pt x="72" y="149"/>
                    <a:pt x="72" y="149"/>
                  </a:cubicBezTo>
                  <a:cubicBezTo>
                    <a:pt x="72" y="149"/>
                    <a:pt x="72" y="148"/>
                    <a:pt x="72" y="148"/>
                  </a:cubicBezTo>
                  <a:cubicBezTo>
                    <a:pt x="71" y="148"/>
                    <a:pt x="71" y="148"/>
                    <a:pt x="71" y="148"/>
                  </a:cubicBezTo>
                  <a:cubicBezTo>
                    <a:pt x="71" y="148"/>
                    <a:pt x="71" y="148"/>
                    <a:pt x="71" y="148"/>
                  </a:cubicBezTo>
                  <a:cubicBezTo>
                    <a:pt x="69" y="148"/>
                    <a:pt x="67" y="148"/>
                    <a:pt x="66" y="148"/>
                  </a:cubicBezTo>
                  <a:cubicBezTo>
                    <a:pt x="62" y="148"/>
                    <a:pt x="59" y="147"/>
                    <a:pt x="55" y="147"/>
                  </a:cubicBezTo>
                  <a:cubicBezTo>
                    <a:pt x="55" y="147"/>
                    <a:pt x="55" y="147"/>
                    <a:pt x="55" y="147"/>
                  </a:cubicBezTo>
                  <a:cubicBezTo>
                    <a:pt x="54" y="147"/>
                    <a:pt x="53" y="147"/>
                    <a:pt x="52" y="147"/>
                  </a:cubicBezTo>
                  <a:cubicBezTo>
                    <a:pt x="52" y="147"/>
                    <a:pt x="52" y="147"/>
                    <a:pt x="52" y="147"/>
                  </a:cubicBezTo>
                  <a:cubicBezTo>
                    <a:pt x="50" y="146"/>
                    <a:pt x="45" y="147"/>
                    <a:pt x="44" y="148"/>
                  </a:cubicBezTo>
                  <a:cubicBezTo>
                    <a:pt x="44" y="148"/>
                    <a:pt x="44" y="148"/>
                    <a:pt x="44" y="148"/>
                  </a:cubicBezTo>
                  <a:cubicBezTo>
                    <a:pt x="43" y="148"/>
                    <a:pt x="43" y="148"/>
                    <a:pt x="43" y="148"/>
                  </a:cubicBezTo>
                  <a:cubicBezTo>
                    <a:pt x="43" y="149"/>
                    <a:pt x="42" y="149"/>
                    <a:pt x="42" y="150"/>
                  </a:cubicBezTo>
                  <a:cubicBezTo>
                    <a:pt x="42" y="150"/>
                    <a:pt x="42" y="150"/>
                    <a:pt x="41" y="150"/>
                  </a:cubicBezTo>
                  <a:cubicBezTo>
                    <a:pt x="41" y="150"/>
                    <a:pt x="41" y="150"/>
                    <a:pt x="41" y="150"/>
                  </a:cubicBezTo>
                  <a:cubicBezTo>
                    <a:pt x="41" y="150"/>
                    <a:pt x="40" y="151"/>
                    <a:pt x="40" y="151"/>
                  </a:cubicBezTo>
                  <a:cubicBezTo>
                    <a:pt x="40" y="151"/>
                    <a:pt x="40" y="152"/>
                    <a:pt x="40" y="152"/>
                  </a:cubicBezTo>
                  <a:cubicBezTo>
                    <a:pt x="39" y="152"/>
                    <a:pt x="39" y="153"/>
                    <a:pt x="38" y="153"/>
                  </a:cubicBezTo>
                  <a:cubicBezTo>
                    <a:pt x="38" y="153"/>
                    <a:pt x="38" y="154"/>
                    <a:pt x="38" y="154"/>
                  </a:cubicBezTo>
                  <a:cubicBezTo>
                    <a:pt x="38" y="154"/>
                    <a:pt x="37" y="155"/>
                    <a:pt x="37" y="155"/>
                  </a:cubicBezTo>
                  <a:cubicBezTo>
                    <a:pt x="37" y="155"/>
                    <a:pt x="37" y="155"/>
                    <a:pt x="37" y="156"/>
                  </a:cubicBezTo>
                  <a:cubicBezTo>
                    <a:pt x="36" y="156"/>
                    <a:pt x="36" y="156"/>
                    <a:pt x="36" y="156"/>
                  </a:cubicBezTo>
                  <a:cubicBezTo>
                    <a:pt x="36" y="156"/>
                    <a:pt x="36" y="156"/>
                    <a:pt x="36" y="157"/>
                  </a:cubicBezTo>
                  <a:cubicBezTo>
                    <a:pt x="36" y="157"/>
                    <a:pt x="35" y="157"/>
                    <a:pt x="35" y="157"/>
                  </a:cubicBezTo>
                  <a:cubicBezTo>
                    <a:pt x="35" y="158"/>
                    <a:pt x="35" y="158"/>
                    <a:pt x="35" y="158"/>
                  </a:cubicBezTo>
                  <a:cubicBezTo>
                    <a:pt x="35" y="158"/>
                    <a:pt x="35" y="158"/>
                    <a:pt x="34" y="158"/>
                  </a:cubicBezTo>
                  <a:cubicBezTo>
                    <a:pt x="34" y="159"/>
                    <a:pt x="34" y="159"/>
                    <a:pt x="34" y="159"/>
                  </a:cubicBezTo>
                  <a:cubicBezTo>
                    <a:pt x="34" y="159"/>
                    <a:pt x="34" y="160"/>
                    <a:pt x="33" y="160"/>
                  </a:cubicBezTo>
                  <a:cubicBezTo>
                    <a:pt x="33" y="160"/>
                    <a:pt x="33" y="160"/>
                    <a:pt x="33" y="161"/>
                  </a:cubicBezTo>
                  <a:cubicBezTo>
                    <a:pt x="33" y="161"/>
                    <a:pt x="33" y="161"/>
                    <a:pt x="32" y="161"/>
                  </a:cubicBezTo>
                  <a:cubicBezTo>
                    <a:pt x="32" y="161"/>
                    <a:pt x="32" y="162"/>
                    <a:pt x="32" y="162"/>
                  </a:cubicBezTo>
                  <a:cubicBezTo>
                    <a:pt x="32" y="162"/>
                    <a:pt x="31" y="162"/>
                    <a:pt x="31" y="163"/>
                  </a:cubicBezTo>
                  <a:cubicBezTo>
                    <a:pt x="31" y="163"/>
                    <a:pt x="31" y="163"/>
                    <a:pt x="31" y="163"/>
                  </a:cubicBezTo>
                  <a:cubicBezTo>
                    <a:pt x="31" y="163"/>
                    <a:pt x="31" y="164"/>
                    <a:pt x="30" y="164"/>
                  </a:cubicBezTo>
                  <a:cubicBezTo>
                    <a:pt x="30" y="164"/>
                    <a:pt x="30" y="164"/>
                    <a:pt x="30" y="165"/>
                  </a:cubicBezTo>
                  <a:cubicBezTo>
                    <a:pt x="30" y="165"/>
                    <a:pt x="29" y="165"/>
                    <a:pt x="29" y="166"/>
                  </a:cubicBezTo>
                  <a:cubicBezTo>
                    <a:pt x="29" y="166"/>
                    <a:pt x="29" y="166"/>
                    <a:pt x="29" y="166"/>
                  </a:cubicBezTo>
                  <a:cubicBezTo>
                    <a:pt x="28" y="167"/>
                    <a:pt x="28" y="167"/>
                    <a:pt x="27" y="168"/>
                  </a:cubicBezTo>
                  <a:cubicBezTo>
                    <a:pt x="27" y="168"/>
                    <a:pt x="27" y="168"/>
                    <a:pt x="27" y="168"/>
                  </a:cubicBezTo>
                  <a:cubicBezTo>
                    <a:pt x="27" y="169"/>
                    <a:pt x="26" y="169"/>
                    <a:pt x="26" y="170"/>
                  </a:cubicBezTo>
                  <a:cubicBezTo>
                    <a:pt x="26" y="170"/>
                    <a:pt x="26" y="170"/>
                    <a:pt x="26" y="170"/>
                  </a:cubicBezTo>
                  <a:cubicBezTo>
                    <a:pt x="25" y="171"/>
                    <a:pt x="24" y="171"/>
                    <a:pt x="23" y="172"/>
                  </a:cubicBezTo>
                  <a:cubicBezTo>
                    <a:pt x="23" y="172"/>
                    <a:pt x="23" y="173"/>
                    <a:pt x="23" y="173"/>
                  </a:cubicBezTo>
                  <a:cubicBezTo>
                    <a:pt x="22" y="174"/>
                    <a:pt x="21" y="175"/>
                    <a:pt x="20" y="176"/>
                  </a:cubicBezTo>
                  <a:cubicBezTo>
                    <a:pt x="20" y="176"/>
                    <a:pt x="20" y="176"/>
                    <a:pt x="20" y="176"/>
                  </a:cubicBezTo>
                  <a:cubicBezTo>
                    <a:pt x="19" y="178"/>
                    <a:pt x="17" y="179"/>
                    <a:pt x="16" y="180"/>
                  </a:cubicBezTo>
                  <a:cubicBezTo>
                    <a:pt x="16" y="181"/>
                    <a:pt x="16" y="181"/>
                    <a:pt x="16" y="181"/>
                  </a:cubicBezTo>
                  <a:cubicBezTo>
                    <a:pt x="15" y="182"/>
                    <a:pt x="13" y="183"/>
                    <a:pt x="12" y="184"/>
                  </a:cubicBezTo>
                  <a:cubicBezTo>
                    <a:pt x="10" y="187"/>
                    <a:pt x="8" y="189"/>
                    <a:pt x="5" y="191"/>
                  </a:cubicBezTo>
                  <a:cubicBezTo>
                    <a:pt x="5" y="192"/>
                    <a:pt x="5" y="192"/>
                    <a:pt x="5" y="192"/>
                  </a:cubicBezTo>
                  <a:cubicBezTo>
                    <a:pt x="4" y="193"/>
                    <a:pt x="2" y="194"/>
                    <a:pt x="1" y="195"/>
                  </a:cubicBezTo>
                  <a:cubicBezTo>
                    <a:pt x="1" y="194"/>
                    <a:pt x="1" y="193"/>
                    <a:pt x="1" y="192"/>
                  </a:cubicBezTo>
                  <a:cubicBezTo>
                    <a:pt x="0" y="191"/>
                    <a:pt x="1" y="186"/>
                    <a:pt x="1" y="184"/>
                  </a:cubicBezTo>
                  <a:cubicBezTo>
                    <a:pt x="1" y="184"/>
                    <a:pt x="0" y="184"/>
                    <a:pt x="0" y="184"/>
                  </a:cubicBezTo>
                  <a:cubicBezTo>
                    <a:pt x="0" y="183"/>
                    <a:pt x="0" y="180"/>
                    <a:pt x="0" y="179"/>
                  </a:cubicBezTo>
                  <a:cubicBezTo>
                    <a:pt x="0" y="179"/>
                    <a:pt x="1" y="179"/>
                    <a:pt x="1" y="179"/>
                  </a:cubicBezTo>
                  <a:cubicBezTo>
                    <a:pt x="1" y="178"/>
                    <a:pt x="1" y="178"/>
                    <a:pt x="1" y="177"/>
                  </a:cubicBezTo>
                  <a:cubicBezTo>
                    <a:pt x="1" y="177"/>
                    <a:pt x="1" y="177"/>
                    <a:pt x="1" y="177"/>
                  </a:cubicBezTo>
                  <a:cubicBezTo>
                    <a:pt x="1" y="177"/>
                    <a:pt x="1" y="176"/>
                    <a:pt x="1" y="176"/>
                  </a:cubicBezTo>
                  <a:cubicBezTo>
                    <a:pt x="1" y="176"/>
                    <a:pt x="1" y="176"/>
                    <a:pt x="1" y="176"/>
                  </a:cubicBezTo>
                  <a:cubicBezTo>
                    <a:pt x="2" y="175"/>
                    <a:pt x="2" y="174"/>
                    <a:pt x="2" y="173"/>
                  </a:cubicBezTo>
                  <a:cubicBezTo>
                    <a:pt x="2" y="173"/>
                    <a:pt x="2" y="173"/>
                    <a:pt x="2" y="173"/>
                  </a:cubicBezTo>
                  <a:cubicBezTo>
                    <a:pt x="2" y="172"/>
                    <a:pt x="3" y="170"/>
                    <a:pt x="3" y="169"/>
                  </a:cubicBezTo>
                  <a:cubicBezTo>
                    <a:pt x="6" y="160"/>
                    <a:pt x="7" y="150"/>
                    <a:pt x="10" y="142"/>
                  </a:cubicBezTo>
                  <a:cubicBezTo>
                    <a:pt x="10" y="139"/>
                    <a:pt x="11" y="137"/>
                    <a:pt x="11" y="134"/>
                  </a:cubicBezTo>
                  <a:cubicBezTo>
                    <a:pt x="12" y="131"/>
                    <a:pt x="13" y="128"/>
                    <a:pt x="14" y="125"/>
                  </a:cubicBezTo>
                  <a:cubicBezTo>
                    <a:pt x="14" y="123"/>
                    <a:pt x="14" y="122"/>
                    <a:pt x="14" y="121"/>
                  </a:cubicBezTo>
                  <a:cubicBezTo>
                    <a:pt x="15" y="119"/>
                    <a:pt x="16" y="116"/>
                    <a:pt x="17" y="113"/>
                  </a:cubicBezTo>
                  <a:cubicBezTo>
                    <a:pt x="17" y="112"/>
                    <a:pt x="17" y="111"/>
                    <a:pt x="17" y="110"/>
                  </a:cubicBezTo>
                  <a:cubicBezTo>
                    <a:pt x="17" y="110"/>
                    <a:pt x="17" y="110"/>
                    <a:pt x="17" y="110"/>
                  </a:cubicBezTo>
                  <a:cubicBezTo>
                    <a:pt x="18" y="109"/>
                    <a:pt x="17" y="107"/>
                    <a:pt x="16" y="105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</a:ln>
            <a:effectLst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64800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4000" b="1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0000"/>
                </a:solidFill>
                <a:latin typeface="UKIJ Qolyazma" pitchFamily="18" charset="0"/>
                <a:cs typeface="UKIJ Qolyazma" pitchFamily="18" charset="0"/>
              </a:endParaRPr>
            </a:p>
          </p:txBody>
        </p:sp>
        <p:sp>
          <p:nvSpPr>
            <p:cNvPr id="105" name="Freeform 17">
              <a:extLst>
                <a:ext uri="{FF2B5EF4-FFF2-40B4-BE49-F238E27FC236}">
                  <a16:creationId xmlns:a16="http://schemas.microsoft.com/office/drawing/2014/main" id="{C0415318-D027-445D-70CC-13EE733D96F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3810" y="2025445"/>
              <a:ext cx="626867" cy="478642"/>
            </a:xfrm>
            <a:custGeom>
              <a:avLst/>
              <a:gdLst>
                <a:gd name="T0" fmla="*/ 37 w 288"/>
                <a:gd name="T1" fmla="*/ 7 h 220"/>
                <a:gd name="T2" fmla="*/ 46 w 288"/>
                <a:gd name="T3" fmla="*/ 13 h 220"/>
                <a:gd name="T4" fmla="*/ 56 w 288"/>
                <a:gd name="T5" fmla="*/ 18 h 220"/>
                <a:gd name="T6" fmla="*/ 69 w 288"/>
                <a:gd name="T7" fmla="*/ 26 h 220"/>
                <a:gd name="T8" fmla="*/ 116 w 288"/>
                <a:gd name="T9" fmla="*/ 29 h 220"/>
                <a:gd name="T10" fmla="*/ 120 w 288"/>
                <a:gd name="T11" fmla="*/ 27 h 220"/>
                <a:gd name="T12" fmla="*/ 129 w 288"/>
                <a:gd name="T13" fmla="*/ 23 h 220"/>
                <a:gd name="T14" fmla="*/ 138 w 288"/>
                <a:gd name="T15" fmla="*/ 34 h 220"/>
                <a:gd name="T16" fmla="*/ 149 w 288"/>
                <a:gd name="T17" fmla="*/ 33 h 220"/>
                <a:gd name="T18" fmla="*/ 156 w 288"/>
                <a:gd name="T19" fmla="*/ 30 h 220"/>
                <a:gd name="T20" fmla="*/ 162 w 288"/>
                <a:gd name="T21" fmla="*/ 27 h 220"/>
                <a:gd name="T22" fmla="*/ 170 w 288"/>
                <a:gd name="T23" fmla="*/ 25 h 220"/>
                <a:gd name="T24" fmla="*/ 174 w 288"/>
                <a:gd name="T25" fmla="*/ 22 h 220"/>
                <a:gd name="T26" fmla="*/ 183 w 288"/>
                <a:gd name="T27" fmla="*/ 20 h 220"/>
                <a:gd name="T28" fmla="*/ 198 w 288"/>
                <a:gd name="T29" fmla="*/ 25 h 220"/>
                <a:gd name="T30" fmla="*/ 237 w 288"/>
                <a:gd name="T31" fmla="*/ 33 h 220"/>
                <a:gd name="T32" fmla="*/ 272 w 288"/>
                <a:gd name="T33" fmla="*/ 59 h 220"/>
                <a:gd name="T34" fmla="*/ 275 w 288"/>
                <a:gd name="T35" fmla="*/ 65 h 220"/>
                <a:gd name="T36" fmla="*/ 278 w 288"/>
                <a:gd name="T37" fmla="*/ 72 h 220"/>
                <a:gd name="T38" fmla="*/ 282 w 288"/>
                <a:gd name="T39" fmla="*/ 82 h 220"/>
                <a:gd name="T40" fmla="*/ 284 w 288"/>
                <a:gd name="T41" fmla="*/ 87 h 220"/>
                <a:gd name="T42" fmla="*/ 287 w 288"/>
                <a:gd name="T43" fmla="*/ 93 h 220"/>
                <a:gd name="T44" fmla="*/ 283 w 288"/>
                <a:gd name="T45" fmla="*/ 120 h 220"/>
                <a:gd name="T46" fmla="*/ 257 w 288"/>
                <a:gd name="T47" fmla="*/ 127 h 220"/>
                <a:gd name="T48" fmla="*/ 253 w 288"/>
                <a:gd name="T49" fmla="*/ 129 h 220"/>
                <a:gd name="T50" fmla="*/ 248 w 288"/>
                <a:gd name="T51" fmla="*/ 131 h 220"/>
                <a:gd name="T52" fmla="*/ 244 w 288"/>
                <a:gd name="T53" fmla="*/ 133 h 220"/>
                <a:gd name="T54" fmla="*/ 239 w 288"/>
                <a:gd name="T55" fmla="*/ 136 h 220"/>
                <a:gd name="T56" fmla="*/ 236 w 288"/>
                <a:gd name="T57" fmla="*/ 138 h 220"/>
                <a:gd name="T58" fmla="*/ 229 w 288"/>
                <a:gd name="T59" fmla="*/ 144 h 220"/>
                <a:gd name="T60" fmla="*/ 221 w 288"/>
                <a:gd name="T61" fmla="*/ 154 h 220"/>
                <a:gd name="T62" fmla="*/ 215 w 288"/>
                <a:gd name="T63" fmla="*/ 161 h 220"/>
                <a:gd name="T64" fmla="*/ 206 w 288"/>
                <a:gd name="T65" fmla="*/ 169 h 220"/>
                <a:gd name="T66" fmla="*/ 194 w 288"/>
                <a:gd name="T67" fmla="*/ 172 h 220"/>
                <a:gd name="T68" fmla="*/ 183 w 288"/>
                <a:gd name="T69" fmla="*/ 182 h 220"/>
                <a:gd name="T70" fmla="*/ 174 w 288"/>
                <a:gd name="T71" fmla="*/ 193 h 220"/>
                <a:gd name="T72" fmla="*/ 170 w 288"/>
                <a:gd name="T73" fmla="*/ 202 h 220"/>
                <a:gd name="T74" fmla="*/ 168 w 288"/>
                <a:gd name="T75" fmla="*/ 206 h 220"/>
                <a:gd name="T76" fmla="*/ 166 w 288"/>
                <a:gd name="T77" fmla="*/ 212 h 220"/>
                <a:gd name="T78" fmla="*/ 164 w 288"/>
                <a:gd name="T79" fmla="*/ 217 h 220"/>
                <a:gd name="T80" fmla="*/ 155 w 288"/>
                <a:gd name="T81" fmla="*/ 218 h 220"/>
                <a:gd name="T82" fmla="*/ 123 w 288"/>
                <a:gd name="T83" fmla="*/ 186 h 220"/>
                <a:gd name="T84" fmla="*/ 116 w 288"/>
                <a:gd name="T85" fmla="*/ 182 h 220"/>
                <a:gd name="T86" fmla="*/ 109 w 288"/>
                <a:gd name="T87" fmla="*/ 178 h 220"/>
                <a:gd name="T88" fmla="*/ 103 w 288"/>
                <a:gd name="T89" fmla="*/ 173 h 220"/>
                <a:gd name="T90" fmla="*/ 97 w 288"/>
                <a:gd name="T91" fmla="*/ 170 h 220"/>
                <a:gd name="T92" fmla="*/ 92 w 288"/>
                <a:gd name="T93" fmla="*/ 166 h 220"/>
                <a:gd name="T94" fmla="*/ 79 w 288"/>
                <a:gd name="T95" fmla="*/ 165 h 220"/>
                <a:gd name="T96" fmla="*/ 70 w 288"/>
                <a:gd name="T97" fmla="*/ 168 h 220"/>
                <a:gd name="T98" fmla="*/ 60 w 288"/>
                <a:gd name="T99" fmla="*/ 165 h 220"/>
                <a:gd name="T100" fmla="*/ 57 w 288"/>
                <a:gd name="T101" fmla="*/ 161 h 220"/>
                <a:gd name="T102" fmla="*/ 55 w 288"/>
                <a:gd name="T103" fmla="*/ 156 h 220"/>
                <a:gd name="T104" fmla="*/ 52 w 288"/>
                <a:gd name="T105" fmla="*/ 152 h 220"/>
                <a:gd name="T106" fmla="*/ 44 w 288"/>
                <a:gd name="T107" fmla="*/ 143 h 220"/>
                <a:gd name="T108" fmla="*/ 32 w 288"/>
                <a:gd name="T109" fmla="*/ 136 h 220"/>
                <a:gd name="T110" fmla="*/ 23 w 288"/>
                <a:gd name="T111" fmla="*/ 131 h 220"/>
                <a:gd name="T112" fmla="*/ 17 w 288"/>
                <a:gd name="T113" fmla="*/ 126 h 220"/>
                <a:gd name="T114" fmla="*/ 13 w 288"/>
                <a:gd name="T115" fmla="*/ 120 h 220"/>
                <a:gd name="T116" fmla="*/ 8 w 288"/>
                <a:gd name="T117" fmla="*/ 110 h 220"/>
                <a:gd name="T118" fmla="*/ 3 w 288"/>
                <a:gd name="T119" fmla="*/ 102 h 220"/>
                <a:gd name="T120" fmla="*/ 7 w 288"/>
                <a:gd name="T121" fmla="*/ 78 h 220"/>
                <a:gd name="T122" fmla="*/ 16 w 288"/>
                <a:gd name="T123" fmla="*/ 73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88" h="220">
                  <a:moveTo>
                    <a:pt x="24" y="0"/>
                  </a:moveTo>
                  <a:cubicBezTo>
                    <a:pt x="26" y="0"/>
                    <a:pt x="26" y="1"/>
                    <a:pt x="27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7" y="2"/>
                    <a:pt x="27" y="2"/>
                    <a:pt x="28" y="2"/>
                  </a:cubicBezTo>
                  <a:cubicBezTo>
                    <a:pt x="28" y="2"/>
                    <a:pt x="29" y="3"/>
                    <a:pt x="30" y="3"/>
                  </a:cubicBezTo>
                  <a:cubicBezTo>
                    <a:pt x="30" y="3"/>
                    <a:pt x="30" y="3"/>
                    <a:pt x="30" y="4"/>
                  </a:cubicBezTo>
                  <a:cubicBezTo>
                    <a:pt x="31" y="4"/>
                    <a:pt x="31" y="4"/>
                    <a:pt x="32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3" y="5"/>
                    <a:pt x="34" y="5"/>
                    <a:pt x="35" y="6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6" y="7"/>
                    <a:pt x="36" y="7"/>
                    <a:pt x="37" y="7"/>
                  </a:cubicBezTo>
                  <a:cubicBezTo>
                    <a:pt x="37" y="7"/>
                    <a:pt x="37" y="7"/>
                    <a:pt x="37" y="8"/>
                  </a:cubicBezTo>
                  <a:cubicBezTo>
                    <a:pt x="38" y="8"/>
                    <a:pt x="39" y="8"/>
                    <a:pt x="39" y="8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1" y="9"/>
                    <a:pt x="41" y="10"/>
                    <a:pt x="42" y="10"/>
                  </a:cubicBezTo>
                  <a:cubicBezTo>
                    <a:pt x="42" y="10"/>
                    <a:pt x="42" y="10"/>
                    <a:pt x="42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4" y="11"/>
                  </a:cubicBezTo>
                  <a:cubicBezTo>
                    <a:pt x="44" y="11"/>
                    <a:pt x="44" y="11"/>
                    <a:pt x="44" y="12"/>
                  </a:cubicBezTo>
                  <a:cubicBezTo>
                    <a:pt x="45" y="12"/>
                    <a:pt x="45" y="12"/>
                    <a:pt x="46" y="12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47" y="13"/>
                    <a:pt x="48" y="13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50" y="15"/>
                    <a:pt x="50" y="15"/>
                    <a:pt x="51" y="15"/>
                  </a:cubicBezTo>
                  <a:cubicBezTo>
                    <a:pt x="51" y="15"/>
                    <a:pt x="51" y="16"/>
                    <a:pt x="51" y="16"/>
                  </a:cubicBezTo>
                  <a:cubicBezTo>
                    <a:pt x="52" y="16"/>
                    <a:pt x="53" y="16"/>
                    <a:pt x="53" y="16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4" y="17"/>
                    <a:pt x="54" y="17"/>
                    <a:pt x="55" y="17"/>
                  </a:cubicBezTo>
                  <a:cubicBezTo>
                    <a:pt x="55" y="17"/>
                    <a:pt x="55" y="17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6" y="18"/>
                    <a:pt x="56" y="18"/>
                  </a:cubicBezTo>
                  <a:cubicBezTo>
                    <a:pt x="56" y="18"/>
                    <a:pt x="56" y="18"/>
                    <a:pt x="56" y="19"/>
                  </a:cubicBezTo>
                  <a:cubicBezTo>
                    <a:pt x="57" y="19"/>
                    <a:pt x="58" y="19"/>
                    <a:pt x="58" y="19"/>
                  </a:cubicBezTo>
                  <a:cubicBezTo>
                    <a:pt x="58" y="19"/>
                    <a:pt x="59" y="20"/>
                    <a:pt x="59" y="20"/>
                  </a:cubicBezTo>
                  <a:cubicBezTo>
                    <a:pt x="59" y="20"/>
                    <a:pt x="60" y="20"/>
                    <a:pt x="61" y="21"/>
                  </a:cubicBezTo>
                  <a:cubicBezTo>
                    <a:pt x="61" y="21"/>
                    <a:pt x="61" y="21"/>
                    <a:pt x="61" y="21"/>
                  </a:cubicBezTo>
                  <a:cubicBezTo>
                    <a:pt x="62" y="22"/>
                    <a:pt x="63" y="22"/>
                    <a:pt x="63" y="22"/>
                  </a:cubicBezTo>
                  <a:cubicBezTo>
                    <a:pt x="63" y="22"/>
                    <a:pt x="64" y="23"/>
                    <a:pt x="64" y="23"/>
                  </a:cubicBezTo>
                  <a:cubicBezTo>
                    <a:pt x="64" y="23"/>
                    <a:pt x="65" y="23"/>
                    <a:pt x="66" y="23"/>
                  </a:cubicBezTo>
                  <a:cubicBezTo>
                    <a:pt x="66" y="24"/>
                    <a:pt x="66" y="24"/>
                    <a:pt x="66" y="24"/>
                  </a:cubicBezTo>
                  <a:cubicBezTo>
                    <a:pt x="67" y="24"/>
                    <a:pt x="67" y="25"/>
                    <a:pt x="68" y="25"/>
                  </a:cubicBezTo>
                  <a:cubicBezTo>
                    <a:pt x="68" y="25"/>
                    <a:pt x="68" y="25"/>
                    <a:pt x="69" y="26"/>
                  </a:cubicBezTo>
                  <a:cubicBezTo>
                    <a:pt x="69" y="26"/>
                    <a:pt x="70" y="26"/>
                    <a:pt x="71" y="26"/>
                  </a:cubicBezTo>
                  <a:cubicBezTo>
                    <a:pt x="71" y="26"/>
                    <a:pt x="71" y="27"/>
                    <a:pt x="71" y="27"/>
                  </a:cubicBezTo>
                  <a:cubicBezTo>
                    <a:pt x="72" y="27"/>
                    <a:pt x="72" y="27"/>
                    <a:pt x="73" y="28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87" y="29"/>
                    <a:pt x="100" y="30"/>
                    <a:pt x="114" y="30"/>
                  </a:cubicBezTo>
                  <a:cubicBezTo>
                    <a:pt x="114" y="30"/>
                    <a:pt x="114" y="30"/>
                    <a:pt x="114" y="30"/>
                  </a:cubicBezTo>
                  <a:cubicBezTo>
                    <a:pt x="114" y="30"/>
                    <a:pt x="114" y="30"/>
                    <a:pt x="114" y="30"/>
                  </a:cubicBezTo>
                  <a:cubicBezTo>
                    <a:pt x="114" y="30"/>
                    <a:pt x="115" y="30"/>
                    <a:pt x="115" y="29"/>
                  </a:cubicBezTo>
                  <a:cubicBezTo>
                    <a:pt x="115" y="29"/>
                    <a:pt x="115" y="29"/>
                    <a:pt x="115" y="29"/>
                  </a:cubicBezTo>
                  <a:cubicBezTo>
                    <a:pt x="115" y="29"/>
                    <a:pt x="115" y="29"/>
                    <a:pt x="115" y="29"/>
                  </a:cubicBezTo>
                  <a:cubicBezTo>
                    <a:pt x="116" y="29"/>
                    <a:pt x="116" y="29"/>
                    <a:pt x="116" y="29"/>
                  </a:cubicBezTo>
                  <a:cubicBezTo>
                    <a:pt x="116" y="29"/>
                    <a:pt x="116" y="29"/>
                    <a:pt x="116" y="29"/>
                  </a:cubicBezTo>
                  <a:cubicBezTo>
                    <a:pt x="117" y="29"/>
                    <a:pt x="117" y="28"/>
                    <a:pt x="117" y="28"/>
                  </a:cubicBezTo>
                  <a:cubicBezTo>
                    <a:pt x="117" y="28"/>
                    <a:pt x="117" y="28"/>
                    <a:pt x="117" y="28"/>
                  </a:cubicBezTo>
                  <a:cubicBezTo>
                    <a:pt x="118" y="28"/>
                    <a:pt x="118" y="28"/>
                    <a:pt x="118" y="28"/>
                  </a:cubicBezTo>
                  <a:cubicBezTo>
                    <a:pt x="118" y="28"/>
                    <a:pt x="118" y="28"/>
                    <a:pt x="118" y="28"/>
                  </a:cubicBezTo>
                  <a:cubicBezTo>
                    <a:pt x="118" y="28"/>
                    <a:pt x="119" y="28"/>
                    <a:pt x="119" y="28"/>
                  </a:cubicBezTo>
                  <a:cubicBezTo>
                    <a:pt x="119" y="28"/>
                    <a:pt x="119" y="27"/>
                    <a:pt x="119" y="27"/>
                  </a:cubicBezTo>
                  <a:cubicBezTo>
                    <a:pt x="119" y="27"/>
                    <a:pt x="119" y="27"/>
                    <a:pt x="120" y="27"/>
                  </a:cubicBezTo>
                  <a:cubicBezTo>
                    <a:pt x="120" y="27"/>
                    <a:pt x="120" y="27"/>
                    <a:pt x="120" y="27"/>
                  </a:cubicBezTo>
                  <a:cubicBezTo>
                    <a:pt x="120" y="27"/>
                    <a:pt x="120" y="27"/>
                    <a:pt x="120" y="27"/>
                  </a:cubicBezTo>
                  <a:cubicBezTo>
                    <a:pt x="120" y="27"/>
                    <a:pt x="120" y="27"/>
                    <a:pt x="120" y="27"/>
                  </a:cubicBezTo>
                  <a:cubicBezTo>
                    <a:pt x="121" y="27"/>
                    <a:pt x="121" y="27"/>
                    <a:pt x="121" y="27"/>
                  </a:cubicBezTo>
                  <a:cubicBezTo>
                    <a:pt x="121" y="26"/>
                    <a:pt x="121" y="26"/>
                    <a:pt x="121" y="26"/>
                  </a:cubicBezTo>
                  <a:cubicBezTo>
                    <a:pt x="121" y="26"/>
                    <a:pt x="122" y="26"/>
                    <a:pt x="122" y="26"/>
                  </a:cubicBezTo>
                  <a:cubicBezTo>
                    <a:pt x="122" y="26"/>
                    <a:pt x="123" y="25"/>
                    <a:pt x="123" y="25"/>
                  </a:cubicBezTo>
                  <a:cubicBezTo>
                    <a:pt x="123" y="25"/>
                    <a:pt x="124" y="25"/>
                    <a:pt x="125" y="25"/>
                  </a:cubicBezTo>
                  <a:cubicBezTo>
                    <a:pt x="125" y="24"/>
                    <a:pt x="125" y="24"/>
                    <a:pt x="125" y="24"/>
                  </a:cubicBezTo>
                  <a:cubicBezTo>
                    <a:pt x="125" y="24"/>
                    <a:pt x="125" y="24"/>
                    <a:pt x="126" y="24"/>
                  </a:cubicBezTo>
                  <a:cubicBezTo>
                    <a:pt x="126" y="24"/>
                    <a:pt x="126" y="24"/>
                    <a:pt x="126" y="24"/>
                  </a:cubicBezTo>
                  <a:cubicBezTo>
                    <a:pt x="126" y="24"/>
                    <a:pt x="126" y="24"/>
                    <a:pt x="126" y="24"/>
                  </a:cubicBezTo>
                  <a:cubicBezTo>
                    <a:pt x="127" y="23"/>
                    <a:pt x="128" y="23"/>
                    <a:pt x="129" y="22"/>
                  </a:cubicBezTo>
                  <a:cubicBezTo>
                    <a:pt x="129" y="23"/>
                    <a:pt x="129" y="23"/>
                    <a:pt x="129" y="23"/>
                  </a:cubicBezTo>
                  <a:cubicBezTo>
                    <a:pt x="129" y="23"/>
                    <a:pt x="130" y="24"/>
                    <a:pt x="131" y="25"/>
                  </a:cubicBezTo>
                  <a:cubicBezTo>
                    <a:pt x="131" y="25"/>
                    <a:pt x="131" y="25"/>
                    <a:pt x="131" y="26"/>
                  </a:cubicBezTo>
                  <a:cubicBezTo>
                    <a:pt x="132" y="26"/>
                    <a:pt x="133" y="27"/>
                    <a:pt x="133" y="27"/>
                  </a:cubicBezTo>
                  <a:cubicBezTo>
                    <a:pt x="133" y="28"/>
                    <a:pt x="133" y="28"/>
                    <a:pt x="133" y="28"/>
                  </a:cubicBezTo>
                  <a:cubicBezTo>
                    <a:pt x="133" y="28"/>
                    <a:pt x="133" y="28"/>
                    <a:pt x="134" y="28"/>
                  </a:cubicBezTo>
                  <a:cubicBezTo>
                    <a:pt x="134" y="28"/>
                    <a:pt x="134" y="29"/>
                    <a:pt x="134" y="29"/>
                  </a:cubicBezTo>
                  <a:cubicBezTo>
                    <a:pt x="135" y="29"/>
                    <a:pt x="135" y="30"/>
                    <a:pt x="136" y="30"/>
                  </a:cubicBezTo>
                  <a:cubicBezTo>
                    <a:pt x="136" y="30"/>
                    <a:pt x="136" y="31"/>
                    <a:pt x="136" y="31"/>
                  </a:cubicBezTo>
                  <a:cubicBezTo>
                    <a:pt x="136" y="32"/>
                    <a:pt x="137" y="32"/>
                    <a:pt x="138" y="33"/>
                  </a:cubicBezTo>
                  <a:cubicBezTo>
                    <a:pt x="138" y="33"/>
                    <a:pt x="138" y="33"/>
                    <a:pt x="138" y="34"/>
                  </a:cubicBezTo>
                  <a:cubicBezTo>
                    <a:pt x="138" y="34"/>
                    <a:pt x="138" y="34"/>
                    <a:pt x="138" y="34"/>
                  </a:cubicBezTo>
                  <a:cubicBezTo>
                    <a:pt x="139" y="34"/>
                    <a:pt x="140" y="35"/>
                    <a:pt x="141" y="36"/>
                  </a:cubicBezTo>
                  <a:cubicBezTo>
                    <a:pt x="142" y="36"/>
                    <a:pt x="143" y="36"/>
                    <a:pt x="144" y="35"/>
                  </a:cubicBezTo>
                  <a:cubicBezTo>
                    <a:pt x="144" y="35"/>
                    <a:pt x="144" y="35"/>
                    <a:pt x="144" y="35"/>
                  </a:cubicBezTo>
                  <a:cubicBezTo>
                    <a:pt x="144" y="35"/>
                    <a:pt x="145" y="35"/>
                    <a:pt x="145" y="35"/>
                  </a:cubicBezTo>
                  <a:cubicBezTo>
                    <a:pt x="145" y="35"/>
                    <a:pt x="145" y="35"/>
                    <a:pt x="145" y="35"/>
                  </a:cubicBezTo>
                  <a:cubicBezTo>
                    <a:pt x="146" y="35"/>
                    <a:pt x="146" y="34"/>
                    <a:pt x="147" y="34"/>
                  </a:cubicBezTo>
                  <a:cubicBezTo>
                    <a:pt x="147" y="34"/>
                    <a:pt x="147" y="34"/>
                    <a:pt x="147" y="34"/>
                  </a:cubicBezTo>
                  <a:cubicBezTo>
                    <a:pt x="147" y="34"/>
                    <a:pt x="147" y="34"/>
                    <a:pt x="148" y="34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8" y="33"/>
                    <a:pt x="148" y="33"/>
                    <a:pt x="149" y="33"/>
                  </a:cubicBezTo>
                  <a:cubicBezTo>
                    <a:pt x="149" y="33"/>
                    <a:pt x="149" y="33"/>
                    <a:pt x="149" y="33"/>
                  </a:cubicBezTo>
                  <a:cubicBezTo>
                    <a:pt x="149" y="33"/>
                    <a:pt x="150" y="33"/>
                    <a:pt x="150" y="33"/>
                  </a:cubicBezTo>
                  <a:cubicBezTo>
                    <a:pt x="150" y="33"/>
                    <a:pt x="150" y="33"/>
                    <a:pt x="150" y="33"/>
                  </a:cubicBezTo>
                  <a:cubicBezTo>
                    <a:pt x="150" y="32"/>
                    <a:pt x="151" y="32"/>
                    <a:pt x="151" y="32"/>
                  </a:cubicBezTo>
                  <a:cubicBezTo>
                    <a:pt x="151" y="32"/>
                    <a:pt x="151" y="32"/>
                    <a:pt x="151" y="32"/>
                  </a:cubicBezTo>
                  <a:cubicBezTo>
                    <a:pt x="152" y="32"/>
                    <a:pt x="152" y="32"/>
                    <a:pt x="152" y="32"/>
                  </a:cubicBezTo>
                  <a:cubicBezTo>
                    <a:pt x="152" y="32"/>
                    <a:pt x="152" y="32"/>
                    <a:pt x="152" y="32"/>
                  </a:cubicBezTo>
                  <a:cubicBezTo>
                    <a:pt x="152" y="32"/>
                    <a:pt x="153" y="32"/>
                    <a:pt x="153" y="32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4" y="31"/>
                    <a:pt x="154" y="31"/>
                    <a:pt x="155" y="31"/>
                  </a:cubicBezTo>
                  <a:cubicBezTo>
                    <a:pt x="155" y="31"/>
                    <a:pt x="155" y="31"/>
                    <a:pt x="155" y="30"/>
                  </a:cubicBezTo>
                  <a:cubicBezTo>
                    <a:pt x="155" y="30"/>
                    <a:pt x="155" y="30"/>
                    <a:pt x="156" y="30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30"/>
                    <a:pt x="157" y="30"/>
                    <a:pt x="157" y="30"/>
                  </a:cubicBezTo>
                  <a:cubicBezTo>
                    <a:pt x="157" y="30"/>
                    <a:pt x="157" y="30"/>
                    <a:pt x="157" y="29"/>
                  </a:cubicBezTo>
                  <a:cubicBezTo>
                    <a:pt x="157" y="29"/>
                    <a:pt x="158" y="29"/>
                    <a:pt x="158" y="29"/>
                  </a:cubicBezTo>
                  <a:cubicBezTo>
                    <a:pt x="158" y="29"/>
                    <a:pt x="158" y="29"/>
                    <a:pt x="158" y="29"/>
                  </a:cubicBezTo>
                  <a:cubicBezTo>
                    <a:pt x="159" y="29"/>
                    <a:pt x="159" y="29"/>
                    <a:pt x="159" y="29"/>
                  </a:cubicBezTo>
                  <a:cubicBezTo>
                    <a:pt x="159" y="29"/>
                    <a:pt x="159" y="28"/>
                    <a:pt x="159" y="28"/>
                  </a:cubicBezTo>
                  <a:cubicBezTo>
                    <a:pt x="160" y="28"/>
                    <a:pt x="160" y="28"/>
                    <a:pt x="160" y="28"/>
                  </a:cubicBezTo>
                  <a:cubicBezTo>
                    <a:pt x="160" y="28"/>
                    <a:pt x="160" y="28"/>
                    <a:pt x="160" y="28"/>
                  </a:cubicBezTo>
                  <a:cubicBezTo>
                    <a:pt x="161" y="28"/>
                    <a:pt x="161" y="28"/>
                    <a:pt x="162" y="28"/>
                  </a:cubicBezTo>
                  <a:cubicBezTo>
                    <a:pt x="162" y="28"/>
                    <a:pt x="162" y="27"/>
                    <a:pt x="162" y="27"/>
                  </a:cubicBezTo>
                  <a:cubicBezTo>
                    <a:pt x="162" y="27"/>
                    <a:pt x="162" y="27"/>
                    <a:pt x="163" y="27"/>
                  </a:cubicBezTo>
                  <a:cubicBezTo>
                    <a:pt x="163" y="27"/>
                    <a:pt x="163" y="27"/>
                    <a:pt x="163" y="27"/>
                  </a:cubicBezTo>
                  <a:cubicBezTo>
                    <a:pt x="163" y="27"/>
                    <a:pt x="163" y="27"/>
                    <a:pt x="164" y="27"/>
                  </a:cubicBezTo>
                  <a:cubicBezTo>
                    <a:pt x="164" y="27"/>
                    <a:pt x="164" y="27"/>
                    <a:pt x="164" y="27"/>
                  </a:cubicBezTo>
                  <a:cubicBezTo>
                    <a:pt x="164" y="26"/>
                    <a:pt x="165" y="26"/>
                    <a:pt x="165" y="26"/>
                  </a:cubicBezTo>
                  <a:cubicBezTo>
                    <a:pt x="165" y="26"/>
                    <a:pt x="165" y="26"/>
                    <a:pt x="165" y="26"/>
                  </a:cubicBezTo>
                  <a:cubicBezTo>
                    <a:pt x="165" y="26"/>
                    <a:pt x="166" y="26"/>
                    <a:pt x="166" y="26"/>
                  </a:cubicBezTo>
                  <a:cubicBezTo>
                    <a:pt x="166" y="26"/>
                    <a:pt x="166" y="26"/>
                    <a:pt x="166" y="26"/>
                  </a:cubicBezTo>
                  <a:cubicBezTo>
                    <a:pt x="167" y="25"/>
                    <a:pt x="167" y="25"/>
                    <a:pt x="167" y="25"/>
                  </a:cubicBezTo>
                  <a:cubicBezTo>
                    <a:pt x="167" y="25"/>
                    <a:pt x="167" y="25"/>
                    <a:pt x="167" y="25"/>
                  </a:cubicBezTo>
                  <a:cubicBezTo>
                    <a:pt x="168" y="25"/>
                    <a:pt x="169" y="25"/>
                    <a:pt x="170" y="25"/>
                  </a:cubicBezTo>
                  <a:cubicBezTo>
                    <a:pt x="170" y="24"/>
                    <a:pt x="170" y="24"/>
                    <a:pt x="170" y="24"/>
                  </a:cubicBezTo>
                  <a:cubicBezTo>
                    <a:pt x="170" y="24"/>
                    <a:pt x="170" y="24"/>
                    <a:pt x="170" y="24"/>
                  </a:cubicBezTo>
                  <a:cubicBezTo>
                    <a:pt x="170" y="24"/>
                    <a:pt x="170" y="24"/>
                    <a:pt x="170" y="24"/>
                  </a:cubicBezTo>
                  <a:cubicBezTo>
                    <a:pt x="171" y="24"/>
                    <a:pt x="171" y="24"/>
                    <a:pt x="171" y="24"/>
                  </a:cubicBezTo>
                  <a:cubicBezTo>
                    <a:pt x="171" y="24"/>
                    <a:pt x="171" y="24"/>
                    <a:pt x="171" y="23"/>
                  </a:cubicBezTo>
                  <a:cubicBezTo>
                    <a:pt x="172" y="23"/>
                    <a:pt x="172" y="23"/>
                    <a:pt x="172" y="23"/>
                  </a:cubicBezTo>
                  <a:cubicBezTo>
                    <a:pt x="172" y="23"/>
                    <a:pt x="172" y="23"/>
                    <a:pt x="172" y="23"/>
                  </a:cubicBezTo>
                  <a:cubicBezTo>
                    <a:pt x="173" y="23"/>
                    <a:pt x="173" y="23"/>
                    <a:pt x="173" y="23"/>
                  </a:cubicBezTo>
                  <a:cubicBezTo>
                    <a:pt x="173" y="23"/>
                    <a:pt x="173" y="23"/>
                    <a:pt x="173" y="23"/>
                  </a:cubicBezTo>
                  <a:cubicBezTo>
                    <a:pt x="174" y="23"/>
                    <a:pt x="174" y="23"/>
                    <a:pt x="174" y="23"/>
                  </a:cubicBezTo>
                  <a:cubicBezTo>
                    <a:pt x="174" y="23"/>
                    <a:pt x="174" y="23"/>
                    <a:pt x="174" y="22"/>
                  </a:cubicBezTo>
                  <a:cubicBezTo>
                    <a:pt x="175" y="22"/>
                    <a:pt x="175" y="22"/>
                    <a:pt x="175" y="22"/>
                  </a:cubicBezTo>
                  <a:cubicBezTo>
                    <a:pt x="175" y="22"/>
                    <a:pt x="175" y="22"/>
                    <a:pt x="175" y="22"/>
                  </a:cubicBezTo>
                  <a:cubicBezTo>
                    <a:pt x="176" y="22"/>
                    <a:pt x="176" y="22"/>
                    <a:pt x="176" y="22"/>
                  </a:cubicBezTo>
                  <a:cubicBezTo>
                    <a:pt x="176" y="22"/>
                    <a:pt x="176" y="22"/>
                    <a:pt x="176" y="22"/>
                  </a:cubicBezTo>
                  <a:cubicBezTo>
                    <a:pt x="177" y="22"/>
                    <a:pt x="178" y="21"/>
                    <a:pt x="178" y="21"/>
                  </a:cubicBezTo>
                  <a:cubicBezTo>
                    <a:pt x="178" y="21"/>
                    <a:pt x="178" y="21"/>
                    <a:pt x="178" y="21"/>
                  </a:cubicBezTo>
                  <a:cubicBezTo>
                    <a:pt x="179" y="21"/>
                    <a:pt x="179" y="21"/>
                    <a:pt x="179" y="21"/>
                  </a:cubicBezTo>
                  <a:cubicBezTo>
                    <a:pt x="179" y="21"/>
                    <a:pt x="179" y="21"/>
                    <a:pt x="179" y="21"/>
                  </a:cubicBezTo>
                  <a:cubicBezTo>
                    <a:pt x="180" y="21"/>
                    <a:pt x="180" y="20"/>
                    <a:pt x="181" y="20"/>
                  </a:cubicBezTo>
                  <a:cubicBezTo>
                    <a:pt x="181" y="20"/>
                    <a:pt x="181" y="20"/>
                    <a:pt x="181" y="20"/>
                  </a:cubicBezTo>
                  <a:cubicBezTo>
                    <a:pt x="182" y="20"/>
                    <a:pt x="183" y="20"/>
                    <a:pt x="183" y="20"/>
                  </a:cubicBezTo>
                  <a:cubicBezTo>
                    <a:pt x="183" y="19"/>
                    <a:pt x="183" y="19"/>
                    <a:pt x="183" y="19"/>
                  </a:cubicBezTo>
                  <a:cubicBezTo>
                    <a:pt x="183" y="19"/>
                    <a:pt x="184" y="19"/>
                    <a:pt x="184" y="19"/>
                  </a:cubicBezTo>
                  <a:cubicBezTo>
                    <a:pt x="184" y="19"/>
                    <a:pt x="184" y="19"/>
                    <a:pt x="184" y="19"/>
                  </a:cubicBezTo>
                  <a:cubicBezTo>
                    <a:pt x="185" y="19"/>
                    <a:pt x="186" y="18"/>
                    <a:pt x="187" y="18"/>
                  </a:cubicBezTo>
                  <a:cubicBezTo>
                    <a:pt x="187" y="18"/>
                    <a:pt x="187" y="18"/>
                    <a:pt x="187" y="18"/>
                  </a:cubicBezTo>
                  <a:cubicBezTo>
                    <a:pt x="188" y="17"/>
                    <a:pt x="189" y="17"/>
                    <a:pt x="190" y="17"/>
                  </a:cubicBezTo>
                  <a:cubicBezTo>
                    <a:pt x="191" y="18"/>
                    <a:pt x="192" y="19"/>
                    <a:pt x="193" y="20"/>
                  </a:cubicBezTo>
                  <a:cubicBezTo>
                    <a:pt x="193" y="20"/>
                    <a:pt x="193" y="21"/>
                    <a:pt x="194" y="21"/>
                  </a:cubicBezTo>
                  <a:cubicBezTo>
                    <a:pt x="194" y="21"/>
                    <a:pt x="194" y="21"/>
                    <a:pt x="194" y="21"/>
                  </a:cubicBezTo>
                  <a:cubicBezTo>
                    <a:pt x="195" y="22"/>
                    <a:pt x="197" y="23"/>
                    <a:pt x="198" y="25"/>
                  </a:cubicBezTo>
                  <a:cubicBezTo>
                    <a:pt x="198" y="25"/>
                    <a:pt x="198" y="25"/>
                    <a:pt x="198" y="25"/>
                  </a:cubicBezTo>
                  <a:cubicBezTo>
                    <a:pt x="198" y="25"/>
                    <a:pt x="198" y="25"/>
                    <a:pt x="198" y="25"/>
                  </a:cubicBezTo>
                  <a:cubicBezTo>
                    <a:pt x="199" y="26"/>
                    <a:pt x="199" y="26"/>
                    <a:pt x="201" y="26"/>
                  </a:cubicBezTo>
                  <a:cubicBezTo>
                    <a:pt x="201" y="26"/>
                    <a:pt x="201" y="26"/>
                    <a:pt x="201" y="26"/>
                  </a:cubicBezTo>
                  <a:cubicBezTo>
                    <a:pt x="202" y="26"/>
                    <a:pt x="203" y="26"/>
                    <a:pt x="204" y="26"/>
                  </a:cubicBezTo>
                  <a:cubicBezTo>
                    <a:pt x="206" y="27"/>
                    <a:pt x="209" y="27"/>
                    <a:pt x="211" y="28"/>
                  </a:cubicBezTo>
                  <a:cubicBezTo>
                    <a:pt x="211" y="28"/>
                    <a:pt x="212" y="28"/>
                    <a:pt x="213" y="28"/>
                  </a:cubicBezTo>
                  <a:cubicBezTo>
                    <a:pt x="215" y="28"/>
                    <a:pt x="218" y="28"/>
                    <a:pt x="220" y="29"/>
                  </a:cubicBezTo>
                  <a:cubicBezTo>
                    <a:pt x="221" y="29"/>
                    <a:pt x="222" y="29"/>
                    <a:pt x="222" y="29"/>
                  </a:cubicBezTo>
                  <a:cubicBezTo>
                    <a:pt x="227" y="30"/>
                    <a:pt x="231" y="31"/>
                    <a:pt x="235" y="33"/>
                  </a:cubicBezTo>
                  <a:cubicBezTo>
                    <a:pt x="236" y="33"/>
                    <a:pt x="236" y="33"/>
                    <a:pt x="237" y="33"/>
                  </a:cubicBezTo>
                  <a:cubicBezTo>
                    <a:pt x="237" y="33"/>
                    <a:pt x="237" y="33"/>
                    <a:pt x="237" y="33"/>
                  </a:cubicBezTo>
                  <a:cubicBezTo>
                    <a:pt x="237" y="33"/>
                    <a:pt x="238" y="33"/>
                    <a:pt x="238" y="33"/>
                  </a:cubicBezTo>
                  <a:cubicBezTo>
                    <a:pt x="238" y="33"/>
                    <a:pt x="238" y="33"/>
                    <a:pt x="238" y="33"/>
                  </a:cubicBezTo>
                  <a:cubicBezTo>
                    <a:pt x="239" y="33"/>
                    <a:pt x="239" y="33"/>
                    <a:pt x="240" y="33"/>
                  </a:cubicBezTo>
                  <a:cubicBezTo>
                    <a:pt x="240" y="33"/>
                    <a:pt x="240" y="33"/>
                    <a:pt x="240" y="34"/>
                  </a:cubicBezTo>
                  <a:cubicBezTo>
                    <a:pt x="240" y="34"/>
                    <a:pt x="240" y="34"/>
                    <a:pt x="241" y="34"/>
                  </a:cubicBezTo>
                  <a:cubicBezTo>
                    <a:pt x="251" y="40"/>
                    <a:pt x="261" y="47"/>
                    <a:pt x="270" y="54"/>
                  </a:cubicBezTo>
                  <a:cubicBezTo>
                    <a:pt x="271" y="55"/>
                    <a:pt x="271" y="56"/>
                    <a:pt x="271" y="57"/>
                  </a:cubicBezTo>
                  <a:cubicBezTo>
                    <a:pt x="271" y="57"/>
                    <a:pt x="272" y="57"/>
                    <a:pt x="272" y="57"/>
                  </a:cubicBezTo>
                  <a:cubicBezTo>
                    <a:pt x="272" y="58"/>
                    <a:pt x="272" y="58"/>
                    <a:pt x="272" y="58"/>
                  </a:cubicBezTo>
                  <a:cubicBezTo>
                    <a:pt x="272" y="58"/>
                    <a:pt x="272" y="58"/>
                    <a:pt x="272" y="58"/>
                  </a:cubicBezTo>
                  <a:cubicBezTo>
                    <a:pt x="272" y="58"/>
                    <a:pt x="272" y="59"/>
                    <a:pt x="272" y="59"/>
                  </a:cubicBezTo>
                  <a:cubicBezTo>
                    <a:pt x="272" y="59"/>
                    <a:pt x="272" y="59"/>
                    <a:pt x="272" y="59"/>
                  </a:cubicBezTo>
                  <a:cubicBezTo>
                    <a:pt x="273" y="60"/>
                    <a:pt x="273" y="60"/>
                    <a:pt x="273" y="61"/>
                  </a:cubicBezTo>
                  <a:cubicBezTo>
                    <a:pt x="273" y="61"/>
                    <a:pt x="273" y="61"/>
                    <a:pt x="273" y="61"/>
                  </a:cubicBezTo>
                  <a:cubicBezTo>
                    <a:pt x="273" y="61"/>
                    <a:pt x="273" y="61"/>
                    <a:pt x="273" y="62"/>
                  </a:cubicBezTo>
                  <a:cubicBezTo>
                    <a:pt x="273" y="62"/>
                    <a:pt x="273" y="62"/>
                    <a:pt x="273" y="62"/>
                  </a:cubicBezTo>
                  <a:cubicBezTo>
                    <a:pt x="273" y="62"/>
                    <a:pt x="273" y="62"/>
                    <a:pt x="273" y="62"/>
                  </a:cubicBezTo>
                  <a:cubicBezTo>
                    <a:pt x="274" y="62"/>
                    <a:pt x="274" y="62"/>
                    <a:pt x="274" y="62"/>
                  </a:cubicBezTo>
                  <a:cubicBezTo>
                    <a:pt x="274" y="63"/>
                    <a:pt x="274" y="63"/>
                    <a:pt x="274" y="63"/>
                  </a:cubicBezTo>
                  <a:cubicBezTo>
                    <a:pt x="274" y="63"/>
                    <a:pt x="274" y="63"/>
                    <a:pt x="274" y="63"/>
                  </a:cubicBezTo>
                  <a:cubicBezTo>
                    <a:pt x="274" y="64"/>
                    <a:pt x="274" y="64"/>
                    <a:pt x="275" y="65"/>
                  </a:cubicBezTo>
                  <a:cubicBezTo>
                    <a:pt x="275" y="65"/>
                    <a:pt x="275" y="65"/>
                    <a:pt x="275" y="65"/>
                  </a:cubicBezTo>
                  <a:cubicBezTo>
                    <a:pt x="275" y="65"/>
                    <a:pt x="275" y="65"/>
                    <a:pt x="275" y="66"/>
                  </a:cubicBezTo>
                  <a:cubicBezTo>
                    <a:pt x="275" y="66"/>
                    <a:pt x="275" y="66"/>
                    <a:pt x="275" y="66"/>
                  </a:cubicBezTo>
                  <a:cubicBezTo>
                    <a:pt x="275" y="66"/>
                    <a:pt x="275" y="67"/>
                    <a:pt x="276" y="67"/>
                  </a:cubicBezTo>
                  <a:cubicBezTo>
                    <a:pt x="276" y="67"/>
                    <a:pt x="276" y="67"/>
                    <a:pt x="276" y="67"/>
                  </a:cubicBezTo>
                  <a:cubicBezTo>
                    <a:pt x="276" y="68"/>
                    <a:pt x="276" y="68"/>
                    <a:pt x="276" y="68"/>
                  </a:cubicBezTo>
                  <a:cubicBezTo>
                    <a:pt x="276" y="68"/>
                    <a:pt x="276" y="68"/>
                    <a:pt x="276" y="68"/>
                  </a:cubicBezTo>
                  <a:cubicBezTo>
                    <a:pt x="276" y="69"/>
                    <a:pt x="276" y="69"/>
                    <a:pt x="277" y="70"/>
                  </a:cubicBezTo>
                  <a:cubicBezTo>
                    <a:pt x="277" y="70"/>
                    <a:pt x="277" y="70"/>
                    <a:pt x="277" y="70"/>
                  </a:cubicBezTo>
                  <a:cubicBezTo>
                    <a:pt x="277" y="70"/>
                    <a:pt x="277" y="71"/>
                    <a:pt x="277" y="71"/>
                  </a:cubicBezTo>
                  <a:cubicBezTo>
                    <a:pt x="277" y="71"/>
                    <a:pt x="278" y="71"/>
                    <a:pt x="278" y="71"/>
                  </a:cubicBezTo>
                  <a:cubicBezTo>
                    <a:pt x="278" y="72"/>
                    <a:pt x="278" y="72"/>
                    <a:pt x="278" y="72"/>
                  </a:cubicBezTo>
                  <a:cubicBezTo>
                    <a:pt x="278" y="72"/>
                    <a:pt x="278" y="72"/>
                    <a:pt x="278" y="72"/>
                  </a:cubicBezTo>
                  <a:cubicBezTo>
                    <a:pt x="278" y="73"/>
                    <a:pt x="278" y="73"/>
                    <a:pt x="278" y="74"/>
                  </a:cubicBezTo>
                  <a:cubicBezTo>
                    <a:pt x="278" y="74"/>
                    <a:pt x="279" y="74"/>
                    <a:pt x="279" y="74"/>
                  </a:cubicBezTo>
                  <a:cubicBezTo>
                    <a:pt x="279" y="74"/>
                    <a:pt x="279" y="75"/>
                    <a:pt x="279" y="75"/>
                  </a:cubicBezTo>
                  <a:cubicBezTo>
                    <a:pt x="279" y="75"/>
                    <a:pt x="279" y="75"/>
                    <a:pt x="279" y="75"/>
                  </a:cubicBezTo>
                  <a:cubicBezTo>
                    <a:pt x="279" y="75"/>
                    <a:pt x="279" y="76"/>
                    <a:pt x="279" y="77"/>
                  </a:cubicBezTo>
                  <a:cubicBezTo>
                    <a:pt x="280" y="77"/>
                    <a:pt x="280" y="77"/>
                    <a:pt x="280" y="77"/>
                  </a:cubicBezTo>
                  <a:cubicBezTo>
                    <a:pt x="280" y="77"/>
                    <a:pt x="280" y="78"/>
                    <a:pt x="280" y="78"/>
                  </a:cubicBezTo>
                  <a:cubicBezTo>
                    <a:pt x="280" y="78"/>
                    <a:pt x="280" y="78"/>
                    <a:pt x="280" y="78"/>
                  </a:cubicBezTo>
                  <a:cubicBezTo>
                    <a:pt x="281" y="79"/>
                    <a:pt x="281" y="80"/>
                    <a:pt x="282" y="82"/>
                  </a:cubicBezTo>
                  <a:cubicBezTo>
                    <a:pt x="282" y="82"/>
                    <a:pt x="282" y="82"/>
                    <a:pt x="282" y="82"/>
                  </a:cubicBezTo>
                  <a:cubicBezTo>
                    <a:pt x="282" y="82"/>
                    <a:pt x="282" y="82"/>
                    <a:pt x="282" y="82"/>
                  </a:cubicBezTo>
                  <a:cubicBezTo>
                    <a:pt x="282" y="82"/>
                    <a:pt x="282" y="82"/>
                    <a:pt x="282" y="82"/>
                  </a:cubicBezTo>
                  <a:cubicBezTo>
                    <a:pt x="282" y="83"/>
                    <a:pt x="282" y="83"/>
                    <a:pt x="282" y="83"/>
                  </a:cubicBezTo>
                  <a:cubicBezTo>
                    <a:pt x="282" y="83"/>
                    <a:pt x="282" y="83"/>
                    <a:pt x="283" y="83"/>
                  </a:cubicBezTo>
                  <a:cubicBezTo>
                    <a:pt x="283" y="84"/>
                    <a:pt x="283" y="84"/>
                    <a:pt x="283" y="85"/>
                  </a:cubicBezTo>
                  <a:cubicBezTo>
                    <a:pt x="283" y="85"/>
                    <a:pt x="283" y="85"/>
                    <a:pt x="283" y="85"/>
                  </a:cubicBezTo>
                  <a:cubicBezTo>
                    <a:pt x="283" y="85"/>
                    <a:pt x="283" y="85"/>
                    <a:pt x="283" y="86"/>
                  </a:cubicBezTo>
                  <a:cubicBezTo>
                    <a:pt x="283" y="86"/>
                    <a:pt x="283" y="86"/>
                    <a:pt x="284" y="86"/>
                  </a:cubicBezTo>
                  <a:cubicBezTo>
                    <a:pt x="284" y="86"/>
                    <a:pt x="284" y="86"/>
                    <a:pt x="284" y="86"/>
                  </a:cubicBezTo>
                  <a:cubicBezTo>
                    <a:pt x="284" y="86"/>
                    <a:pt x="284" y="86"/>
                    <a:pt x="284" y="86"/>
                  </a:cubicBezTo>
                  <a:cubicBezTo>
                    <a:pt x="284" y="87"/>
                    <a:pt x="284" y="87"/>
                    <a:pt x="284" y="87"/>
                  </a:cubicBezTo>
                  <a:cubicBezTo>
                    <a:pt x="284" y="87"/>
                    <a:pt x="284" y="87"/>
                    <a:pt x="284" y="87"/>
                  </a:cubicBezTo>
                  <a:cubicBezTo>
                    <a:pt x="284" y="88"/>
                    <a:pt x="285" y="88"/>
                    <a:pt x="285" y="89"/>
                  </a:cubicBezTo>
                  <a:cubicBezTo>
                    <a:pt x="285" y="89"/>
                    <a:pt x="285" y="89"/>
                    <a:pt x="285" y="89"/>
                  </a:cubicBezTo>
                  <a:cubicBezTo>
                    <a:pt x="285" y="89"/>
                    <a:pt x="285" y="90"/>
                    <a:pt x="285" y="90"/>
                  </a:cubicBezTo>
                  <a:cubicBezTo>
                    <a:pt x="285" y="90"/>
                    <a:pt x="285" y="90"/>
                    <a:pt x="285" y="90"/>
                  </a:cubicBezTo>
                  <a:cubicBezTo>
                    <a:pt x="285" y="90"/>
                    <a:pt x="286" y="91"/>
                    <a:pt x="286" y="91"/>
                  </a:cubicBezTo>
                  <a:cubicBezTo>
                    <a:pt x="286" y="91"/>
                    <a:pt x="286" y="91"/>
                    <a:pt x="286" y="91"/>
                  </a:cubicBezTo>
                  <a:cubicBezTo>
                    <a:pt x="286" y="92"/>
                    <a:pt x="286" y="92"/>
                    <a:pt x="286" y="92"/>
                  </a:cubicBezTo>
                  <a:cubicBezTo>
                    <a:pt x="286" y="92"/>
                    <a:pt x="286" y="92"/>
                    <a:pt x="286" y="92"/>
                  </a:cubicBezTo>
                  <a:cubicBezTo>
                    <a:pt x="286" y="93"/>
                    <a:pt x="286" y="93"/>
                    <a:pt x="286" y="93"/>
                  </a:cubicBezTo>
                  <a:cubicBezTo>
                    <a:pt x="287" y="93"/>
                    <a:pt x="287" y="93"/>
                    <a:pt x="287" y="93"/>
                  </a:cubicBezTo>
                  <a:cubicBezTo>
                    <a:pt x="287" y="93"/>
                    <a:pt x="287" y="94"/>
                    <a:pt x="287" y="94"/>
                  </a:cubicBezTo>
                  <a:cubicBezTo>
                    <a:pt x="287" y="94"/>
                    <a:pt x="287" y="94"/>
                    <a:pt x="287" y="94"/>
                  </a:cubicBezTo>
                  <a:cubicBezTo>
                    <a:pt x="287" y="94"/>
                    <a:pt x="287" y="95"/>
                    <a:pt x="287" y="95"/>
                  </a:cubicBezTo>
                  <a:cubicBezTo>
                    <a:pt x="287" y="95"/>
                    <a:pt x="287" y="95"/>
                    <a:pt x="287" y="95"/>
                  </a:cubicBezTo>
                  <a:cubicBezTo>
                    <a:pt x="288" y="95"/>
                    <a:pt x="287" y="97"/>
                    <a:pt x="287" y="98"/>
                  </a:cubicBezTo>
                  <a:cubicBezTo>
                    <a:pt x="287" y="98"/>
                    <a:pt x="287" y="99"/>
                    <a:pt x="287" y="100"/>
                  </a:cubicBezTo>
                  <a:cubicBezTo>
                    <a:pt x="286" y="103"/>
                    <a:pt x="286" y="106"/>
                    <a:pt x="285" y="108"/>
                  </a:cubicBezTo>
                  <a:cubicBezTo>
                    <a:pt x="285" y="109"/>
                    <a:pt x="285" y="110"/>
                    <a:pt x="285" y="111"/>
                  </a:cubicBezTo>
                  <a:cubicBezTo>
                    <a:pt x="284" y="113"/>
                    <a:pt x="284" y="115"/>
                    <a:pt x="284" y="117"/>
                  </a:cubicBezTo>
                  <a:cubicBezTo>
                    <a:pt x="283" y="119"/>
                    <a:pt x="284" y="119"/>
                    <a:pt x="283" y="120"/>
                  </a:cubicBezTo>
                  <a:cubicBezTo>
                    <a:pt x="283" y="120"/>
                    <a:pt x="283" y="120"/>
                    <a:pt x="283" y="120"/>
                  </a:cubicBezTo>
                  <a:cubicBezTo>
                    <a:pt x="281" y="120"/>
                    <a:pt x="279" y="120"/>
                    <a:pt x="277" y="121"/>
                  </a:cubicBezTo>
                  <a:cubicBezTo>
                    <a:pt x="274" y="122"/>
                    <a:pt x="271" y="122"/>
                    <a:pt x="268" y="123"/>
                  </a:cubicBezTo>
                  <a:cubicBezTo>
                    <a:pt x="266" y="123"/>
                    <a:pt x="264" y="123"/>
                    <a:pt x="263" y="123"/>
                  </a:cubicBezTo>
                  <a:cubicBezTo>
                    <a:pt x="263" y="124"/>
                    <a:pt x="263" y="124"/>
                    <a:pt x="263" y="124"/>
                  </a:cubicBezTo>
                  <a:cubicBezTo>
                    <a:pt x="262" y="124"/>
                    <a:pt x="261" y="124"/>
                    <a:pt x="261" y="125"/>
                  </a:cubicBezTo>
                  <a:cubicBezTo>
                    <a:pt x="261" y="125"/>
                    <a:pt x="261" y="125"/>
                    <a:pt x="261" y="125"/>
                  </a:cubicBezTo>
                  <a:cubicBezTo>
                    <a:pt x="260" y="125"/>
                    <a:pt x="259" y="125"/>
                    <a:pt x="258" y="126"/>
                  </a:cubicBezTo>
                  <a:cubicBezTo>
                    <a:pt x="258" y="126"/>
                    <a:pt x="258" y="126"/>
                    <a:pt x="258" y="126"/>
                  </a:cubicBezTo>
                  <a:cubicBezTo>
                    <a:pt x="258" y="126"/>
                    <a:pt x="258" y="126"/>
                    <a:pt x="257" y="126"/>
                  </a:cubicBezTo>
                  <a:cubicBezTo>
                    <a:pt x="257" y="126"/>
                    <a:pt x="257" y="127"/>
                    <a:pt x="257" y="127"/>
                  </a:cubicBezTo>
                  <a:cubicBezTo>
                    <a:pt x="257" y="127"/>
                    <a:pt x="257" y="127"/>
                    <a:pt x="257" y="127"/>
                  </a:cubicBezTo>
                  <a:cubicBezTo>
                    <a:pt x="257" y="127"/>
                    <a:pt x="257" y="127"/>
                    <a:pt x="257" y="127"/>
                  </a:cubicBezTo>
                  <a:cubicBezTo>
                    <a:pt x="256" y="127"/>
                    <a:pt x="256" y="127"/>
                    <a:pt x="256" y="127"/>
                  </a:cubicBezTo>
                  <a:cubicBezTo>
                    <a:pt x="256" y="127"/>
                    <a:pt x="256" y="127"/>
                    <a:pt x="256" y="127"/>
                  </a:cubicBezTo>
                  <a:cubicBezTo>
                    <a:pt x="256" y="127"/>
                    <a:pt x="256" y="127"/>
                    <a:pt x="255" y="127"/>
                  </a:cubicBezTo>
                  <a:cubicBezTo>
                    <a:pt x="255" y="127"/>
                    <a:pt x="255" y="128"/>
                    <a:pt x="255" y="128"/>
                  </a:cubicBezTo>
                  <a:cubicBezTo>
                    <a:pt x="255" y="128"/>
                    <a:pt x="255" y="128"/>
                    <a:pt x="255" y="128"/>
                  </a:cubicBezTo>
                  <a:cubicBezTo>
                    <a:pt x="255" y="128"/>
                    <a:pt x="255" y="128"/>
                    <a:pt x="255" y="128"/>
                  </a:cubicBezTo>
                  <a:cubicBezTo>
                    <a:pt x="254" y="128"/>
                    <a:pt x="254" y="128"/>
                    <a:pt x="254" y="128"/>
                  </a:cubicBezTo>
                  <a:cubicBezTo>
                    <a:pt x="254" y="128"/>
                    <a:pt x="254" y="128"/>
                    <a:pt x="254" y="128"/>
                  </a:cubicBezTo>
                  <a:cubicBezTo>
                    <a:pt x="254" y="128"/>
                    <a:pt x="253" y="128"/>
                    <a:pt x="253" y="128"/>
                  </a:cubicBezTo>
                  <a:cubicBezTo>
                    <a:pt x="253" y="128"/>
                    <a:pt x="253" y="129"/>
                    <a:pt x="253" y="129"/>
                  </a:cubicBezTo>
                  <a:cubicBezTo>
                    <a:pt x="253" y="129"/>
                    <a:pt x="253" y="129"/>
                    <a:pt x="252" y="129"/>
                  </a:cubicBezTo>
                  <a:cubicBezTo>
                    <a:pt x="252" y="129"/>
                    <a:pt x="252" y="129"/>
                    <a:pt x="252" y="129"/>
                  </a:cubicBezTo>
                  <a:cubicBezTo>
                    <a:pt x="252" y="129"/>
                    <a:pt x="252" y="129"/>
                    <a:pt x="252" y="129"/>
                  </a:cubicBezTo>
                  <a:cubicBezTo>
                    <a:pt x="252" y="129"/>
                    <a:pt x="252" y="129"/>
                    <a:pt x="252" y="129"/>
                  </a:cubicBezTo>
                  <a:cubicBezTo>
                    <a:pt x="251" y="130"/>
                    <a:pt x="251" y="130"/>
                    <a:pt x="250" y="130"/>
                  </a:cubicBezTo>
                  <a:cubicBezTo>
                    <a:pt x="250" y="130"/>
                    <a:pt x="250" y="130"/>
                    <a:pt x="250" y="130"/>
                  </a:cubicBezTo>
                  <a:cubicBezTo>
                    <a:pt x="250" y="130"/>
                    <a:pt x="250" y="130"/>
                    <a:pt x="249" y="130"/>
                  </a:cubicBezTo>
                  <a:cubicBezTo>
                    <a:pt x="249" y="131"/>
                    <a:pt x="249" y="131"/>
                    <a:pt x="249" y="131"/>
                  </a:cubicBezTo>
                  <a:cubicBezTo>
                    <a:pt x="249" y="131"/>
                    <a:pt x="249" y="131"/>
                    <a:pt x="249" y="131"/>
                  </a:cubicBezTo>
                  <a:cubicBezTo>
                    <a:pt x="249" y="131"/>
                    <a:pt x="249" y="131"/>
                    <a:pt x="249" y="131"/>
                  </a:cubicBezTo>
                  <a:cubicBezTo>
                    <a:pt x="248" y="131"/>
                    <a:pt x="248" y="131"/>
                    <a:pt x="248" y="131"/>
                  </a:cubicBezTo>
                  <a:cubicBezTo>
                    <a:pt x="248" y="131"/>
                    <a:pt x="248" y="131"/>
                    <a:pt x="248" y="132"/>
                  </a:cubicBezTo>
                  <a:cubicBezTo>
                    <a:pt x="248" y="132"/>
                    <a:pt x="247" y="132"/>
                    <a:pt x="247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46" y="132"/>
                    <a:pt x="246" y="132"/>
                    <a:pt x="246" y="132"/>
                  </a:cubicBezTo>
                  <a:cubicBezTo>
                    <a:pt x="246" y="132"/>
                    <a:pt x="246" y="132"/>
                    <a:pt x="246" y="133"/>
                  </a:cubicBezTo>
                  <a:cubicBezTo>
                    <a:pt x="246" y="133"/>
                    <a:pt x="245" y="133"/>
                    <a:pt x="245" y="133"/>
                  </a:cubicBezTo>
                  <a:cubicBezTo>
                    <a:pt x="245" y="133"/>
                    <a:pt x="245" y="133"/>
                    <a:pt x="245" y="133"/>
                  </a:cubicBezTo>
                  <a:cubicBezTo>
                    <a:pt x="245" y="133"/>
                    <a:pt x="245" y="133"/>
                    <a:pt x="244" y="133"/>
                  </a:cubicBezTo>
                  <a:cubicBezTo>
                    <a:pt x="244" y="133"/>
                    <a:pt x="244" y="133"/>
                    <a:pt x="244" y="133"/>
                  </a:cubicBezTo>
                  <a:cubicBezTo>
                    <a:pt x="244" y="133"/>
                    <a:pt x="244" y="133"/>
                    <a:pt x="244" y="133"/>
                  </a:cubicBezTo>
                  <a:cubicBezTo>
                    <a:pt x="244" y="133"/>
                    <a:pt x="244" y="134"/>
                    <a:pt x="244" y="134"/>
                  </a:cubicBezTo>
                  <a:cubicBezTo>
                    <a:pt x="243" y="134"/>
                    <a:pt x="243" y="134"/>
                    <a:pt x="243" y="134"/>
                  </a:cubicBezTo>
                  <a:cubicBezTo>
                    <a:pt x="243" y="134"/>
                    <a:pt x="243" y="134"/>
                    <a:pt x="243" y="134"/>
                  </a:cubicBezTo>
                  <a:cubicBezTo>
                    <a:pt x="243" y="134"/>
                    <a:pt x="243" y="134"/>
                    <a:pt x="242" y="134"/>
                  </a:cubicBezTo>
                  <a:cubicBezTo>
                    <a:pt x="242" y="134"/>
                    <a:pt x="242" y="134"/>
                    <a:pt x="242" y="135"/>
                  </a:cubicBezTo>
                  <a:cubicBezTo>
                    <a:pt x="242" y="135"/>
                    <a:pt x="241" y="135"/>
                    <a:pt x="241" y="135"/>
                  </a:cubicBezTo>
                  <a:cubicBezTo>
                    <a:pt x="241" y="135"/>
                    <a:pt x="241" y="135"/>
                    <a:pt x="241" y="135"/>
                  </a:cubicBezTo>
                  <a:cubicBezTo>
                    <a:pt x="240" y="135"/>
                    <a:pt x="240" y="135"/>
                    <a:pt x="240" y="135"/>
                  </a:cubicBezTo>
                  <a:cubicBezTo>
                    <a:pt x="240" y="135"/>
                    <a:pt x="240" y="136"/>
                    <a:pt x="240" y="136"/>
                  </a:cubicBezTo>
                  <a:cubicBezTo>
                    <a:pt x="240" y="136"/>
                    <a:pt x="239" y="136"/>
                    <a:pt x="239" y="136"/>
                  </a:cubicBezTo>
                  <a:cubicBezTo>
                    <a:pt x="239" y="136"/>
                    <a:pt x="239" y="136"/>
                    <a:pt x="239" y="136"/>
                  </a:cubicBezTo>
                  <a:cubicBezTo>
                    <a:pt x="239" y="136"/>
                    <a:pt x="239" y="136"/>
                    <a:pt x="238" y="136"/>
                  </a:cubicBezTo>
                  <a:cubicBezTo>
                    <a:pt x="238" y="136"/>
                    <a:pt x="238" y="136"/>
                    <a:pt x="238" y="136"/>
                  </a:cubicBezTo>
                  <a:cubicBezTo>
                    <a:pt x="238" y="136"/>
                    <a:pt x="238" y="136"/>
                    <a:pt x="238" y="136"/>
                  </a:cubicBezTo>
                  <a:cubicBezTo>
                    <a:pt x="238" y="137"/>
                    <a:pt x="238" y="137"/>
                    <a:pt x="238" y="137"/>
                  </a:cubicBezTo>
                  <a:cubicBezTo>
                    <a:pt x="238" y="137"/>
                    <a:pt x="237" y="137"/>
                    <a:pt x="237" y="137"/>
                  </a:cubicBezTo>
                  <a:cubicBezTo>
                    <a:pt x="237" y="137"/>
                    <a:pt x="237" y="137"/>
                    <a:pt x="237" y="137"/>
                  </a:cubicBezTo>
                  <a:cubicBezTo>
                    <a:pt x="237" y="137"/>
                    <a:pt x="237" y="137"/>
                    <a:pt x="236" y="137"/>
                  </a:cubicBezTo>
                  <a:cubicBezTo>
                    <a:pt x="236" y="137"/>
                    <a:pt x="236" y="137"/>
                    <a:pt x="236" y="137"/>
                  </a:cubicBezTo>
                  <a:cubicBezTo>
                    <a:pt x="236" y="137"/>
                    <a:pt x="236" y="137"/>
                    <a:pt x="236" y="137"/>
                  </a:cubicBezTo>
                  <a:cubicBezTo>
                    <a:pt x="236" y="138"/>
                    <a:pt x="236" y="138"/>
                    <a:pt x="236" y="138"/>
                  </a:cubicBezTo>
                  <a:cubicBezTo>
                    <a:pt x="235" y="138"/>
                    <a:pt x="235" y="138"/>
                    <a:pt x="235" y="138"/>
                  </a:cubicBezTo>
                  <a:cubicBezTo>
                    <a:pt x="235" y="138"/>
                    <a:pt x="235" y="138"/>
                    <a:pt x="235" y="138"/>
                  </a:cubicBezTo>
                  <a:cubicBezTo>
                    <a:pt x="235" y="138"/>
                    <a:pt x="235" y="138"/>
                    <a:pt x="234" y="138"/>
                  </a:cubicBezTo>
                  <a:cubicBezTo>
                    <a:pt x="234" y="138"/>
                    <a:pt x="234" y="139"/>
                    <a:pt x="234" y="139"/>
                  </a:cubicBezTo>
                  <a:cubicBezTo>
                    <a:pt x="234" y="139"/>
                    <a:pt x="233" y="139"/>
                    <a:pt x="233" y="139"/>
                  </a:cubicBezTo>
                  <a:cubicBezTo>
                    <a:pt x="233" y="139"/>
                    <a:pt x="233" y="140"/>
                    <a:pt x="233" y="140"/>
                  </a:cubicBezTo>
                  <a:cubicBezTo>
                    <a:pt x="232" y="140"/>
                    <a:pt x="232" y="140"/>
                    <a:pt x="232" y="140"/>
                  </a:cubicBezTo>
                  <a:cubicBezTo>
                    <a:pt x="232" y="140"/>
                    <a:pt x="232" y="140"/>
                    <a:pt x="232" y="141"/>
                  </a:cubicBezTo>
                  <a:cubicBezTo>
                    <a:pt x="232" y="141"/>
                    <a:pt x="231" y="141"/>
                    <a:pt x="231" y="142"/>
                  </a:cubicBezTo>
                  <a:cubicBezTo>
                    <a:pt x="231" y="142"/>
                    <a:pt x="231" y="142"/>
                    <a:pt x="231" y="142"/>
                  </a:cubicBezTo>
                  <a:cubicBezTo>
                    <a:pt x="230" y="143"/>
                    <a:pt x="230" y="143"/>
                    <a:pt x="229" y="144"/>
                  </a:cubicBezTo>
                  <a:cubicBezTo>
                    <a:pt x="229" y="144"/>
                    <a:pt x="229" y="144"/>
                    <a:pt x="229" y="144"/>
                  </a:cubicBezTo>
                  <a:cubicBezTo>
                    <a:pt x="229" y="145"/>
                    <a:pt x="228" y="145"/>
                    <a:pt x="228" y="146"/>
                  </a:cubicBezTo>
                  <a:cubicBezTo>
                    <a:pt x="228" y="146"/>
                    <a:pt x="228" y="146"/>
                    <a:pt x="228" y="146"/>
                  </a:cubicBezTo>
                  <a:cubicBezTo>
                    <a:pt x="227" y="147"/>
                    <a:pt x="226" y="147"/>
                    <a:pt x="226" y="148"/>
                  </a:cubicBezTo>
                  <a:cubicBezTo>
                    <a:pt x="226" y="148"/>
                    <a:pt x="226" y="148"/>
                    <a:pt x="226" y="148"/>
                  </a:cubicBezTo>
                  <a:cubicBezTo>
                    <a:pt x="225" y="149"/>
                    <a:pt x="225" y="149"/>
                    <a:pt x="224" y="149"/>
                  </a:cubicBezTo>
                  <a:cubicBezTo>
                    <a:pt x="224" y="150"/>
                    <a:pt x="224" y="150"/>
                    <a:pt x="224" y="150"/>
                  </a:cubicBezTo>
                  <a:cubicBezTo>
                    <a:pt x="224" y="151"/>
                    <a:pt x="223" y="151"/>
                    <a:pt x="223" y="151"/>
                  </a:cubicBezTo>
                  <a:cubicBezTo>
                    <a:pt x="223" y="152"/>
                    <a:pt x="223" y="152"/>
                    <a:pt x="223" y="152"/>
                  </a:cubicBezTo>
                  <a:cubicBezTo>
                    <a:pt x="222" y="153"/>
                    <a:pt x="222" y="153"/>
                    <a:pt x="221" y="153"/>
                  </a:cubicBezTo>
                  <a:cubicBezTo>
                    <a:pt x="221" y="153"/>
                    <a:pt x="221" y="154"/>
                    <a:pt x="221" y="154"/>
                  </a:cubicBezTo>
                  <a:cubicBezTo>
                    <a:pt x="221" y="154"/>
                    <a:pt x="220" y="155"/>
                    <a:pt x="220" y="155"/>
                  </a:cubicBezTo>
                  <a:cubicBezTo>
                    <a:pt x="220" y="156"/>
                    <a:pt x="220" y="156"/>
                    <a:pt x="220" y="156"/>
                  </a:cubicBezTo>
                  <a:cubicBezTo>
                    <a:pt x="219" y="156"/>
                    <a:pt x="219" y="156"/>
                    <a:pt x="219" y="156"/>
                  </a:cubicBezTo>
                  <a:cubicBezTo>
                    <a:pt x="219" y="156"/>
                    <a:pt x="219" y="157"/>
                    <a:pt x="219" y="157"/>
                  </a:cubicBezTo>
                  <a:cubicBezTo>
                    <a:pt x="219" y="157"/>
                    <a:pt x="218" y="157"/>
                    <a:pt x="218" y="157"/>
                  </a:cubicBezTo>
                  <a:cubicBezTo>
                    <a:pt x="218" y="157"/>
                    <a:pt x="218" y="158"/>
                    <a:pt x="218" y="158"/>
                  </a:cubicBezTo>
                  <a:cubicBezTo>
                    <a:pt x="218" y="158"/>
                    <a:pt x="217" y="159"/>
                    <a:pt x="216" y="159"/>
                  </a:cubicBezTo>
                  <a:cubicBezTo>
                    <a:pt x="216" y="159"/>
                    <a:pt x="216" y="160"/>
                    <a:pt x="216" y="160"/>
                  </a:cubicBezTo>
                  <a:cubicBezTo>
                    <a:pt x="216" y="160"/>
                    <a:pt x="216" y="160"/>
                    <a:pt x="216" y="160"/>
                  </a:cubicBezTo>
                  <a:cubicBezTo>
                    <a:pt x="216" y="160"/>
                    <a:pt x="216" y="160"/>
                    <a:pt x="216" y="161"/>
                  </a:cubicBezTo>
                  <a:cubicBezTo>
                    <a:pt x="216" y="161"/>
                    <a:pt x="215" y="161"/>
                    <a:pt x="215" y="161"/>
                  </a:cubicBezTo>
                  <a:cubicBezTo>
                    <a:pt x="215" y="161"/>
                    <a:pt x="215" y="161"/>
                    <a:pt x="215" y="162"/>
                  </a:cubicBezTo>
                  <a:cubicBezTo>
                    <a:pt x="214" y="162"/>
                    <a:pt x="214" y="163"/>
                    <a:pt x="213" y="163"/>
                  </a:cubicBezTo>
                  <a:cubicBezTo>
                    <a:pt x="213" y="163"/>
                    <a:pt x="213" y="163"/>
                    <a:pt x="213" y="164"/>
                  </a:cubicBezTo>
                  <a:cubicBezTo>
                    <a:pt x="213" y="164"/>
                    <a:pt x="213" y="164"/>
                    <a:pt x="213" y="164"/>
                  </a:cubicBezTo>
                  <a:cubicBezTo>
                    <a:pt x="213" y="164"/>
                    <a:pt x="213" y="164"/>
                    <a:pt x="213" y="164"/>
                  </a:cubicBezTo>
                  <a:cubicBezTo>
                    <a:pt x="212" y="165"/>
                    <a:pt x="212" y="165"/>
                    <a:pt x="212" y="165"/>
                  </a:cubicBezTo>
                  <a:cubicBezTo>
                    <a:pt x="212" y="165"/>
                    <a:pt x="212" y="165"/>
                    <a:pt x="212" y="165"/>
                  </a:cubicBezTo>
                  <a:cubicBezTo>
                    <a:pt x="211" y="166"/>
                    <a:pt x="211" y="167"/>
                    <a:pt x="210" y="167"/>
                  </a:cubicBezTo>
                  <a:cubicBezTo>
                    <a:pt x="210" y="167"/>
                    <a:pt x="210" y="167"/>
                    <a:pt x="210" y="168"/>
                  </a:cubicBezTo>
                  <a:cubicBezTo>
                    <a:pt x="209" y="168"/>
                    <a:pt x="207" y="168"/>
                    <a:pt x="206" y="168"/>
                  </a:cubicBezTo>
                  <a:cubicBezTo>
                    <a:pt x="206" y="168"/>
                    <a:pt x="206" y="168"/>
                    <a:pt x="206" y="169"/>
                  </a:cubicBezTo>
                  <a:cubicBezTo>
                    <a:pt x="205" y="169"/>
                    <a:pt x="204" y="169"/>
                    <a:pt x="203" y="169"/>
                  </a:cubicBezTo>
                  <a:cubicBezTo>
                    <a:pt x="203" y="169"/>
                    <a:pt x="203" y="170"/>
                    <a:pt x="203" y="170"/>
                  </a:cubicBezTo>
                  <a:cubicBezTo>
                    <a:pt x="202" y="170"/>
                    <a:pt x="202" y="170"/>
                    <a:pt x="202" y="170"/>
                  </a:cubicBezTo>
                  <a:cubicBezTo>
                    <a:pt x="202" y="170"/>
                    <a:pt x="202" y="170"/>
                    <a:pt x="202" y="170"/>
                  </a:cubicBezTo>
                  <a:cubicBezTo>
                    <a:pt x="200" y="170"/>
                    <a:pt x="199" y="171"/>
                    <a:pt x="197" y="171"/>
                  </a:cubicBezTo>
                  <a:cubicBezTo>
                    <a:pt x="197" y="171"/>
                    <a:pt x="197" y="171"/>
                    <a:pt x="197" y="171"/>
                  </a:cubicBezTo>
                  <a:cubicBezTo>
                    <a:pt x="197" y="171"/>
                    <a:pt x="197" y="171"/>
                    <a:pt x="196" y="171"/>
                  </a:cubicBezTo>
                  <a:cubicBezTo>
                    <a:pt x="196" y="172"/>
                    <a:pt x="196" y="172"/>
                    <a:pt x="196" y="172"/>
                  </a:cubicBezTo>
                  <a:cubicBezTo>
                    <a:pt x="196" y="172"/>
                    <a:pt x="195" y="172"/>
                    <a:pt x="195" y="172"/>
                  </a:cubicBezTo>
                  <a:cubicBezTo>
                    <a:pt x="195" y="172"/>
                    <a:pt x="195" y="172"/>
                    <a:pt x="195" y="172"/>
                  </a:cubicBezTo>
                  <a:cubicBezTo>
                    <a:pt x="195" y="172"/>
                    <a:pt x="194" y="172"/>
                    <a:pt x="194" y="172"/>
                  </a:cubicBezTo>
                  <a:cubicBezTo>
                    <a:pt x="194" y="172"/>
                    <a:pt x="194" y="172"/>
                    <a:pt x="194" y="172"/>
                  </a:cubicBezTo>
                  <a:cubicBezTo>
                    <a:pt x="192" y="173"/>
                    <a:pt x="190" y="173"/>
                    <a:pt x="189" y="174"/>
                  </a:cubicBezTo>
                  <a:cubicBezTo>
                    <a:pt x="189" y="174"/>
                    <a:pt x="189" y="175"/>
                    <a:pt x="189" y="175"/>
                  </a:cubicBezTo>
                  <a:cubicBezTo>
                    <a:pt x="188" y="175"/>
                    <a:pt x="188" y="176"/>
                    <a:pt x="187" y="176"/>
                  </a:cubicBezTo>
                  <a:cubicBezTo>
                    <a:pt x="187" y="176"/>
                    <a:pt x="187" y="176"/>
                    <a:pt x="187" y="177"/>
                  </a:cubicBezTo>
                  <a:cubicBezTo>
                    <a:pt x="187" y="177"/>
                    <a:pt x="186" y="177"/>
                    <a:pt x="186" y="178"/>
                  </a:cubicBezTo>
                  <a:cubicBezTo>
                    <a:pt x="186" y="178"/>
                    <a:pt x="186" y="178"/>
                    <a:pt x="186" y="178"/>
                  </a:cubicBezTo>
                  <a:cubicBezTo>
                    <a:pt x="185" y="179"/>
                    <a:pt x="185" y="179"/>
                    <a:pt x="184" y="180"/>
                  </a:cubicBezTo>
                  <a:cubicBezTo>
                    <a:pt x="184" y="180"/>
                    <a:pt x="184" y="180"/>
                    <a:pt x="184" y="180"/>
                  </a:cubicBezTo>
                  <a:cubicBezTo>
                    <a:pt x="184" y="181"/>
                    <a:pt x="183" y="181"/>
                    <a:pt x="183" y="182"/>
                  </a:cubicBezTo>
                  <a:cubicBezTo>
                    <a:pt x="183" y="182"/>
                    <a:pt x="183" y="182"/>
                    <a:pt x="183" y="182"/>
                  </a:cubicBezTo>
                  <a:cubicBezTo>
                    <a:pt x="182" y="183"/>
                    <a:pt x="182" y="183"/>
                    <a:pt x="181" y="183"/>
                  </a:cubicBezTo>
                  <a:cubicBezTo>
                    <a:pt x="181" y="184"/>
                    <a:pt x="181" y="184"/>
                    <a:pt x="181" y="184"/>
                  </a:cubicBezTo>
                  <a:cubicBezTo>
                    <a:pt x="181" y="184"/>
                    <a:pt x="180" y="185"/>
                    <a:pt x="180" y="185"/>
                  </a:cubicBezTo>
                  <a:cubicBezTo>
                    <a:pt x="180" y="186"/>
                    <a:pt x="180" y="186"/>
                    <a:pt x="180" y="186"/>
                  </a:cubicBezTo>
                  <a:cubicBezTo>
                    <a:pt x="179" y="186"/>
                    <a:pt x="179" y="187"/>
                    <a:pt x="178" y="187"/>
                  </a:cubicBezTo>
                  <a:cubicBezTo>
                    <a:pt x="178" y="187"/>
                    <a:pt x="178" y="188"/>
                    <a:pt x="178" y="188"/>
                  </a:cubicBezTo>
                  <a:cubicBezTo>
                    <a:pt x="178" y="188"/>
                    <a:pt x="177" y="189"/>
                    <a:pt x="177" y="189"/>
                  </a:cubicBezTo>
                  <a:cubicBezTo>
                    <a:pt x="177" y="189"/>
                    <a:pt x="177" y="189"/>
                    <a:pt x="177" y="190"/>
                  </a:cubicBezTo>
                  <a:cubicBezTo>
                    <a:pt x="176" y="190"/>
                    <a:pt x="176" y="191"/>
                    <a:pt x="175" y="191"/>
                  </a:cubicBezTo>
                  <a:cubicBezTo>
                    <a:pt x="175" y="191"/>
                    <a:pt x="175" y="191"/>
                    <a:pt x="175" y="192"/>
                  </a:cubicBezTo>
                  <a:cubicBezTo>
                    <a:pt x="175" y="192"/>
                    <a:pt x="174" y="192"/>
                    <a:pt x="174" y="193"/>
                  </a:cubicBezTo>
                  <a:cubicBezTo>
                    <a:pt x="174" y="193"/>
                    <a:pt x="174" y="193"/>
                    <a:pt x="174" y="193"/>
                  </a:cubicBezTo>
                  <a:cubicBezTo>
                    <a:pt x="173" y="194"/>
                    <a:pt x="173" y="194"/>
                    <a:pt x="173" y="194"/>
                  </a:cubicBezTo>
                  <a:cubicBezTo>
                    <a:pt x="172" y="195"/>
                    <a:pt x="172" y="196"/>
                    <a:pt x="172" y="198"/>
                  </a:cubicBezTo>
                  <a:cubicBezTo>
                    <a:pt x="172" y="198"/>
                    <a:pt x="171" y="198"/>
                    <a:pt x="171" y="198"/>
                  </a:cubicBezTo>
                  <a:cubicBezTo>
                    <a:pt x="171" y="198"/>
                    <a:pt x="171" y="198"/>
                    <a:pt x="171" y="198"/>
                  </a:cubicBezTo>
                  <a:cubicBezTo>
                    <a:pt x="171" y="198"/>
                    <a:pt x="171" y="198"/>
                    <a:pt x="171" y="198"/>
                  </a:cubicBezTo>
                  <a:cubicBezTo>
                    <a:pt x="171" y="199"/>
                    <a:pt x="171" y="199"/>
                    <a:pt x="171" y="200"/>
                  </a:cubicBezTo>
                  <a:cubicBezTo>
                    <a:pt x="171" y="200"/>
                    <a:pt x="170" y="200"/>
                    <a:pt x="170" y="200"/>
                  </a:cubicBezTo>
                  <a:cubicBezTo>
                    <a:pt x="170" y="200"/>
                    <a:pt x="170" y="201"/>
                    <a:pt x="170" y="201"/>
                  </a:cubicBezTo>
                  <a:cubicBezTo>
                    <a:pt x="170" y="201"/>
                    <a:pt x="170" y="201"/>
                    <a:pt x="170" y="201"/>
                  </a:cubicBezTo>
                  <a:cubicBezTo>
                    <a:pt x="170" y="201"/>
                    <a:pt x="170" y="202"/>
                    <a:pt x="170" y="202"/>
                  </a:cubicBezTo>
                  <a:cubicBezTo>
                    <a:pt x="170" y="202"/>
                    <a:pt x="170" y="202"/>
                    <a:pt x="170" y="202"/>
                  </a:cubicBezTo>
                  <a:cubicBezTo>
                    <a:pt x="170" y="202"/>
                    <a:pt x="170" y="203"/>
                    <a:pt x="170" y="203"/>
                  </a:cubicBezTo>
                  <a:cubicBezTo>
                    <a:pt x="169" y="203"/>
                    <a:pt x="169" y="203"/>
                    <a:pt x="169" y="203"/>
                  </a:cubicBezTo>
                  <a:cubicBezTo>
                    <a:pt x="169" y="203"/>
                    <a:pt x="169" y="203"/>
                    <a:pt x="169" y="204"/>
                  </a:cubicBezTo>
                  <a:cubicBezTo>
                    <a:pt x="169" y="204"/>
                    <a:pt x="169" y="204"/>
                    <a:pt x="169" y="204"/>
                  </a:cubicBezTo>
                  <a:cubicBezTo>
                    <a:pt x="169" y="204"/>
                    <a:pt x="169" y="204"/>
                    <a:pt x="169" y="205"/>
                  </a:cubicBezTo>
                  <a:cubicBezTo>
                    <a:pt x="169" y="205"/>
                    <a:pt x="169" y="205"/>
                    <a:pt x="169" y="205"/>
                  </a:cubicBezTo>
                  <a:cubicBezTo>
                    <a:pt x="169" y="205"/>
                    <a:pt x="169" y="205"/>
                    <a:pt x="169" y="205"/>
                  </a:cubicBezTo>
                  <a:cubicBezTo>
                    <a:pt x="168" y="205"/>
                    <a:pt x="168" y="205"/>
                    <a:pt x="168" y="205"/>
                  </a:cubicBezTo>
                  <a:cubicBezTo>
                    <a:pt x="168" y="206"/>
                    <a:pt x="168" y="206"/>
                    <a:pt x="168" y="206"/>
                  </a:cubicBezTo>
                  <a:cubicBezTo>
                    <a:pt x="168" y="206"/>
                    <a:pt x="168" y="206"/>
                    <a:pt x="168" y="206"/>
                  </a:cubicBezTo>
                  <a:cubicBezTo>
                    <a:pt x="168" y="207"/>
                    <a:pt x="168" y="207"/>
                    <a:pt x="168" y="207"/>
                  </a:cubicBezTo>
                  <a:cubicBezTo>
                    <a:pt x="168" y="207"/>
                    <a:pt x="168" y="207"/>
                    <a:pt x="167" y="207"/>
                  </a:cubicBezTo>
                  <a:cubicBezTo>
                    <a:pt x="167" y="207"/>
                    <a:pt x="167" y="208"/>
                    <a:pt x="167" y="208"/>
                  </a:cubicBezTo>
                  <a:cubicBezTo>
                    <a:pt x="167" y="208"/>
                    <a:pt x="167" y="208"/>
                    <a:pt x="167" y="208"/>
                  </a:cubicBezTo>
                  <a:cubicBezTo>
                    <a:pt x="167" y="208"/>
                    <a:pt x="167" y="209"/>
                    <a:pt x="167" y="209"/>
                  </a:cubicBezTo>
                  <a:cubicBezTo>
                    <a:pt x="167" y="209"/>
                    <a:pt x="167" y="209"/>
                    <a:pt x="167" y="209"/>
                  </a:cubicBezTo>
                  <a:cubicBezTo>
                    <a:pt x="167" y="209"/>
                    <a:pt x="167" y="210"/>
                    <a:pt x="167" y="210"/>
                  </a:cubicBezTo>
                  <a:cubicBezTo>
                    <a:pt x="167" y="210"/>
                    <a:pt x="167" y="210"/>
                    <a:pt x="166" y="210"/>
                  </a:cubicBezTo>
                  <a:cubicBezTo>
                    <a:pt x="166" y="210"/>
                    <a:pt x="166" y="210"/>
                    <a:pt x="166" y="211"/>
                  </a:cubicBezTo>
                  <a:cubicBezTo>
                    <a:pt x="166" y="211"/>
                    <a:pt x="166" y="211"/>
                    <a:pt x="166" y="211"/>
                  </a:cubicBezTo>
                  <a:cubicBezTo>
                    <a:pt x="166" y="211"/>
                    <a:pt x="166" y="212"/>
                    <a:pt x="166" y="212"/>
                  </a:cubicBezTo>
                  <a:cubicBezTo>
                    <a:pt x="166" y="212"/>
                    <a:pt x="166" y="212"/>
                    <a:pt x="165" y="212"/>
                  </a:cubicBezTo>
                  <a:cubicBezTo>
                    <a:pt x="165" y="213"/>
                    <a:pt x="165" y="213"/>
                    <a:pt x="165" y="213"/>
                  </a:cubicBezTo>
                  <a:cubicBezTo>
                    <a:pt x="165" y="213"/>
                    <a:pt x="165" y="213"/>
                    <a:pt x="165" y="213"/>
                  </a:cubicBezTo>
                  <a:cubicBezTo>
                    <a:pt x="165" y="214"/>
                    <a:pt x="165" y="214"/>
                    <a:pt x="165" y="214"/>
                  </a:cubicBezTo>
                  <a:cubicBezTo>
                    <a:pt x="165" y="214"/>
                    <a:pt x="165" y="214"/>
                    <a:pt x="165" y="214"/>
                  </a:cubicBezTo>
                  <a:cubicBezTo>
                    <a:pt x="165" y="214"/>
                    <a:pt x="165" y="215"/>
                    <a:pt x="165" y="215"/>
                  </a:cubicBezTo>
                  <a:cubicBezTo>
                    <a:pt x="165" y="215"/>
                    <a:pt x="164" y="215"/>
                    <a:pt x="164" y="215"/>
                  </a:cubicBezTo>
                  <a:cubicBezTo>
                    <a:pt x="164" y="215"/>
                    <a:pt x="164" y="216"/>
                    <a:pt x="164" y="216"/>
                  </a:cubicBezTo>
                  <a:cubicBezTo>
                    <a:pt x="164" y="216"/>
                    <a:pt x="164" y="216"/>
                    <a:pt x="164" y="216"/>
                  </a:cubicBezTo>
                  <a:cubicBezTo>
                    <a:pt x="164" y="216"/>
                    <a:pt x="164" y="217"/>
                    <a:pt x="164" y="217"/>
                  </a:cubicBezTo>
                  <a:cubicBezTo>
                    <a:pt x="164" y="217"/>
                    <a:pt x="164" y="217"/>
                    <a:pt x="164" y="217"/>
                  </a:cubicBezTo>
                  <a:cubicBezTo>
                    <a:pt x="164" y="217"/>
                    <a:pt x="164" y="217"/>
                    <a:pt x="164" y="218"/>
                  </a:cubicBezTo>
                  <a:cubicBezTo>
                    <a:pt x="164" y="218"/>
                    <a:pt x="163" y="218"/>
                    <a:pt x="163" y="218"/>
                  </a:cubicBezTo>
                  <a:cubicBezTo>
                    <a:pt x="163" y="219"/>
                    <a:pt x="164" y="220"/>
                    <a:pt x="161" y="220"/>
                  </a:cubicBezTo>
                  <a:cubicBezTo>
                    <a:pt x="161" y="220"/>
                    <a:pt x="161" y="219"/>
                    <a:pt x="161" y="219"/>
                  </a:cubicBezTo>
                  <a:cubicBezTo>
                    <a:pt x="160" y="219"/>
                    <a:pt x="160" y="219"/>
                    <a:pt x="159" y="219"/>
                  </a:cubicBezTo>
                  <a:cubicBezTo>
                    <a:pt x="159" y="219"/>
                    <a:pt x="159" y="219"/>
                    <a:pt x="159" y="219"/>
                  </a:cubicBezTo>
                  <a:cubicBezTo>
                    <a:pt x="158" y="219"/>
                    <a:pt x="158" y="219"/>
                    <a:pt x="157" y="219"/>
                  </a:cubicBezTo>
                  <a:cubicBezTo>
                    <a:pt x="157" y="218"/>
                    <a:pt x="157" y="218"/>
                    <a:pt x="157" y="218"/>
                  </a:cubicBezTo>
                  <a:cubicBezTo>
                    <a:pt x="157" y="218"/>
                    <a:pt x="157" y="218"/>
                    <a:pt x="156" y="218"/>
                  </a:cubicBezTo>
                  <a:cubicBezTo>
                    <a:pt x="156" y="218"/>
                    <a:pt x="156" y="218"/>
                    <a:pt x="156" y="218"/>
                  </a:cubicBezTo>
                  <a:cubicBezTo>
                    <a:pt x="156" y="218"/>
                    <a:pt x="155" y="218"/>
                    <a:pt x="155" y="218"/>
                  </a:cubicBezTo>
                  <a:cubicBezTo>
                    <a:pt x="153" y="217"/>
                    <a:pt x="151" y="217"/>
                    <a:pt x="150" y="216"/>
                  </a:cubicBezTo>
                  <a:cubicBezTo>
                    <a:pt x="148" y="216"/>
                    <a:pt x="147" y="216"/>
                    <a:pt x="145" y="216"/>
                  </a:cubicBezTo>
                  <a:cubicBezTo>
                    <a:pt x="145" y="216"/>
                    <a:pt x="145" y="216"/>
                    <a:pt x="145" y="217"/>
                  </a:cubicBezTo>
                  <a:cubicBezTo>
                    <a:pt x="144" y="217"/>
                    <a:pt x="143" y="217"/>
                    <a:pt x="141" y="217"/>
                  </a:cubicBezTo>
                  <a:cubicBezTo>
                    <a:pt x="141" y="217"/>
                    <a:pt x="141" y="217"/>
                    <a:pt x="141" y="217"/>
                  </a:cubicBezTo>
                  <a:cubicBezTo>
                    <a:pt x="139" y="217"/>
                    <a:pt x="138" y="217"/>
                    <a:pt x="136" y="217"/>
                  </a:cubicBezTo>
                  <a:cubicBezTo>
                    <a:pt x="136" y="217"/>
                    <a:pt x="136" y="217"/>
                    <a:pt x="136" y="217"/>
                  </a:cubicBezTo>
                  <a:cubicBezTo>
                    <a:pt x="135" y="217"/>
                    <a:pt x="133" y="217"/>
                    <a:pt x="132" y="217"/>
                  </a:cubicBezTo>
                  <a:cubicBezTo>
                    <a:pt x="132" y="217"/>
                    <a:pt x="132" y="217"/>
                    <a:pt x="132" y="218"/>
                  </a:cubicBezTo>
                  <a:cubicBezTo>
                    <a:pt x="131" y="218"/>
                    <a:pt x="129" y="218"/>
                    <a:pt x="128" y="219"/>
                  </a:cubicBezTo>
                  <a:cubicBezTo>
                    <a:pt x="126" y="208"/>
                    <a:pt x="124" y="197"/>
                    <a:pt x="123" y="186"/>
                  </a:cubicBezTo>
                  <a:cubicBezTo>
                    <a:pt x="122" y="186"/>
                    <a:pt x="122" y="186"/>
                    <a:pt x="122" y="185"/>
                  </a:cubicBezTo>
                  <a:cubicBezTo>
                    <a:pt x="122" y="185"/>
                    <a:pt x="122" y="185"/>
                    <a:pt x="121" y="185"/>
                  </a:cubicBezTo>
                  <a:cubicBezTo>
                    <a:pt x="121" y="185"/>
                    <a:pt x="121" y="185"/>
                    <a:pt x="121" y="185"/>
                  </a:cubicBezTo>
                  <a:cubicBezTo>
                    <a:pt x="121" y="185"/>
                    <a:pt x="121" y="185"/>
                    <a:pt x="120" y="185"/>
                  </a:cubicBezTo>
                  <a:cubicBezTo>
                    <a:pt x="120" y="184"/>
                    <a:pt x="120" y="184"/>
                    <a:pt x="120" y="184"/>
                  </a:cubicBezTo>
                  <a:cubicBezTo>
                    <a:pt x="120" y="184"/>
                    <a:pt x="119" y="184"/>
                    <a:pt x="119" y="184"/>
                  </a:cubicBezTo>
                  <a:cubicBezTo>
                    <a:pt x="119" y="184"/>
                    <a:pt x="119" y="184"/>
                    <a:pt x="119" y="183"/>
                  </a:cubicBezTo>
                  <a:cubicBezTo>
                    <a:pt x="118" y="183"/>
                    <a:pt x="118" y="183"/>
                    <a:pt x="117" y="183"/>
                  </a:cubicBezTo>
                  <a:cubicBezTo>
                    <a:pt x="117" y="183"/>
                    <a:pt x="117" y="183"/>
                    <a:pt x="117" y="183"/>
                  </a:cubicBezTo>
                  <a:cubicBezTo>
                    <a:pt x="117" y="182"/>
                    <a:pt x="117" y="182"/>
                    <a:pt x="116" y="182"/>
                  </a:cubicBezTo>
                  <a:cubicBezTo>
                    <a:pt x="116" y="182"/>
                    <a:pt x="116" y="182"/>
                    <a:pt x="116" y="182"/>
                  </a:cubicBezTo>
                  <a:cubicBezTo>
                    <a:pt x="116" y="182"/>
                    <a:pt x="116" y="182"/>
                    <a:pt x="115" y="182"/>
                  </a:cubicBezTo>
                  <a:cubicBezTo>
                    <a:pt x="115" y="181"/>
                    <a:pt x="115" y="181"/>
                    <a:pt x="115" y="181"/>
                  </a:cubicBezTo>
                  <a:cubicBezTo>
                    <a:pt x="115" y="181"/>
                    <a:pt x="115" y="181"/>
                    <a:pt x="114" y="181"/>
                  </a:cubicBezTo>
                  <a:cubicBezTo>
                    <a:pt x="114" y="181"/>
                    <a:pt x="114" y="180"/>
                    <a:pt x="114" y="180"/>
                  </a:cubicBezTo>
                  <a:cubicBezTo>
                    <a:pt x="114" y="180"/>
                    <a:pt x="114" y="180"/>
                    <a:pt x="113" y="180"/>
                  </a:cubicBezTo>
                  <a:cubicBezTo>
                    <a:pt x="113" y="180"/>
                    <a:pt x="113" y="180"/>
                    <a:pt x="113" y="179"/>
                  </a:cubicBezTo>
                  <a:cubicBezTo>
                    <a:pt x="113" y="179"/>
                    <a:pt x="112" y="179"/>
                    <a:pt x="112" y="179"/>
                  </a:cubicBezTo>
                  <a:cubicBezTo>
                    <a:pt x="112" y="179"/>
                    <a:pt x="112" y="179"/>
                    <a:pt x="112" y="179"/>
                  </a:cubicBezTo>
                  <a:cubicBezTo>
                    <a:pt x="111" y="179"/>
                    <a:pt x="111" y="179"/>
                    <a:pt x="110" y="178"/>
                  </a:cubicBezTo>
                  <a:cubicBezTo>
                    <a:pt x="110" y="178"/>
                    <a:pt x="110" y="178"/>
                    <a:pt x="110" y="178"/>
                  </a:cubicBezTo>
                  <a:cubicBezTo>
                    <a:pt x="110" y="178"/>
                    <a:pt x="110" y="178"/>
                    <a:pt x="109" y="178"/>
                  </a:cubicBezTo>
                  <a:cubicBezTo>
                    <a:pt x="109" y="177"/>
                    <a:pt x="109" y="177"/>
                    <a:pt x="109" y="177"/>
                  </a:cubicBezTo>
                  <a:cubicBezTo>
                    <a:pt x="109" y="177"/>
                    <a:pt x="109" y="177"/>
                    <a:pt x="108" y="177"/>
                  </a:cubicBezTo>
                  <a:cubicBezTo>
                    <a:pt x="108" y="177"/>
                    <a:pt x="108" y="177"/>
                    <a:pt x="108" y="176"/>
                  </a:cubicBezTo>
                  <a:cubicBezTo>
                    <a:pt x="108" y="176"/>
                    <a:pt x="108" y="176"/>
                    <a:pt x="107" y="176"/>
                  </a:cubicBezTo>
                  <a:cubicBezTo>
                    <a:pt x="107" y="176"/>
                    <a:pt x="107" y="176"/>
                    <a:pt x="107" y="176"/>
                  </a:cubicBezTo>
                  <a:cubicBezTo>
                    <a:pt x="107" y="176"/>
                    <a:pt x="107" y="176"/>
                    <a:pt x="106" y="176"/>
                  </a:cubicBezTo>
                  <a:cubicBezTo>
                    <a:pt x="106" y="175"/>
                    <a:pt x="106" y="175"/>
                    <a:pt x="106" y="175"/>
                  </a:cubicBezTo>
                  <a:cubicBezTo>
                    <a:pt x="106" y="175"/>
                    <a:pt x="105" y="175"/>
                    <a:pt x="105" y="175"/>
                  </a:cubicBezTo>
                  <a:cubicBezTo>
                    <a:pt x="105" y="174"/>
                    <a:pt x="105" y="174"/>
                    <a:pt x="105" y="174"/>
                  </a:cubicBezTo>
                  <a:cubicBezTo>
                    <a:pt x="104" y="174"/>
                    <a:pt x="104" y="174"/>
                    <a:pt x="103" y="174"/>
                  </a:cubicBezTo>
                  <a:cubicBezTo>
                    <a:pt x="103" y="174"/>
                    <a:pt x="103" y="173"/>
                    <a:pt x="103" y="173"/>
                  </a:cubicBezTo>
                  <a:cubicBezTo>
                    <a:pt x="103" y="173"/>
                    <a:pt x="103" y="173"/>
                    <a:pt x="102" y="173"/>
                  </a:cubicBezTo>
                  <a:cubicBezTo>
                    <a:pt x="102" y="173"/>
                    <a:pt x="102" y="173"/>
                    <a:pt x="102" y="172"/>
                  </a:cubicBezTo>
                  <a:cubicBezTo>
                    <a:pt x="102" y="172"/>
                    <a:pt x="102" y="172"/>
                    <a:pt x="101" y="172"/>
                  </a:cubicBezTo>
                  <a:cubicBezTo>
                    <a:pt x="101" y="172"/>
                    <a:pt x="101" y="172"/>
                    <a:pt x="101" y="172"/>
                  </a:cubicBezTo>
                  <a:cubicBezTo>
                    <a:pt x="101" y="172"/>
                    <a:pt x="101" y="172"/>
                    <a:pt x="100" y="172"/>
                  </a:cubicBezTo>
                  <a:cubicBezTo>
                    <a:pt x="100" y="172"/>
                    <a:pt x="100" y="172"/>
                    <a:pt x="100" y="171"/>
                  </a:cubicBezTo>
                  <a:cubicBezTo>
                    <a:pt x="100" y="171"/>
                    <a:pt x="100" y="171"/>
                    <a:pt x="100" y="171"/>
                  </a:cubicBezTo>
                  <a:cubicBezTo>
                    <a:pt x="100" y="171"/>
                    <a:pt x="99" y="171"/>
                    <a:pt x="99" y="171"/>
                  </a:cubicBezTo>
                  <a:cubicBezTo>
                    <a:pt x="99" y="171"/>
                    <a:pt x="99" y="171"/>
                    <a:pt x="99" y="171"/>
                  </a:cubicBezTo>
                  <a:cubicBezTo>
                    <a:pt x="98" y="170"/>
                    <a:pt x="98" y="170"/>
                    <a:pt x="98" y="170"/>
                  </a:cubicBezTo>
                  <a:cubicBezTo>
                    <a:pt x="98" y="170"/>
                    <a:pt x="97" y="170"/>
                    <a:pt x="97" y="170"/>
                  </a:cubicBezTo>
                  <a:cubicBezTo>
                    <a:pt x="97" y="169"/>
                    <a:pt x="97" y="169"/>
                    <a:pt x="96" y="169"/>
                  </a:cubicBezTo>
                  <a:cubicBezTo>
                    <a:pt x="96" y="169"/>
                    <a:pt x="96" y="169"/>
                    <a:pt x="96" y="169"/>
                  </a:cubicBezTo>
                  <a:cubicBezTo>
                    <a:pt x="96" y="169"/>
                    <a:pt x="96" y="168"/>
                    <a:pt x="95" y="168"/>
                  </a:cubicBezTo>
                  <a:cubicBezTo>
                    <a:pt x="95" y="168"/>
                    <a:pt x="95" y="168"/>
                    <a:pt x="95" y="168"/>
                  </a:cubicBezTo>
                  <a:cubicBezTo>
                    <a:pt x="95" y="168"/>
                    <a:pt x="95" y="168"/>
                    <a:pt x="94" y="168"/>
                  </a:cubicBezTo>
                  <a:cubicBezTo>
                    <a:pt x="94" y="168"/>
                    <a:pt x="94" y="168"/>
                    <a:pt x="94" y="168"/>
                  </a:cubicBezTo>
                  <a:cubicBezTo>
                    <a:pt x="94" y="167"/>
                    <a:pt x="94" y="167"/>
                    <a:pt x="94" y="167"/>
                  </a:cubicBezTo>
                  <a:cubicBezTo>
                    <a:pt x="93" y="167"/>
                    <a:pt x="93" y="167"/>
                    <a:pt x="93" y="167"/>
                  </a:cubicBezTo>
                  <a:cubicBezTo>
                    <a:pt x="93" y="167"/>
                    <a:pt x="93" y="167"/>
                    <a:pt x="93" y="167"/>
                  </a:cubicBezTo>
                  <a:cubicBezTo>
                    <a:pt x="92" y="167"/>
                    <a:pt x="92" y="167"/>
                    <a:pt x="92" y="167"/>
                  </a:cubicBezTo>
                  <a:cubicBezTo>
                    <a:pt x="92" y="166"/>
                    <a:pt x="92" y="166"/>
                    <a:pt x="92" y="166"/>
                  </a:cubicBezTo>
                  <a:cubicBezTo>
                    <a:pt x="91" y="166"/>
                    <a:pt x="91" y="166"/>
                    <a:pt x="90" y="165"/>
                  </a:cubicBezTo>
                  <a:cubicBezTo>
                    <a:pt x="90" y="165"/>
                    <a:pt x="90" y="165"/>
                    <a:pt x="90" y="165"/>
                  </a:cubicBezTo>
                  <a:cubicBezTo>
                    <a:pt x="90" y="165"/>
                    <a:pt x="89" y="165"/>
                    <a:pt x="89" y="165"/>
                  </a:cubicBezTo>
                  <a:cubicBezTo>
                    <a:pt x="89" y="165"/>
                    <a:pt x="89" y="164"/>
                    <a:pt x="89" y="164"/>
                  </a:cubicBezTo>
                  <a:cubicBezTo>
                    <a:pt x="88" y="163"/>
                    <a:pt x="87" y="163"/>
                    <a:pt x="85" y="163"/>
                  </a:cubicBezTo>
                  <a:cubicBezTo>
                    <a:pt x="85" y="163"/>
                    <a:pt x="85" y="163"/>
                    <a:pt x="85" y="163"/>
                  </a:cubicBezTo>
                  <a:cubicBezTo>
                    <a:pt x="84" y="164"/>
                    <a:pt x="83" y="164"/>
                    <a:pt x="82" y="164"/>
                  </a:cubicBezTo>
                  <a:cubicBezTo>
                    <a:pt x="82" y="164"/>
                    <a:pt x="82" y="164"/>
                    <a:pt x="82" y="164"/>
                  </a:cubicBezTo>
                  <a:cubicBezTo>
                    <a:pt x="81" y="164"/>
                    <a:pt x="81" y="164"/>
                    <a:pt x="81" y="164"/>
                  </a:cubicBezTo>
                  <a:cubicBezTo>
                    <a:pt x="81" y="165"/>
                    <a:pt x="81" y="165"/>
                    <a:pt x="81" y="165"/>
                  </a:cubicBezTo>
                  <a:cubicBezTo>
                    <a:pt x="80" y="165"/>
                    <a:pt x="80" y="165"/>
                    <a:pt x="79" y="165"/>
                  </a:cubicBezTo>
                  <a:cubicBezTo>
                    <a:pt x="79" y="165"/>
                    <a:pt x="79" y="165"/>
                    <a:pt x="79" y="165"/>
                  </a:cubicBezTo>
                  <a:cubicBezTo>
                    <a:pt x="79" y="165"/>
                    <a:pt x="79" y="165"/>
                    <a:pt x="78" y="165"/>
                  </a:cubicBezTo>
                  <a:cubicBezTo>
                    <a:pt x="78" y="165"/>
                    <a:pt x="78" y="165"/>
                    <a:pt x="78" y="165"/>
                  </a:cubicBezTo>
                  <a:cubicBezTo>
                    <a:pt x="78" y="165"/>
                    <a:pt x="78" y="165"/>
                    <a:pt x="77" y="165"/>
                  </a:cubicBezTo>
                  <a:cubicBezTo>
                    <a:pt x="77" y="166"/>
                    <a:pt x="77" y="166"/>
                    <a:pt x="77" y="166"/>
                  </a:cubicBezTo>
                  <a:cubicBezTo>
                    <a:pt x="77" y="166"/>
                    <a:pt x="77" y="166"/>
                    <a:pt x="76" y="166"/>
                  </a:cubicBezTo>
                  <a:cubicBezTo>
                    <a:pt x="76" y="166"/>
                    <a:pt x="76" y="166"/>
                    <a:pt x="76" y="166"/>
                  </a:cubicBezTo>
                  <a:cubicBezTo>
                    <a:pt x="75" y="167"/>
                    <a:pt x="73" y="167"/>
                    <a:pt x="72" y="167"/>
                  </a:cubicBezTo>
                  <a:cubicBezTo>
                    <a:pt x="72" y="167"/>
                    <a:pt x="72" y="167"/>
                    <a:pt x="72" y="168"/>
                  </a:cubicBezTo>
                  <a:cubicBezTo>
                    <a:pt x="71" y="168"/>
                    <a:pt x="71" y="168"/>
                    <a:pt x="70" y="168"/>
                  </a:cubicBezTo>
                  <a:cubicBezTo>
                    <a:pt x="70" y="168"/>
                    <a:pt x="70" y="168"/>
                    <a:pt x="70" y="168"/>
                  </a:cubicBezTo>
                  <a:cubicBezTo>
                    <a:pt x="69" y="168"/>
                    <a:pt x="67" y="169"/>
                    <a:pt x="66" y="169"/>
                  </a:cubicBezTo>
                  <a:cubicBezTo>
                    <a:pt x="65" y="169"/>
                    <a:pt x="64" y="170"/>
                    <a:pt x="62" y="170"/>
                  </a:cubicBezTo>
                  <a:cubicBezTo>
                    <a:pt x="62" y="169"/>
                    <a:pt x="62" y="169"/>
                    <a:pt x="62" y="168"/>
                  </a:cubicBezTo>
                  <a:cubicBezTo>
                    <a:pt x="61" y="168"/>
                    <a:pt x="61" y="168"/>
                    <a:pt x="61" y="168"/>
                  </a:cubicBezTo>
                  <a:cubicBezTo>
                    <a:pt x="61" y="168"/>
                    <a:pt x="61" y="167"/>
                    <a:pt x="61" y="167"/>
                  </a:cubicBezTo>
                  <a:cubicBezTo>
                    <a:pt x="61" y="167"/>
                    <a:pt x="61" y="167"/>
                    <a:pt x="60" y="167"/>
                  </a:cubicBezTo>
                  <a:cubicBezTo>
                    <a:pt x="60" y="167"/>
                    <a:pt x="60" y="166"/>
                    <a:pt x="60" y="166"/>
                  </a:cubicBezTo>
                  <a:cubicBezTo>
                    <a:pt x="60" y="166"/>
                    <a:pt x="60" y="166"/>
                    <a:pt x="60" y="166"/>
                  </a:cubicBezTo>
                  <a:cubicBezTo>
                    <a:pt x="60" y="166"/>
                    <a:pt x="60" y="166"/>
                    <a:pt x="60" y="165"/>
                  </a:cubicBezTo>
                  <a:cubicBezTo>
                    <a:pt x="60" y="165"/>
                    <a:pt x="60" y="165"/>
                    <a:pt x="60" y="165"/>
                  </a:cubicBezTo>
                  <a:cubicBezTo>
                    <a:pt x="60" y="165"/>
                    <a:pt x="60" y="165"/>
                    <a:pt x="60" y="165"/>
                  </a:cubicBezTo>
                  <a:cubicBezTo>
                    <a:pt x="60" y="165"/>
                    <a:pt x="60" y="165"/>
                    <a:pt x="59" y="165"/>
                  </a:cubicBezTo>
                  <a:cubicBezTo>
                    <a:pt x="59" y="165"/>
                    <a:pt x="59" y="164"/>
                    <a:pt x="59" y="164"/>
                  </a:cubicBezTo>
                  <a:cubicBezTo>
                    <a:pt x="59" y="164"/>
                    <a:pt x="59" y="164"/>
                    <a:pt x="59" y="164"/>
                  </a:cubicBezTo>
                  <a:cubicBezTo>
                    <a:pt x="59" y="163"/>
                    <a:pt x="59" y="163"/>
                    <a:pt x="59" y="163"/>
                  </a:cubicBezTo>
                  <a:cubicBezTo>
                    <a:pt x="59" y="163"/>
                    <a:pt x="58" y="163"/>
                    <a:pt x="58" y="163"/>
                  </a:cubicBezTo>
                  <a:cubicBezTo>
                    <a:pt x="58" y="163"/>
                    <a:pt x="58" y="163"/>
                    <a:pt x="58" y="162"/>
                  </a:cubicBezTo>
                  <a:cubicBezTo>
                    <a:pt x="58" y="162"/>
                    <a:pt x="58" y="162"/>
                    <a:pt x="58" y="162"/>
                  </a:cubicBezTo>
                  <a:cubicBezTo>
                    <a:pt x="58" y="162"/>
                    <a:pt x="58" y="162"/>
                    <a:pt x="58" y="162"/>
                  </a:cubicBezTo>
                  <a:cubicBezTo>
                    <a:pt x="58" y="162"/>
                    <a:pt x="58" y="162"/>
                    <a:pt x="58" y="162"/>
                  </a:cubicBezTo>
                  <a:cubicBezTo>
                    <a:pt x="58" y="161"/>
                    <a:pt x="58" y="161"/>
                    <a:pt x="58" y="161"/>
                  </a:cubicBezTo>
                  <a:cubicBezTo>
                    <a:pt x="57" y="161"/>
                    <a:pt x="57" y="161"/>
                    <a:pt x="57" y="161"/>
                  </a:cubicBezTo>
                  <a:cubicBezTo>
                    <a:pt x="57" y="160"/>
                    <a:pt x="57" y="160"/>
                    <a:pt x="57" y="160"/>
                  </a:cubicBezTo>
                  <a:cubicBezTo>
                    <a:pt x="57" y="160"/>
                    <a:pt x="57" y="160"/>
                    <a:pt x="57" y="160"/>
                  </a:cubicBezTo>
                  <a:cubicBezTo>
                    <a:pt x="57" y="160"/>
                    <a:pt x="57" y="159"/>
                    <a:pt x="57" y="159"/>
                  </a:cubicBezTo>
                  <a:cubicBezTo>
                    <a:pt x="57" y="159"/>
                    <a:pt x="56" y="159"/>
                    <a:pt x="56" y="159"/>
                  </a:cubicBezTo>
                  <a:cubicBezTo>
                    <a:pt x="56" y="159"/>
                    <a:pt x="56" y="159"/>
                    <a:pt x="56" y="158"/>
                  </a:cubicBezTo>
                  <a:cubicBezTo>
                    <a:pt x="56" y="158"/>
                    <a:pt x="56" y="158"/>
                    <a:pt x="56" y="158"/>
                  </a:cubicBezTo>
                  <a:cubicBezTo>
                    <a:pt x="56" y="158"/>
                    <a:pt x="56" y="158"/>
                    <a:pt x="56" y="158"/>
                  </a:cubicBezTo>
                  <a:cubicBezTo>
                    <a:pt x="56" y="158"/>
                    <a:pt x="55" y="158"/>
                    <a:pt x="55" y="157"/>
                  </a:cubicBezTo>
                  <a:cubicBezTo>
                    <a:pt x="55" y="157"/>
                    <a:pt x="55" y="157"/>
                    <a:pt x="55" y="157"/>
                  </a:cubicBezTo>
                  <a:cubicBezTo>
                    <a:pt x="55" y="157"/>
                    <a:pt x="55" y="157"/>
                    <a:pt x="55" y="157"/>
                  </a:cubicBezTo>
                  <a:cubicBezTo>
                    <a:pt x="55" y="156"/>
                    <a:pt x="55" y="156"/>
                    <a:pt x="55" y="156"/>
                  </a:cubicBezTo>
                  <a:cubicBezTo>
                    <a:pt x="55" y="156"/>
                    <a:pt x="55" y="156"/>
                    <a:pt x="55" y="156"/>
                  </a:cubicBezTo>
                  <a:cubicBezTo>
                    <a:pt x="55" y="156"/>
                    <a:pt x="55" y="156"/>
                    <a:pt x="55" y="155"/>
                  </a:cubicBezTo>
                  <a:cubicBezTo>
                    <a:pt x="54" y="155"/>
                    <a:pt x="54" y="155"/>
                    <a:pt x="54" y="155"/>
                  </a:cubicBezTo>
                  <a:cubicBezTo>
                    <a:pt x="54" y="155"/>
                    <a:pt x="54" y="155"/>
                    <a:pt x="54" y="155"/>
                  </a:cubicBezTo>
                  <a:cubicBezTo>
                    <a:pt x="54" y="154"/>
                    <a:pt x="54" y="154"/>
                    <a:pt x="53" y="154"/>
                  </a:cubicBezTo>
                  <a:cubicBezTo>
                    <a:pt x="53" y="154"/>
                    <a:pt x="53" y="154"/>
                    <a:pt x="53" y="154"/>
                  </a:cubicBezTo>
                  <a:cubicBezTo>
                    <a:pt x="53" y="154"/>
                    <a:pt x="53" y="154"/>
                    <a:pt x="53" y="154"/>
                  </a:cubicBezTo>
                  <a:cubicBezTo>
                    <a:pt x="53" y="153"/>
                    <a:pt x="53" y="153"/>
                    <a:pt x="53" y="153"/>
                  </a:cubicBezTo>
                  <a:cubicBezTo>
                    <a:pt x="53" y="153"/>
                    <a:pt x="53" y="153"/>
                    <a:pt x="53" y="153"/>
                  </a:cubicBezTo>
                  <a:cubicBezTo>
                    <a:pt x="53" y="153"/>
                    <a:pt x="53" y="152"/>
                    <a:pt x="53" y="152"/>
                  </a:cubicBezTo>
                  <a:cubicBezTo>
                    <a:pt x="53" y="152"/>
                    <a:pt x="53" y="152"/>
                    <a:pt x="52" y="152"/>
                  </a:cubicBezTo>
                  <a:cubicBezTo>
                    <a:pt x="52" y="152"/>
                    <a:pt x="52" y="152"/>
                    <a:pt x="52" y="151"/>
                  </a:cubicBezTo>
                  <a:cubicBezTo>
                    <a:pt x="52" y="151"/>
                    <a:pt x="52" y="151"/>
                    <a:pt x="52" y="151"/>
                  </a:cubicBezTo>
                  <a:cubicBezTo>
                    <a:pt x="52" y="151"/>
                    <a:pt x="52" y="151"/>
                    <a:pt x="52" y="150"/>
                  </a:cubicBezTo>
                  <a:cubicBezTo>
                    <a:pt x="52" y="150"/>
                    <a:pt x="51" y="150"/>
                    <a:pt x="51" y="150"/>
                  </a:cubicBezTo>
                  <a:cubicBezTo>
                    <a:pt x="51" y="150"/>
                    <a:pt x="51" y="150"/>
                    <a:pt x="51" y="150"/>
                  </a:cubicBezTo>
                  <a:cubicBezTo>
                    <a:pt x="50" y="148"/>
                    <a:pt x="49" y="146"/>
                    <a:pt x="48" y="145"/>
                  </a:cubicBezTo>
                  <a:cubicBezTo>
                    <a:pt x="48" y="145"/>
                    <a:pt x="47" y="145"/>
                    <a:pt x="47" y="144"/>
                  </a:cubicBezTo>
                  <a:cubicBezTo>
                    <a:pt x="47" y="144"/>
                    <a:pt x="47" y="144"/>
                    <a:pt x="47" y="144"/>
                  </a:cubicBezTo>
                  <a:cubicBezTo>
                    <a:pt x="47" y="144"/>
                    <a:pt x="46" y="144"/>
                    <a:pt x="46" y="144"/>
                  </a:cubicBezTo>
                  <a:cubicBezTo>
                    <a:pt x="46" y="144"/>
                    <a:pt x="46" y="144"/>
                    <a:pt x="46" y="143"/>
                  </a:cubicBezTo>
                  <a:cubicBezTo>
                    <a:pt x="45" y="143"/>
                    <a:pt x="45" y="143"/>
                    <a:pt x="44" y="143"/>
                  </a:cubicBezTo>
                  <a:cubicBezTo>
                    <a:pt x="44" y="143"/>
                    <a:pt x="44" y="143"/>
                    <a:pt x="44" y="142"/>
                  </a:cubicBezTo>
                  <a:cubicBezTo>
                    <a:pt x="43" y="142"/>
                    <a:pt x="43" y="142"/>
                    <a:pt x="42" y="142"/>
                  </a:cubicBezTo>
                  <a:cubicBezTo>
                    <a:pt x="42" y="141"/>
                    <a:pt x="42" y="141"/>
                    <a:pt x="42" y="141"/>
                  </a:cubicBezTo>
                  <a:cubicBezTo>
                    <a:pt x="41" y="141"/>
                    <a:pt x="40" y="141"/>
                    <a:pt x="39" y="140"/>
                  </a:cubicBezTo>
                  <a:cubicBezTo>
                    <a:pt x="39" y="140"/>
                    <a:pt x="39" y="140"/>
                    <a:pt x="39" y="140"/>
                  </a:cubicBezTo>
                  <a:cubicBezTo>
                    <a:pt x="38" y="139"/>
                    <a:pt x="38" y="139"/>
                    <a:pt x="37" y="139"/>
                  </a:cubicBezTo>
                  <a:cubicBezTo>
                    <a:pt x="37" y="139"/>
                    <a:pt x="37" y="138"/>
                    <a:pt x="37" y="138"/>
                  </a:cubicBezTo>
                  <a:cubicBezTo>
                    <a:pt x="36" y="138"/>
                    <a:pt x="35" y="138"/>
                    <a:pt x="35" y="137"/>
                  </a:cubicBezTo>
                  <a:cubicBezTo>
                    <a:pt x="34" y="137"/>
                    <a:pt x="34" y="137"/>
                    <a:pt x="34" y="137"/>
                  </a:cubicBezTo>
                  <a:cubicBezTo>
                    <a:pt x="34" y="137"/>
                    <a:pt x="33" y="137"/>
                    <a:pt x="33" y="136"/>
                  </a:cubicBezTo>
                  <a:cubicBezTo>
                    <a:pt x="33" y="136"/>
                    <a:pt x="33" y="136"/>
                    <a:pt x="32" y="136"/>
                  </a:cubicBezTo>
                  <a:cubicBezTo>
                    <a:pt x="32" y="135"/>
                    <a:pt x="31" y="135"/>
                    <a:pt x="30" y="135"/>
                  </a:cubicBezTo>
                  <a:cubicBezTo>
                    <a:pt x="30" y="135"/>
                    <a:pt x="30" y="135"/>
                    <a:pt x="30" y="134"/>
                  </a:cubicBezTo>
                  <a:cubicBezTo>
                    <a:pt x="29" y="134"/>
                    <a:pt x="29" y="134"/>
                    <a:pt x="28" y="134"/>
                  </a:cubicBezTo>
                  <a:cubicBezTo>
                    <a:pt x="28" y="133"/>
                    <a:pt x="28" y="133"/>
                    <a:pt x="28" y="133"/>
                  </a:cubicBezTo>
                  <a:cubicBezTo>
                    <a:pt x="27" y="133"/>
                    <a:pt x="27" y="133"/>
                    <a:pt x="27" y="133"/>
                  </a:cubicBezTo>
                  <a:cubicBezTo>
                    <a:pt x="27" y="133"/>
                    <a:pt x="27" y="133"/>
                    <a:pt x="27" y="133"/>
                  </a:cubicBezTo>
                  <a:cubicBezTo>
                    <a:pt x="27" y="133"/>
                    <a:pt x="26" y="133"/>
                    <a:pt x="26" y="133"/>
                  </a:cubicBezTo>
                  <a:cubicBezTo>
                    <a:pt x="26" y="132"/>
                    <a:pt x="26" y="132"/>
                    <a:pt x="26" y="132"/>
                  </a:cubicBezTo>
                  <a:cubicBezTo>
                    <a:pt x="26" y="132"/>
                    <a:pt x="26" y="132"/>
                    <a:pt x="25" y="132"/>
                  </a:cubicBezTo>
                  <a:cubicBezTo>
                    <a:pt x="25" y="132"/>
                    <a:pt x="25" y="132"/>
                    <a:pt x="25" y="132"/>
                  </a:cubicBezTo>
                  <a:cubicBezTo>
                    <a:pt x="24" y="131"/>
                    <a:pt x="24" y="131"/>
                    <a:pt x="23" y="131"/>
                  </a:cubicBezTo>
                  <a:cubicBezTo>
                    <a:pt x="23" y="131"/>
                    <a:pt x="23" y="130"/>
                    <a:pt x="23" y="130"/>
                  </a:cubicBezTo>
                  <a:cubicBezTo>
                    <a:pt x="22" y="130"/>
                    <a:pt x="22" y="130"/>
                    <a:pt x="21" y="130"/>
                  </a:cubicBezTo>
                  <a:cubicBezTo>
                    <a:pt x="21" y="130"/>
                    <a:pt x="21" y="129"/>
                    <a:pt x="21" y="129"/>
                  </a:cubicBezTo>
                  <a:cubicBezTo>
                    <a:pt x="21" y="129"/>
                    <a:pt x="20" y="129"/>
                    <a:pt x="20" y="129"/>
                  </a:cubicBezTo>
                  <a:cubicBezTo>
                    <a:pt x="20" y="129"/>
                    <a:pt x="20" y="129"/>
                    <a:pt x="20" y="129"/>
                  </a:cubicBezTo>
                  <a:cubicBezTo>
                    <a:pt x="20" y="129"/>
                    <a:pt x="19" y="128"/>
                    <a:pt x="19" y="128"/>
                  </a:cubicBezTo>
                  <a:cubicBezTo>
                    <a:pt x="19" y="128"/>
                    <a:pt x="18" y="128"/>
                    <a:pt x="18" y="127"/>
                  </a:cubicBezTo>
                  <a:cubicBezTo>
                    <a:pt x="18" y="127"/>
                    <a:pt x="18" y="127"/>
                    <a:pt x="18" y="127"/>
                  </a:cubicBezTo>
                  <a:cubicBezTo>
                    <a:pt x="18" y="127"/>
                    <a:pt x="18" y="127"/>
                    <a:pt x="18" y="127"/>
                  </a:cubicBezTo>
                  <a:cubicBezTo>
                    <a:pt x="18" y="127"/>
                    <a:pt x="18" y="127"/>
                    <a:pt x="17" y="127"/>
                  </a:cubicBezTo>
                  <a:cubicBezTo>
                    <a:pt x="17" y="126"/>
                    <a:pt x="17" y="126"/>
                    <a:pt x="17" y="126"/>
                  </a:cubicBezTo>
                  <a:cubicBezTo>
                    <a:pt x="17" y="126"/>
                    <a:pt x="17" y="126"/>
                    <a:pt x="17" y="126"/>
                  </a:cubicBezTo>
                  <a:cubicBezTo>
                    <a:pt x="17" y="125"/>
                    <a:pt x="17" y="125"/>
                    <a:pt x="17" y="125"/>
                  </a:cubicBezTo>
                  <a:cubicBezTo>
                    <a:pt x="17" y="125"/>
                    <a:pt x="17" y="125"/>
                    <a:pt x="16" y="125"/>
                  </a:cubicBezTo>
                  <a:cubicBezTo>
                    <a:pt x="16" y="125"/>
                    <a:pt x="16" y="124"/>
                    <a:pt x="16" y="124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124"/>
                    <a:pt x="16" y="124"/>
                    <a:pt x="16" y="123"/>
                  </a:cubicBezTo>
                  <a:cubicBezTo>
                    <a:pt x="16" y="123"/>
                    <a:pt x="16" y="123"/>
                    <a:pt x="15" y="123"/>
                  </a:cubicBezTo>
                  <a:cubicBezTo>
                    <a:pt x="15" y="123"/>
                    <a:pt x="15" y="122"/>
                    <a:pt x="15" y="122"/>
                  </a:cubicBezTo>
                  <a:cubicBezTo>
                    <a:pt x="15" y="122"/>
                    <a:pt x="15" y="122"/>
                    <a:pt x="14" y="121"/>
                  </a:cubicBezTo>
                  <a:cubicBezTo>
                    <a:pt x="14" y="121"/>
                    <a:pt x="14" y="120"/>
                    <a:pt x="14" y="120"/>
                  </a:cubicBezTo>
                  <a:cubicBezTo>
                    <a:pt x="14" y="120"/>
                    <a:pt x="13" y="120"/>
                    <a:pt x="13" y="120"/>
                  </a:cubicBezTo>
                  <a:cubicBezTo>
                    <a:pt x="13" y="119"/>
                    <a:pt x="13" y="118"/>
                    <a:pt x="13" y="118"/>
                  </a:cubicBezTo>
                  <a:cubicBezTo>
                    <a:pt x="12" y="117"/>
                    <a:pt x="12" y="117"/>
                    <a:pt x="12" y="117"/>
                  </a:cubicBezTo>
                  <a:cubicBezTo>
                    <a:pt x="12" y="117"/>
                    <a:pt x="12" y="116"/>
                    <a:pt x="12" y="116"/>
                  </a:cubicBezTo>
                  <a:cubicBezTo>
                    <a:pt x="11" y="116"/>
                    <a:pt x="11" y="116"/>
                    <a:pt x="11" y="115"/>
                  </a:cubicBezTo>
                  <a:cubicBezTo>
                    <a:pt x="11" y="115"/>
                    <a:pt x="11" y="115"/>
                    <a:pt x="10" y="114"/>
                  </a:cubicBezTo>
                  <a:cubicBezTo>
                    <a:pt x="10" y="114"/>
                    <a:pt x="10" y="114"/>
                    <a:pt x="10" y="114"/>
                  </a:cubicBezTo>
                  <a:cubicBezTo>
                    <a:pt x="10" y="113"/>
                    <a:pt x="9" y="112"/>
                    <a:pt x="9" y="112"/>
                  </a:cubicBezTo>
                  <a:cubicBezTo>
                    <a:pt x="9" y="111"/>
                    <a:pt x="9" y="111"/>
                    <a:pt x="8" y="111"/>
                  </a:cubicBezTo>
                  <a:cubicBezTo>
                    <a:pt x="8" y="111"/>
                    <a:pt x="8" y="111"/>
                    <a:pt x="8" y="111"/>
                  </a:cubicBezTo>
                  <a:cubicBezTo>
                    <a:pt x="8" y="111"/>
                    <a:pt x="8" y="111"/>
                    <a:pt x="8" y="111"/>
                  </a:cubicBezTo>
                  <a:cubicBezTo>
                    <a:pt x="8" y="110"/>
                    <a:pt x="8" y="110"/>
                    <a:pt x="8" y="110"/>
                  </a:cubicBezTo>
                  <a:cubicBezTo>
                    <a:pt x="8" y="110"/>
                    <a:pt x="8" y="110"/>
                    <a:pt x="7" y="109"/>
                  </a:cubicBezTo>
                  <a:cubicBezTo>
                    <a:pt x="7" y="109"/>
                    <a:pt x="7" y="109"/>
                    <a:pt x="7" y="109"/>
                  </a:cubicBezTo>
                  <a:cubicBezTo>
                    <a:pt x="7" y="109"/>
                    <a:pt x="7" y="109"/>
                    <a:pt x="7" y="109"/>
                  </a:cubicBezTo>
                  <a:cubicBezTo>
                    <a:pt x="7" y="109"/>
                    <a:pt x="7" y="108"/>
                    <a:pt x="7" y="108"/>
                  </a:cubicBezTo>
                  <a:cubicBezTo>
                    <a:pt x="7" y="108"/>
                    <a:pt x="6" y="108"/>
                    <a:pt x="6" y="108"/>
                  </a:cubicBezTo>
                  <a:cubicBezTo>
                    <a:pt x="6" y="107"/>
                    <a:pt x="6" y="106"/>
                    <a:pt x="6" y="106"/>
                  </a:cubicBezTo>
                  <a:cubicBezTo>
                    <a:pt x="5" y="106"/>
                    <a:pt x="5" y="105"/>
                    <a:pt x="5" y="105"/>
                  </a:cubicBezTo>
                  <a:cubicBezTo>
                    <a:pt x="5" y="105"/>
                    <a:pt x="5" y="104"/>
                    <a:pt x="5" y="104"/>
                  </a:cubicBezTo>
                  <a:cubicBezTo>
                    <a:pt x="4" y="104"/>
                    <a:pt x="4" y="104"/>
                    <a:pt x="4" y="104"/>
                  </a:cubicBezTo>
                  <a:cubicBezTo>
                    <a:pt x="4" y="103"/>
                    <a:pt x="4" y="103"/>
                    <a:pt x="3" y="102"/>
                  </a:cubicBezTo>
                  <a:cubicBezTo>
                    <a:pt x="3" y="102"/>
                    <a:pt x="3" y="102"/>
                    <a:pt x="3" y="102"/>
                  </a:cubicBezTo>
                  <a:cubicBezTo>
                    <a:pt x="3" y="101"/>
                    <a:pt x="2" y="100"/>
                    <a:pt x="2" y="100"/>
                  </a:cubicBezTo>
                  <a:cubicBezTo>
                    <a:pt x="2" y="100"/>
                    <a:pt x="2" y="99"/>
                    <a:pt x="1" y="99"/>
                  </a:cubicBezTo>
                  <a:cubicBezTo>
                    <a:pt x="1" y="99"/>
                    <a:pt x="1" y="98"/>
                    <a:pt x="1" y="98"/>
                  </a:cubicBezTo>
                  <a:cubicBezTo>
                    <a:pt x="1" y="98"/>
                    <a:pt x="1" y="98"/>
                    <a:pt x="0" y="98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91"/>
                    <a:pt x="1" y="86"/>
                    <a:pt x="1" y="80"/>
                  </a:cubicBezTo>
                  <a:cubicBezTo>
                    <a:pt x="2" y="80"/>
                    <a:pt x="3" y="79"/>
                    <a:pt x="5" y="78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6" y="78"/>
                    <a:pt x="6" y="78"/>
                    <a:pt x="7" y="78"/>
                  </a:cubicBezTo>
                  <a:cubicBezTo>
                    <a:pt x="7" y="78"/>
                    <a:pt x="7" y="77"/>
                    <a:pt x="7" y="77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8" y="77"/>
                    <a:pt x="8" y="77"/>
                    <a:pt x="8" y="77"/>
                  </a:cubicBezTo>
                  <a:cubicBezTo>
                    <a:pt x="8" y="77"/>
                    <a:pt x="8" y="77"/>
                    <a:pt x="8" y="77"/>
                  </a:cubicBezTo>
                  <a:cubicBezTo>
                    <a:pt x="8" y="77"/>
                    <a:pt x="8" y="77"/>
                    <a:pt x="9" y="77"/>
                  </a:cubicBezTo>
                  <a:cubicBezTo>
                    <a:pt x="9" y="77"/>
                    <a:pt x="9" y="76"/>
                    <a:pt x="9" y="76"/>
                  </a:cubicBezTo>
                  <a:cubicBezTo>
                    <a:pt x="9" y="76"/>
                    <a:pt x="9" y="76"/>
                    <a:pt x="9" y="76"/>
                  </a:cubicBezTo>
                  <a:cubicBezTo>
                    <a:pt x="9" y="76"/>
                    <a:pt x="9" y="76"/>
                    <a:pt x="9" y="76"/>
                  </a:cubicBezTo>
                  <a:cubicBezTo>
                    <a:pt x="10" y="76"/>
                    <a:pt x="10" y="76"/>
                    <a:pt x="11" y="76"/>
                  </a:cubicBezTo>
                  <a:cubicBezTo>
                    <a:pt x="12" y="75"/>
                    <a:pt x="14" y="74"/>
                    <a:pt x="16" y="73"/>
                  </a:cubicBezTo>
                  <a:cubicBezTo>
                    <a:pt x="16" y="71"/>
                    <a:pt x="16" y="69"/>
                    <a:pt x="17" y="67"/>
                  </a:cubicBezTo>
                  <a:cubicBezTo>
                    <a:pt x="17" y="66"/>
                    <a:pt x="17" y="65"/>
                    <a:pt x="17" y="64"/>
                  </a:cubicBezTo>
                  <a:cubicBezTo>
                    <a:pt x="17" y="62"/>
                    <a:pt x="18" y="60"/>
                    <a:pt x="18" y="58"/>
                  </a:cubicBezTo>
                  <a:cubicBezTo>
                    <a:pt x="19" y="55"/>
                    <a:pt x="19" y="52"/>
                    <a:pt x="19" y="49"/>
                  </a:cubicBezTo>
                  <a:cubicBezTo>
                    <a:pt x="21" y="42"/>
                    <a:pt x="22" y="35"/>
                    <a:pt x="24" y="28"/>
                  </a:cubicBezTo>
                  <a:cubicBezTo>
                    <a:pt x="24" y="19"/>
                    <a:pt x="24" y="9"/>
                    <a:pt x="24" y="0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</a:ln>
            <a:effectLst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64800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4000" b="1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0000"/>
                </a:solidFill>
                <a:latin typeface="UKIJ Qolyazma" pitchFamily="18" charset="0"/>
                <a:cs typeface="UKIJ Qolyazma" pitchFamily="18" charset="0"/>
              </a:endParaRPr>
            </a:p>
          </p:txBody>
        </p:sp>
        <p:sp>
          <p:nvSpPr>
            <p:cNvPr id="106" name="Freeform 18">
              <a:extLst>
                <a:ext uri="{FF2B5EF4-FFF2-40B4-BE49-F238E27FC236}">
                  <a16:creationId xmlns:a16="http://schemas.microsoft.com/office/drawing/2014/main" id="{1F42C14A-E3A6-118D-46CB-61215B74FC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76852" y="2040884"/>
              <a:ext cx="698920" cy="500258"/>
            </a:xfrm>
            <a:custGeom>
              <a:avLst/>
              <a:gdLst>
                <a:gd name="T0" fmla="*/ 65 w 321"/>
                <a:gd name="T1" fmla="*/ 200 h 230"/>
                <a:gd name="T2" fmla="*/ 49 w 321"/>
                <a:gd name="T3" fmla="*/ 195 h 230"/>
                <a:gd name="T4" fmla="*/ 39 w 321"/>
                <a:gd name="T5" fmla="*/ 194 h 230"/>
                <a:gd name="T6" fmla="*/ 32 w 321"/>
                <a:gd name="T7" fmla="*/ 191 h 230"/>
                <a:gd name="T8" fmla="*/ 27 w 321"/>
                <a:gd name="T9" fmla="*/ 189 h 230"/>
                <a:gd name="T10" fmla="*/ 19 w 321"/>
                <a:gd name="T11" fmla="*/ 186 h 230"/>
                <a:gd name="T12" fmla="*/ 8 w 321"/>
                <a:gd name="T13" fmla="*/ 177 h 230"/>
                <a:gd name="T14" fmla="*/ 5 w 321"/>
                <a:gd name="T15" fmla="*/ 170 h 230"/>
                <a:gd name="T16" fmla="*/ 7 w 321"/>
                <a:gd name="T17" fmla="*/ 157 h 230"/>
                <a:gd name="T18" fmla="*/ 14 w 321"/>
                <a:gd name="T19" fmla="*/ 155 h 230"/>
                <a:gd name="T20" fmla="*/ 21 w 321"/>
                <a:gd name="T21" fmla="*/ 151 h 230"/>
                <a:gd name="T22" fmla="*/ 69 w 321"/>
                <a:gd name="T23" fmla="*/ 87 h 230"/>
                <a:gd name="T24" fmla="*/ 88 w 321"/>
                <a:gd name="T25" fmla="*/ 81 h 230"/>
                <a:gd name="T26" fmla="*/ 97 w 321"/>
                <a:gd name="T27" fmla="*/ 72 h 230"/>
                <a:gd name="T28" fmla="*/ 105 w 321"/>
                <a:gd name="T29" fmla="*/ 69 h 230"/>
                <a:gd name="T30" fmla="*/ 113 w 321"/>
                <a:gd name="T31" fmla="*/ 61 h 230"/>
                <a:gd name="T32" fmla="*/ 116 w 321"/>
                <a:gd name="T33" fmla="*/ 54 h 230"/>
                <a:gd name="T34" fmla="*/ 120 w 321"/>
                <a:gd name="T35" fmla="*/ 45 h 230"/>
                <a:gd name="T36" fmla="*/ 124 w 321"/>
                <a:gd name="T37" fmla="*/ 36 h 230"/>
                <a:gd name="T38" fmla="*/ 156 w 321"/>
                <a:gd name="T39" fmla="*/ 43 h 230"/>
                <a:gd name="T40" fmla="*/ 166 w 321"/>
                <a:gd name="T41" fmla="*/ 41 h 230"/>
                <a:gd name="T42" fmla="*/ 174 w 321"/>
                <a:gd name="T43" fmla="*/ 36 h 230"/>
                <a:gd name="T44" fmla="*/ 179 w 321"/>
                <a:gd name="T45" fmla="*/ 33 h 230"/>
                <a:gd name="T46" fmla="*/ 194 w 321"/>
                <a:gd name="T47" fmla="*/ 6 h 230"/>
                <a:gd name="T48" fmla="*/ 203 w 321"/>
                <a:gd name="T49" fmla="*/ 11 h 230"/>
                <a:gd name="T50" fmla="*/ 216 w 321"/>
                <a:gd name="T51" fmla="*/ 16 h 230"/>
                <a:gd name="T52" fmla="*/ 225 w 321"/>
                <a:gd name="T53" fmla="*/ 23 h 230"/>
                <a:gd name="T54" fmla="*/ 234 w 321"/>
                <a:gd name="T55" fmla="*/ 26 h 230"/>
                <a:gd name="T56" fmla="*/ 248 w 321"/>
                <a:gd name="T57" fmla="*/ 29 h 230"/>
                <a:gd name="T58" fmla="*/ 257 w 321"/>
                <a:gd name="T59" fmla="*/ 34 h 230"/>
                <a:gd name="T60" fmla="*/ 261 w 321"/>
                <a:gd name="T61" fmla="*/ 52 h 230"/>
                <a:gd name="T62" fmla="*/ 273 w 321"/>
                <a:gd name="T63" fmla="*/ 61 h 230"/>
                <a:gd name="T64" fmla="*/ 287 w 321"/>
                <a:gd name="T65" fmla="*/ 73 h 230"/>
                <a:gd name="T66" fmla="*/ 292 w 321"/>
                <a:gd name="T67" fmla="*/ 79 h 230"/>
                <a:gd name="T68" fmla="*/ 297 w 321"/>
                <a:gd name="T69" fmla="*/ 88 h 230"/>
                <a:gd name="T70" fmla="*/ 304 w 321"/>
                <a:gd name="T71" fmla="*/ 97 h 230"/>
                <a:gd name="T72" fmla="*/ 310 w 321"/>
                <a:gd name="T73" fmla="*/ 102 h 230"/>
                <a:gd name="T74" fmla="*/ 315 w 321"/>
                <a:gd name="T75" fmla="*/ 105 h 230"/>
                <a:gd name="T76" fmla="*/ 319 w 321"/>
                <a:gd name="T77" fmla="*/ 119 h 230"/>
                <a:gd name="T78" fmla="*/ 314 w 321"/>
                <a:gd name="T79" fmla="*/ 127 h 230"/>
                <a:gd name="T80" fmla="*/ 307 w 321"/>
                <a:gd name="T81" fmla="*/ 135 h 230"/>
                <a:gd name="T82" fmla="*/ 299 w 321"/>
                <a:gd name="T83" fmla="*/ 142 h 230"/>
                <a:gd name="T84" fmla="*/ 288 w 321"/>
                <a:gd name="T85" fmla="*/ 148 h 230"/>
                <a:gd name="T86" fmla="*/ 279 w 321"/>
                <a:gd name="T87" fmla="*/ 156 h 230"/>
                <a:gd name="T88" fmla="*/ 266 w 321"/>
                <a:gd name="T89" fmla="*/ 166 h 230"/>
                <a:gd name="T90" fmla="*/ 258 w 321"/>
                <a:gd name="T91" fmla="*/ 171 h 230"/>
                <a:gd name="T92" fmla="*/ 249 w 321"/>
                <a:gd name="T93" fmla="*/ 188 h 230"/>
                <a:gd name="T94" fmla="*/ 239 w 321"/>
                <a:gd name="T95" fmla="*/ 184 h 230"/>
                <a:gd name="T96" fmla="*/ 233 w 321"/>
                <a:gd name="T97" fmla="*/ 181 h 230"/>
                <a:gd name="T98" fmla="*/ 223 w 321"/>
                <a:gd name="T99" fmla="*/ 181 h 230"/>
                <a:gd name="T100" fmla="*/ 216 w 321"/>
                <a:gd name="T101" fmla="*/ 185 h 230"/>
                <a:gd name="T102" fmla="*/ 211 w 321"/>
                <a:gd name="T103" fmla="*/ 202 h 230"/>
                <a:gd name="T104" fmla="*/ 202 w 321"/>
                <a:gd name="T105" fmla="*/ 218 h 230"/>
                <a:gd name="T106" fmla="*/ 198 w 321"/>
                <a:gd name="T107" fmla="*/ 220 h 230"/>
                <a:gd name="T108" fmla="*/ 192 w 321"/>
                <a:gd name="T109" fmla="*/ 223 h 230"/>
                <a:gd name="T110" fmla="*/ 179 w 321"/>
                <a:gd name="T111" fmla="*/ 224 h 230"/>
                <a:gd name="T112" fmla="*/ 129 w 321"/>
                <a:gd name="T113" fmla="*/ 222 h 230"/>
                <a:gd name="T114" fmla="*/ 124 w 321"/>
                <a:gd name="T115" fmla="*/ 220 h 230"/>
                <a:gd name="T116" fmla="*/ 114 w 321"/>
                <a:gd name="T117" fmla="*/ 213 h 230"/>
                <a:gd name="T118" fmla="*/ 101 w 321"/>
                <a:gd name="T119" fmla="*/ 206 h 230"/>
                <a:gd name="T120" fmla="*/ 95 w 321"/>
                <a:gd name="T121" fmla="*/ 209 h 230"/>
                <a:gd name="T122" fmla="*/ 87 w 321"/>
                <a:gd name="T123" fmla="*/ 212 h 230"/>
                <a:gd name="T124" fmla="*/ 80 w 321"/>
                <a:gd name="T125" fmla="*/ 21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21" h="230">
                  <a:moveTo>
                    <a:pt x="74" y="217"/>
                  </a:moveTo>
                  <a:cubicBezTo>
                    <a:pt x="74" y="215"/>
                    <a:pt x="73" y="215"/>
                    <a:pt x="73" y="214"/>
                  </a:cubicBezTo>
                  <a:cubicBezTo>
                    <a:pt x="73" y="214"/>
                    <a:pt x="72" y="213"/>
                    <a:pt x="72" y="213"/>
                  </a:cubicBezTo>
                  <a:cubicBezTo>
                    <a:pt x="72" y="213"/>
                    <a:pt x="72" y="212"/>
                    <a:pt x="72" y="212"/>
                  </a:cubicBezTo>
                  <a:cubicBezTo>
                    <a:pt x="71" y="212"/>
                    <a:pt x="71" y="211"/>
                    <a:pt x="71" y="210"/>
                  </a:cubicBezTo>
                  <a:cubicBezTo>
                    <a:pt x="71" y="210"/>
                    <a:pt x="70" y="210"/>
                    <a:pt x="70" y="210"/>
                  </a:cubicBezTo>
                  <a:cubicBezTo>
                    <a:pt x="70" y="209"/>
                    <a:pt x="70" y="208"/>
                    <a:pt x="70" y="208"/>
                  </a:cubicBezTo>
                  <a:cubicBezTo>
                    <a:pt x="69" y="208"/>
                    <a:pt x="69" y="208"/>
                    <a:pt x="69" y="207"/>
                  </a:cubicBezTo>
                  <a:cubicBezTo>
                    <a:pt x="69" y="207"/>
                    <a:pt x="68" y="206"/>
                    <a:pt x="68" y="205"/>
                  </a:cubicBezTo>
                  <a:cubicBezTo>
                    <a:pt x="68" y="205"/>
                    <a:pt x="68" y="205"/>
                    <a:pt x="67" y="205"/>
                  </a:cubicBezTo>
                  <a:cubicBezTo>
                    <a:pt x="67" y="204"/>
                    <a:pt x="67" y="204"/>
                    <a:pt x="67" y="203"/>
                  </a:cubicBezTo>
                  <a:cubicBezTo>
                    <a:pt x="67" y="203"/>
                    <a:pt x="66" y="203"/>
                    <a:pt x="66" y="203"/>
                  </a:cubicBezTo>
                  <a:cubicBezTo>
                    <a:pt x="66" y="202"/>
                    <a:pt x="66" y="201"/>
                    <a:pt x="65" y="200"/>
                  </a:cubicBezTo>
                  <a:cubicBezTo>
                    <a:pt x="65" y="200"/>
                    <a:pt x="65" y="200"/>
                    <a:pt x="65" y="200"/>
                  </a:cubicBezTo>
                  <a:cubicBezTo>
                    <a:pt x="64" y="199"/>
                    <a:pt x="64" y="199"/>
                    <a:pt x="64" y="198"/>
                  </a:cubicBezTo>
                  <a:cubicBezTo>
                    <a:pt x="64" y="198"/>
                    <a:pt x="63" y="198"/>
                    <a:pt x="63" y="198"/>
                  </a:cubicBezTo>
                  <a:cubicBezTo>
                    <a:pt x="63" y="197"/>
                    <a:pt x="63" y="196"/>
                    <a:pt x="63" y="196"/>
                  </a:cubicBezTo>
                  <a:cubicBezTo>
                    <a:pt x="62" y="195"/>
                    <a:pt x="62" y="195"/>
                    <a:pt x="62" y="195"/>
                  </a:cubicBezTo>
                  <a:cubicBezTo>
                    <a:pt x="62" y="195"/>
                    <a:pt x="62" y="195"/>
                    <a:pt x="62" y="194"/>
                  </a:cubicBezTo>
                  <a:cubicBezTo>
                    <a:pt x="61" y="194"/>
                    <a:pt x="61" y="193"/>
                    <a:pt x="60" y="192"/>
                  </a:cubicBezTo>
                  <a:cubicBezTo>
                    <a:pt x="58" y="192"/>
                    <a:pt x="55" y="193"/>
                    <a:pt x="53" y="194"/>
                  </a:cubicBezTo>
                  <a:cubicBezTo>
                    <a:pt x="53" y="194"/>
                    <a:pt x="52" y="194"/>
                    <a:pt x="52" y="194"/>
                  </a:cubicBezTo>
                  <a:cubicBezTo>
                    <a:pt x="52" y="194"/>
                    <a:pt x="52" y="194"/>
                    <a:pt x="52" y="194"/>
                  </a:cubicBezTo>
                  <a:cubicBezTo>
                    <a:pt x="51" y="194"/>
                    <a:pt x="51" y="194"/>
                    <a:pt x="51" y="194"/>
                  </a:cubicBezTo>
                  <a:cubicBezTo>
                    <a:pt x="51" y="195"/>
                    <a:pt x="51" y="195"/>
                    <a:pt x="51" y="195"/>
                  </a:cubicBezTo>
                  <a:cubicBezTo>
                    <a:pt x="50" y="195"/>
                    <a:pt x="50" y="195"/>
                    <a:pt x="49" y="195"/>
                  </a:cubicBezTo>
                  <a:cubicBezTo>
                    <a:pt x="49" y="195"/>
                    <a:pt x="49" y="195"/>
                    <a:pt x="49" y="195"/>
                  </a:cubicBezTo>
                  <a:cubicBezTo>
                    <a:pt x="48" y="196"/>
                    <a:pt x="46" y="196"/>
                    <a:pt x="44" y="196"/>
                  </a:cubicBezTo>
                  <a:cubicBezTo>
                    <a:pt x="44" y="196"/>
                    <a:pt x="44" y="196"/>
                    <a:pt x="44" y="196"/>
                  </a:cubicBezTo>
                  <a:cubicBezTo>
                    <a:pt x="44" y="196"/>
                    <a:pt x="43" y="196"/>
                    <a:pt x="43" y="196"/>
                  </a:cubicBezTo>
                  <a:cubicBezTo>
                    <a:pt x="43" y="195"/>
                    <a:pt x="43" y="195"/>
                    <a:pt x="43" y="195"/>
                  </a:cubicBezTo>
                  <a:cubicBezTo>
                    <a:pt x="42" y="195"/>
                    <a:pt x="42" y="195"/>
                    <a:pt x="42" y="195"/>
                  </a:cubicBezTo>
                  <a:cubicBezTo>
                    <a:pt x="42" y="195"/>
                    <a:pt x="42" y="195"/>
                    <a:pt x="42" y="195"/>
                  </a:cubicBezTo>
                  <a:cubicBezTo>
                    <a:pt x="42" y="195"/>
                    <a:pt x="41" y="195"/>
                    <a:pt x="41" y="195"/>
                  </a:cubicBezTo>
                  <a:cubicBezTo>
                    <a:pt x="41" y="195"/>
                    <a:pt x="41" y="195"/>
                    <a:pt x="41" y="194"/>
                  </a:cubicBezTo>
                  <a:cubicBezTo>
                    <a:pt x="41" y="194"/>
                    <a:pt x="40" y="194"/>
                    <a:pt x="40" y="194"/>
                  </a:cubicBezTo>
                  <a:cubicBezTo>
                    <a:pt x="40" y="194"/>
                    <a:pt x="40" y="194"/>
                    <a:pt x="40" y="194"/>
                  </a:cubicBezTo>
                  <a:cubicBezTo>
                    <a:pt x="40" y="194"/>
                    <a:pt x="39" y="194"/>
                    <a:pt x="39" y="194"/>
                  </a:cubicBezTo>
                  <a:cubicBezTo>
                    <a:pt x="39" y="194"/>
                    <a:pt x="39" y="194"/>
                    <a:pt x="39" y="194"/>
                  </a:cubicBezTo>
                  <a:cubicBezTo>
                    <a:pt x="39" y="194"/>
                    <a:pt x="38" y="194"/>
                    <a:pt x="38" y="193"/>
                  </a:cubicBezTo>
                  <a:cubicBezTo>
                    <a:pt x="38" y="193"/>
                    <a:pt x="38" y="193"/>
                    <a:pt x="38" y="193"/>
                  </a:cubicBezTo>
                  <a:cubicBezTo>
                    <a:pt x="37" y="193"/>
                    <a:pt x="37" y="193"/>
                    <a:pt x="37" y="193"/>
                  </a:cubicBezTo>
                  <a:cubicBezTo>
                    <a:pt x="37" y="193"/>
                    <a:pt x="37" y="193"/>
                    <a:pt x="37" y="193"/>
                  </a:cubicBezTo>
                  <a:cubicBezTo>
                    <a:pt x="36" y="193"/>
                    <a:pt x="36" y="193"/>
                    <a:pt x="36" y="193"/>
                  </a:cubicBezTo>
                  <a:cubicBezTo>
                    <a:pt x="36" y="193"/>
                    <a:pt x="36" y="192"/>
                    <a:pt x="36" y="192"/>
                  </a:cubicBezTo>
                  <a:cubicBezTo>
                    <a:pt x="36" y="192"/>
                    <a:pt x="35" y="192"/>
                    <a:pt x="35" y="192"/>
                  </a:cubicBezTo>
                  <a:cubicBezTo>
                    <a:pt x="35" y="192"/>
                    <a:pt x="35" y="192"/>
                    <a:pt x="35" y="192"/>
                  </a:cubicBezTo>
                  <a:cubicBezTo>
                    <a:pt x="35" y="192"/>
                    <a:pt x="34" y="192"/>
                    <a:pt x="34" y="192"/>
                  </a:cubicBezTo>
                  <a:cubicBezTo>
                    <a:pt x="34" y="192"/>
                    <a:pt x="34" y="192"/>
                    <a:pt x="34" y="192"/>
                  </a:cubicBezTo>
                  <a:cubicBezTo>
                    <a:pt x="34" y="192"/>
                    <a:pt x="34" y="192"/>
                    <a:pt x="33" y="192"/>
                  </a:cubicBezTo>
                  <a:cubicBezTo>
                    <a:pt x="33" y="192"/>
                    <a:pt x="33" y="191"/>
                    <a:pt x="33" y="191"/>
                  </a:cubicBezTo>
                  <a:cubicBezTo>
                    <a:pt x="33" y="191"/>
                    <a:pt x="33" y="191"/>
                    <a:pt x="32" y="191"/>
                  </a:cubicBezTo>
                  <a:cubicBezTo>
                    <a:pt x="32" y="191"/>
                    <a:pt x="32" y="191"/>
                    <a:pt x="32" y="191"/>
                  </a:cubicBezTo>
                  <a:cubicBezTo>
                    <a:pt x="32" y="191"/>
                    <a:pt x="32" y="191"/>
                    <a:pt x="31" y="191"/>
                  </a:cubicBezTo>
                  <a:cubicBezTo>
                    <a:pt x="31" y="191"/>
                    <a:pt x="31" y="191"/>
                    <a:pt x="31" y="191"/>
                  </a:cubicBezTo>
                  <a:cubicBezTo>
                    <a:pt x="31" y="191"/>
                    <a:pt x="30" y="190"/>
                    <a:pt x="30" y="190"/>
                  </a:cubicBezTo>
                  <a:cubicBezTo>
                    <a:pt x="30" y="190"/>
                    <a:pt x="30" y="190"/>
                    <a:pt x="30" y="190"/>
                  </a:cubicBezTo>
                  <a:cubicBezTo>
                    <a:pt x="30" y="190"/>
                    <a:pt x="29" y="190"/>
                    <a:pt x="29" y="190"/>
                  </a:cubicBezTo>
                  <a:cubicBezTo>
                    <a:pt x="29" y="190"/>
                    <a:pt x="29" y="190"/>
                    <a:pt x="29" y="190"/>
                  </a:cubicBezTo>
                  <a:cubicBezTo>
                    <a:pt x="29" y="190"/>
                    <a:pt x="29" y="190"/>
                    <a:pt x="28" y="190"/>
                  </a:cubicBezTo>
                  <a:cubicBezTo>
                    <a:pt x="28" y="189"/>
                    <a:pt x="28" y="189"/>
                    <a:pt x="28" y="189"/>
                  </a:cubicBezTo>
                  <a:cubicBezTo>
                    <a:pt x="28" y="189"/>
                    <a:pt x="28" y="189"/>
                    <a:pt x="27" y="189"/>
                  </a:cubicBezTo>
                  <a:cubicBezTo>
                    <a:pt x="27" y="189"/>
                    <a:pt x="27" y="189"/>
                    <a:pt x="27" y="189"/>
                  </a:cubicBezTo>
                  <a:cubicBezTo>
                    <a:pt x="27" y="189"/>
                    <a:pt x="27" y="189"/>
                    <a:pt x="27" y="189"/>
                  </a:cubicBezTo>
                  <a:cubicBezTo>
                    <a:pt x="27" y="189"/>
                    <a:pt x="27" y="189"/>
                    <a:pt x="27" y="189"/>
                  </a:cubicBezTo>
                  <a:cubicBezTo>
                    <a:pt x="26" y="189"/>
                    <a:pt x="26" y="189"/>
                    <a:pt x="25" y="189"/>
                  </a:cubicBezTo>
                  <a:cubicBezTo>
                    <a:pt x="25" y="188"/>
                    <a:pt x="25" y="188"/>
                    <a:pt x="25" y="188"/>
                  </a:cubicBezTo>
                  <a:cubicBezTo>
                    <a:pt x="25" y="188"/>
                    <a:pt x="25" y="188"/>
                    <a:pt x="24" y="188"/>
                  </a:cubicBezTo>
                  <a:cubicBezTo>
                    <a:pt x="24" y="188"/>
                    <a:pt x="24" y="188"/>
                    <a:pt x="24" y="187"/>
                  </a:cubicBezTo>
                  <a:cubicBezTo>
                    <a:pt x="24" y="187"/>
                    <a:pt x="23" y="187"/>
                    <a:pt x="23" y="187"/>
                  </a:cubicBezTo>
                  <a:cubicBezTo>
                    <a:pt x="23" y="187"/>
                    <a:pt x="23" y="187"/>
                    <a:pt x="23" y="187"/>
                  </a:cubicBezTo>
                  <a:cubicBezTo>
                    <a:pt x="23" y="187"/>
                    <a:pt x="23" y="187"/>
                    <a:pt x="22" y="187"/>
                  </a:cubicBezTo>
                  <a:cubicBezTo>
                    <a:pt x="22" y="187"/>
                    <a:pt x="22" y="187"/>
                    <a:pt x="22" y="187"/>
                  </a:cubicBezTo>
                  <a:cubicBezTo>
                    <a:pt x="22" y="187"/>
                    <a:pt x="21" y="187"/>
                    <a:pt x="21" y="186"/>
                  </a:cubicBezTo>
                  <a:cubicBezTo>
                    <a:pt x="21" y="186"/>
                    <a:pt x="21" y="186"/>
                    <a:pt x="21" y="186"/>
                  </a:cubicBezTo>
                  <a:cubicBezTo>
                    <a:pt x="20" y="186"/>
                    <a:pt x="20" y="186"/>
                    <a:pt x="20" y="186"/>
                  </a:cubicBezTo>
                  <a:cubicBezTo>
                    <a:pt x="20" y="186"/>
                    <a:pt x="20" y="186"/>
                    <a:pt x="20" y="186"/>
                  </a:cubicBezTo>
                  <a:cubicBezTo>
                    <a:pt x="19" y="186"/>
                    <a:pt x="19" y="186"/>
                    <a:pt x="19" y="186"/>
                  </a:cubicBezTo>
                  <a:cubicBezTo>
                    <a:pt x="19" y="186"/>
                    <a:pt x="19" y="185"/>
                    <a:pt x="19" y="185"/>
                  </a:cubicBezTo>
                  <a:cubicBezTo>
                    <a:pt x="18" y="185"/>
                    <a:pt x="18" y="185"/>
                    <a:pt x="18" y="185"/>
                  </a:cubicBezTo>
                  <a:cubicBezTo>
                    <a:pt x="18" y="185"/>
                    <a:pt x="18" y="185"/>
                    <a:pt x="18" y="185"/>
                  </a:cubicBezTo>
                  <a:cubicBezTo>
                    <a:pt x="17" y="185"/>
                    <a:pt x="17" y="185"/>
                    <a:pt x="16" y="185"/>
                  </a:cubicBezTo>
                  <a:cubicBezTo>
                    <a:pt x="16" y="185"/>
                    <a:pt x="16" y="184"/>
                    <a:pt x="16" y="184"/>
                  </a:cubicBezTo>
                  <a:cubicBezTo>
                    <a:pt x="16" y="184"/>
                    <a:pt x="16" y="184"/>
                    <a:pt x="15" y="184"/>
                  </a:cubicBezTo>
                  <a:cubicBezTo>
                    <a:pt x="14" y="184"/>
                    <a:pt x="12" y="183"/>
                    <a:pt x="10" y="182"/>
                  </a:cubicBezTo>
                  <a:cubicBezTo>
                    <a:pt x="10" y="182"/>
                    <a:pt x="10" y="181"/>
                    <a:pt x="10" y="180"/>
                  </a:cubicBezTo>
                  <a:cubicBezTo>
                    <a:pt x="10" y="180"/>
                    <a:pt x="10" y="180"/>
                    <a:pt x="9" y="180"/>
                  </a:cubicBezTo>
                  <a:cubicBezTo>
                    <a:pt x="9" y="180"/>
                    <a:pt x="9" y="179"/>
                    <a:pt x="9" y="179"/>
                  </a:cubicBezTo>
                  <a:cubicBezTo>
                    <a:pt x="9" y="179"/>
                    <a:pt x="9" y="179"/>
                    <a:pt x="9" y="179"/>
                  </a:cubicBezTo>
                  <a:cubicBezTo>
                    <a:pt x="9" y="178"/>
                    <a:pt x="9" y="178"/>
                    <a:pt x="8" y="177"/>
                  </a:cubicBezTo>
                  <a:cubicBezTo>
                    <a:pt x="8" y="177"/>
                    <a:pt x="8" y="177"/>
                    <a:pt x="8" y="177"/>
                  </a:cubicBezTo>
                  <a:cubicBezTo>
                    <a:pt x="8" y="177"/>
                    <a:pt x="8" y="177"/>
                    <a:pt x="8" y="176"/>
                  </a:cubicBezTo>
                  <a:cubicBezTo>
                    <a:pt x="8" y="176"/>
                    <a:pt x="8" y="176"/>
                    <a:pt x="8" y="176"/>
                  </a:cubicBezTo>
                  <a:cubicBezTo>
                    <a:pt x="8" y="176"/>
                    <a:pt x="8" y="176"/>
                    <a:pt x="8" y="176"/>
                  </a:cubicBezTo>
                  <a:cubicBezTo>
                    <a:pt x="8" y="176"/>
                    <a:pt x="7" y="176"/>
                    <a:pt x="7" y="176"/>
                  </a:cubicBezTo>
                  <a:cubicBezTo>
                    <a:pt x="7" y="175"/>
                    <a:pt x="7" y="175"/>
                    <a:pt x="7" y="175"/>
                  </a:cubicBezTo>
                  <a:cubicBezTo>
                    <a:pt x="7" y="175"/>
                    <a:pt x="7" y="175"/>
                    <a:pt x="7" y="175"/>
                  </a:cubicBezTo>
                  <a:cubicBezTo>
                    <a:pt x="7" y="175"/>
                    <a:pt x="7" y="174"/>
                    <a:pt x="7" y="174"/>
                  </a:cubicBezTo>
                  <a:cubicBezTo>
                    <a:pt x="7" y="174"/>
                    <a:pt x="7" y="174"/>
                    <a:pt x="7" y="174"/>
                  </a:cubicBezTo>
                  <a:cubicBezTo>
                    <a:pt x="7" y="174"/>
                    <a:pt x="7" y="174"/>
                    <a:pt x="7" y="173"/>
                  </a:cubicBezTo>
                  <a:cubicBezTo>
                    <a:pt x="6" y="173"/>
                    <a:pt x="6" y="173"/>
                    <a:pt x="6" y="173"/>
                  </a:cubicBezTo>
                  <a:cubicBezTo>
                    <a:pt x="6" y="173"/>
                    <a:pt x="6" y="172"/>
                    <a:pt x="6" y="171"/>
                  </a:cubicBezTo>
                  <a:cubicBezTo>
                    <a:pt x="5" y="171"/>
                    <a:pt x="5" y="171"/>
                    <a:pt x="5" y="171"/>
                  </a:cubicBezTo>
                  <a:cubicBezTo>
                    <a:pt x="5" y="171"/>
                    <a:pt x="5" y="171"/>
                    <a:pt x="5" y="170"/>
                  </a:cubicBezTo>
                  <a:cubicBezTo>
                    <a:pt x="5" y="170"/>
                    <a:pt x="5" y="170"/>
                    <a:pt x="5" y="170"/>
                  </a:cubicBezTo>
                  <a:cubicBezTo>
                    <a:pt x="5" y="170"/>
                    <a:pt x="5" y="170"/>
                    <a:pt x="5" y="170"/>
                  </a:cubicBezTo>
                  <a:cubicBezTo>
                    <a:pt x="5" y="170"/>
                    <a:pt x="5" y="170"/>
                    <a:pt x="4" y="170"/>
                  </a:cubicBezTo>
                  <a:cubicBezTo>
                    <a:pt x="4" y="169"/>
                    <a:pt x="4" y="169"/>
                    <a:pt x="4" y="169"/>
                  </a:cubicBezTo>
                  <a:cubicBezTo>
                    <a:pt x="3" y="166"/>
                    <a:pt x="1" y="163"/>
                    <a:pt x="0" y="160"/>
                  </a:cubicBezTo>
                  <a:cubicBezTo>
                    <a:pt x="2" y="160"/>
                    <a:pt x="3" y="159"/>
                    <a:pt x="4" y="159"/>
                  </a:cubicBezTo>
                  <a:cubicBezTo>
                    <a:pt x="4" y="159"/>
                    <a:pt x="4" y="159"/>
                    <a:pt x="4" y="158"/>
                  </a:cubicBezTo>
                  <a:cubicBezTo>
                    <a:pt x="4" y="158"/>
                    <a:pt x="5" y="158"/>
                    <a:pt x="5" y="158"/>
                  </a:cubicBezTo>
                  <a:cubicBezTo>
                    <a:pt x="5" y="158"/>
                    <a:pt x="5" y="158"/>
                    <a:pt x="5" y="158"/>
                  </a:cubicBezTo>
                  <a:cubicBezTo>
                    <a:pt x="5" y="158"/>
                    <a:pt x="6" y="158"/>
                    <a:pt x="6" y="158"/>
                  </a:cubicBezTo>
                  <a:cubicBezTo>
                    <a:pt x="6" y="158"/>
                    <a:pt x="6" y="158"/>
                    <a:pt x="6" y="158"/>
                  </a:cubicBezTo>
                  <a:cubicBezTo>
                    <a:pt x="6" y="158"/>
                    <a:pt x="6" y="158"/>
                    <a:pt x="7" y="158"/>
                  </a:cubicBezTo>
                  <a:cubicBezTo>
                    <a:pt x="7" y="158"/>
                    <a:pt x="7" y="158"/>
                    <a:pt x="7" y="157"/>
                  </a:cubicBezTo>
                  <a:cubicBezTo>
                    <a:pt x="7" y="157"/>
                    <a:pt x="7" y="157"/>
                    <a:pt x="7" y="157"/>
                  </a:cubicBezTo>
                  <a:cubicBezTo>
                    <a:pt x="7" y="157"/>
                    <a:pt x="7" y="157"/>
                    <a:pt x="7" y="157"/>
                  </a:cubicBezTo>
                  <a:cubicBezTo>
                    <a:pt x="8" y="157"/>
                    <a:pt x="8" y="157"/>
                    <a:pt x="8" y="157"/>
                  </a:cubicBezTo>
                  <a:cubicBezTo>
                    <a:pt x="8" y="157"/>
                    <a:pt x="8" y="157"/>
                    <a:pt x="8" y="157"/>
                  </a:cubicBezTo>
                  <a:cubicBezTo>
                    <a:pt x="9" y="157"/>
                    <a:pt x="9" y="157"/>
                    <a:pt x="9" y="157"/>
                  </a:cubicBezTo>
                  <a:cubicBezTo>
                    <a:pt x="9" y="157"/>
                    <a:pt x="9" y="156"/>
                    <a:pt x="9" y="156"/>
                  </a:cubicBezTo>
                  <a:cubicBezTo>
                    <a:pt x="10" y="156"/>
                    <a:pt x="10" y="156"/>
                    <a:pt x="10" y="156"/>
                  </a:cubicBezTo>
                  <a:cubicBezTo>
                    <a:pt x="10" y="156"/>
                    <a:pt x="10" y="156"/>
                    <a:pt x="10" y="156"/>
                  </a:cubicBezTo>
                  <a:cubicBezTo>
                    <a:pt x="11" y="156"/>
                    <a:pt x="11" y="156"/>
                    <a:pt x="11" y="156"/>
                  </a:cubicBezTo>
                  <a:cubicBezTo>
                    <a:pt x="11" y="156"/>
                    <a:pt x="11" y="155"/>
                    <a:pt x="11" y="155"/>
                  </a:cubicBezTo>
                  <a:cubicBezTo>
                    <a:pt x="12" y="155"/>
                    <a:pt x="12" y="155"/>
                    <a:pt x="12" y="155"/>
                  </a:cubicBezTo>
                  <a:cubicBezTo>
                    <a:pt x="12" y="155"/>
                    <a:pt x="12" y="155"/>
                    <a:pt x="12" y="155"/>
                  </a:cubicBezTo>
                  <a:cubicBezTo>
                    <a:pt x="13" y="155"/>
                    <a:pt x="13" y="155"/>
                    <a:pt x="14" y="155"/>
                  </a:cubicBezTo>
                  <a:cubicBezTo>
                    <a:pt x="14" y="154"/>
                    <a:pt x="14" y="154"/>
                    <a:pt x="14" y="154"/>
                  </a:cubicBezTo>
                  <a:cubicBezTo>
                    <a:pt x="14" y="154"/>
                    <a:pt x="14" y="154"/>
                    <a:pt x="15" y="154"/>
                  </a:cubicBezTo>
                  <a:cubicBezTo>
                    <a:pt x="15" y="154"/>
                    <a:pt x="15" y="154"/>
                    <a:pt x="15" y="154"/>
                  </a:cubicBezTo>
                  <a:cubicBezTo>
                    <a:pt x="15" y="154"/>
                    <a:pt x="15" y="154"/>
                    <a:pt x="15" y="154"/>
                  </a:cubicBezTo>
                  <a:cubicBezTo>
                    <a:pt x="15" y="154"/>
                    <a:pt x="15" y="154"/>
                    <a:pt x="15" y="154"/>
                  </a:cubicBezTo>
                  <a:cubicBezTo>
                    <a:pt x="16" y="153"/>
                    <a:pt x="16" y="153"/>
                    <a:pt x="17" y="153"/>
                  </a:cubicBezTo>
                  <a:cubicBezTo>
                    <a:pt x="17" y="153"/>
                    <a:pt x="17" y="153"/>
                    <a:pt x="17" y="153"/>
                  </a:cubicBezTo>
                  <a:cubicBezTo>
                    <a:pt x="17" y="153"/>
                    <a:pt x="17" y="153"/>
                    <a:pt x="18" y="153"/>
                  </a:cubicBezTo>
                  <a:cubicBezTo>
                    <a:pt x="18" y="153"/>
                    <a:pt x="18" y="153"/>
                    <a:pt x="18" y="153"/>
                  </a:cubicBezTo>
                  <a:cubicBezTo>
                    <a:pt x="18" y="152"/>
                    <a:pt x="19" y="152"/>
                    <a:pt x="19" y="152"/>
                  </a:cubicBezTo>
                  <a:cubicBezTo>
                    <a:pt x="19" y="152"/>
                    <a:pt x="19" y="152"/>
                    <a:pt x="19" y="152"/>
                  </a:cubicBezTo>
                  <a:cubicBezTo>
                    <a:pt x="20" y="152"/>
                    <a:pt x="20" y="152"/>
                    <a:pt x="21" y="151"/>
                  </a:cubicBezTo>
                  <a:cubicBezTo>
                    <a:pt x="21" y="151"/>
                    <a:pt x="21" y="151"/>
                    <a:pt x="21" y="151"/>
                  </a:cubicBezTo>
                  <a:cubicBezTo>
                    <a:pt x="21" y="151"/>
                    <a:pt x="21" y="151"/>
                    <a:pt x="22" y="151"/>
                  </a:cubicBezTo>
                  <a:cubicBezTo>
                    <a:pt x="22" y="151"/>
                    <a:pt x="22" y="151"/>
                    <a:pt x="22" y="151"/>
                  </a:cubicBezTo>
                  <a:cubicBezTo>
                    <a:pt x="22" y="150"/>
                    <a:pt x="23" y="150"/>
                    <a:pt x="24" y="150"/>
                  </a:cubicBezTo>
                  <a:cubicBezTo>
                    <a:pt x="24" y="147"/>
                    <a:pt x="25" y="144"/>
                    <a:pt x="26" y="142"/>
                  </a:cubicBezTo>
                  <a:cubicBezTo>
                    <a:pt x="26" y="141"/>
                    <a:pt x="27" y="139"/>
                    <a:pt x="27" y="138"/>
                  </a:cubicBezTo>
                  <a:cubicBezTo>
                    <a:pt x="28" y="134"/>
                    <a:pt x="29" y="130"/>
                    <a:pt x="30" y="127"/>
                  </a:cubicBezTo>
                  <a:cubicBezTo>
                    <a:pt x="30" y="113"/>
                    <a:pt x="30" y="100"/>
                    <a:pt x="29" y="86"/>
                  </a:cubicBezTo>
                  <a:cubicBezTo>
                    <a:pt x="41" y="86"/>
                    <a:pt x="53" y="86"/>
                    <a:pt x="65" y="86"/>
                  </a:cubicBezTo>
                  <a:cubicBezTo>
                    <a:pt x="65" y="86"/>
                    <a:pt x="65" y="86"/>
                    <a:pt x="65" y="86"/>
                  </a:cubicBezTo>
                  <a:cubicBezTo>
                    <a:pt x="66" y="86"/>
                    <a:pt x="66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68" y="87"/>
                    <a:pt x="68" y="87"/>
                    <a:pt x="69" y="87"/>
                  </a:cubicBezTo>
                  <a:cubicBezTo>
                    <a:pt x="69" y="87"/>
                    <a:pt x="69" y="87"/>
                    <a:pt x="69" y="87"/>
                  </a:cubicBezTo>
                  <a:cubicBezTo>
                    <a:pt x="70" y="87"/>
                    <a:pt x="71" y="87"/>
                    <a:pt x="72" y="87"/>
                  </a:cubicBezTo>
                  <a:cubicBezTo>
                    <a:pt x="72" y="87"/>
                    <a:pt x="72" y="87"/>
                    <a:pt x="72" y="87"/>
                  </a:cubicBezTo>
                  <a:cubicBezTo>
                    <a:pt x="72" y="87"/>
                    <a:pt x="73" y="87"/>
                    <a:pt x="74" y="87"/>
                  </a:cubicBezTo>
                  <a:cubicBezTo>
                    <a:pt x="76" y="88"/>
                    <a:pt x="79" y="89"/>
                    <a:pt x="81" y="89"/>
                  </a:cubicBezTo>
                  <a:cubicBezTo>
                    <a:pt x="82" y="88"/>
                    <a:pt x="83" y="88"/>
                    <a:pt x="83" y="87"/>
                  </a:cubicBezTo>
                  <a:cubicBezTo>
                    <a:pt x="83" y="87"/>
                    <a:pt x="83" y="87"/>
                    <a:pt x="83" y="86"/>
                  </a:cubicBezTo>
                  <a:cubicBezTo>
                    <a:pt x="83" y="86"/>
                    <a:pt x="84" y="86"/>
                    <a:pt x="84" y="86"/>
                  </a:cubicBezTo>
                  <a:cubicBezTo>
                    <a:pt x="84" y="86"/>
                    <a:pt x="84" y="86"/>
                    <a:pt x="84" y="86"/>
                  </a:cubicBezTo>
                  <a:cubicBezTo>
                    <a:pt x="84" y="85"/>
                    <a:pt x="85" y="85"/>
                    <a:pt x="85" y="85"/>
                  </a:cubicBezTo>
                  <a:cubicBezTo>
                    <a:pt x="85" y="85"/>
                    <a:pt x="85" y="85"/>
                    <a:pt x="85" y="84"/>
                  </a:cubicBezTo>
                  <a:cubicBezTo>
                    <a:pt x="86" y="84"/>
                    <a:pt x="86" y="83"/>
                    <a:pt x="87" y="83"/>
                  </a:cubicBezTo>
                  <a:cubicBezTo>
                    <a:pt x="87" y="83"/>
                    <a:pt x="87" y="82"/>
                    <a:pt x="87" y="82"/>
                  </a:cubicBezTo>
                  <a:cubicBezTo>
                    <a:pt x="87" y="82"/>
                    <a:pt x="88" y="81"/>
                    <a:pt x="88" y="81"/>
                  </a:cubicBezTo>
                  <a:cubicBezTo>
                    <a:pt x="88" y="81"/>
                    <a:pt x="88" y="80"/>
                    <a:pt x="88" y="80"/>
                  </a:cubicBezTo>
                  <a:cubicBezTo>
                    <a:pt x="89" y="80"/>
                    <a:pt x="90" y="79"/>
                    <a:pt x="90" y="79"/>
                  </a:cubicBezTo>
                  <a:cubicBezTo>
                    <a:pt x="90" y="78"/>
                    <a:pt x="90" y="78"/>
                    <a:pt x="90" y="78"/>
                  </a:cubicBezTo>
                  <a:cubicBezTo>
                    <a:pt x="91" y="78"/>
                    <a:pt x="91" y="77"/>
                    <a:pt x="92" y="77"/>
                  </a:cubicBezTo>
                  <a:cubicBezTo>
                    <a:pt x="92" y="76"/>
                    <a:pt x="92" y="76"/>
                    <a:pt x="92" y="76"/>
                  </a:cubicBezTo>
                  <a:cubicBezTo>
                    <a:pt x="93" y="75"/>
                    <a:pt x="93" y="75"/>
                    <a:pt x="94" y="75"/>
                  </a:cubicBezTo>
                  <a:cubicBezTo>
                    <a:pt x="94" y="74"/>
                    <a:pt x="94" y="74"/>
                    <a:pt x="94" y="74"/>
                  </a:cubicBezTo>
                  <a:cubicBezTo>
                    <a:pt x="94" y="74"/>
                    <a:pt x="94" y="74"/>
                    <a:pt x="94" y="74"/>
                  </a:cubicBezTo>
                  <a:cubicBezTo>
                    <a:pt x="94" y="73"/>
                    <a:pt x="94" y="73"/>
                    <a:pt x="95" y="73"/>
                  </a:cubicBezTo>
                  <a:cubicBezTo>
                    <a:pt x="95" y="73"/>
                    <a:pt x="96" y="73"/>
                    <a:pt x="96" y="72"/>
                  </a:cubicBezTo>
                  <a:cubicBezTo>
                    <a:pt x="96" y="72"/>
                    <a:pt x="96" y="72"/>
                    <a:pt x="96" y="72"/>
                  </a:cubicBezTo>
                  <a:cubicBezTo>
                    <a:pt x="97" y="72"/>
                    <a:pt x="97" y="72"/>
                    <a:pt x="97" y="72"/>
                  </a:cubicBezTo>
                  <a:cubicBezTo>
                    <a:pt x="97" y="72"/>
                    <a:pt x="97" y="72"/>
                    <a:pt x="97" y="72"/>
                  </a:cubicBezTo>
                  <a:cubicBezTo>
                    <a:pt x="98" y="72"/>
                    <a:pt x="98" y="71"/>
                    <a:pt x="99" y="71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99" y="71"/>
                    <a:pt x="100" y="71"/>
                    <a:pt x="100" y="71"/>
                  </a:cubicBezTo>
                  <a:cubicBezTo>
                    <a:pt x="100" y="71"/>
                    <a:pt x="100" y="71"/>
                    <a:pt x="100" y="71"/>
                  </a:cubicBezTo>
                  <a:cubicBezTo>
                    <a:pt x="100" y="71"/>
                    <a:pt x="100" y="71"/>
                    <a:pt x="101" y="71"/>
                  </a:cubicBezTo>
                  <a:cubicBezTo>
                    <a:pt x="101" y="71"/>
                    <a:pt x="101" y="70"/>
                    <a:pt x="101" y="70"/>
                  </a:cubicBezTo>
                  <a:cubicBezTo>
                    <a:pt x="101" y="70"/>
                    <a:pt x="102" y="70"/>
                    <a:pt x="103" y="70"/>
                  </a:cubicBezTo>
                  <a:cubicBezTo>
                    <a:pt x="103" y="70"/>
                    <a:pt x="103" y="70"/>
                    <a:pt x="103" y="70"/>
                  </a:cubicBezTo>
                  <a:cubicBezTo>
                    <a:pt x="103" y="70"/>
                    <a:pt x="103" y="70"/>
                    <a:pt x="103" y="70"/>
                  </a:cubicBezTo>
                  <a:cubicBezTo>
                    <a:pt x="103" y="70"/>
                    <a:pt x="103" y="69"/>
                    <a:pt x="103" y="69"/>
                  </a:cubicBezTo>
                  <a:cubicBezTo>
                    <a:pt x="104" y="69"/>
                    <a:pt x="104" y="69"/>
                    <a:pt x="105" y="69"/>
                  </a:cubicBezTo>
                  <a:cubicBezTo>
                    <a:pt x="105" y="69"/>
                    <a:pt x="105" y="69"/>
                    <a:pt x="105" y="69"/>
                  </a:cubicBezTo>
                  <a:cubicBezTo>
                    <a:pt x="105" y="69"/>
                    <a:pt x="105" y="69"/>
                    <a:pt x="105" y="69"/>
                  </a:cubicBezTo>
                  <a:cubicBezTo>
                    <a:pt x="105" y="69"/>
                    <a:pt x="105" y="69"/>
                    <a:pt x="105" y="69"/>
                  </a:cubicBezTo>
                  <a:cubicBezTo>
                    <a:pt x="106" y="69"/>
                    <a:pt x="106" y="69"/>
                    <a:pt x="106" y="69"/>
                  </a:cubicBezTo>
                  <a:cubicBezTo>
                    <a:pt x="106" y="68"/>
                    <a:pt x="106" y="68"/>
                    <a:pt x="106" y="68"/>
                  </a:cubicBezTo>
                  <a:cubicBezTo>
                    <a:pt x="106" y="68"/>
                    <a:pt x="107" y="68"/>
                    <a:pt x="107" y="68"/>
                  </a:cubicBezTo>
                  <a:cubicBezTo>
                    <a:pt x="107" y="68"/>
                    <a:pt x="107" y="68"/>
                    <a:pt x="107" y="68"/>
                  </a:cubicBezTo>
                  <a:cubicBezTo>
                    <a:pt x="107" y="68"/>
                    <a:pt x="108" y="68"/>
                    <a:pt x="108" y="68"/>
                  </a:cubicBezTo>
                  <a:cubicBezTo>
                    <a:pt x="108" y="68"/>
                    <a:pt x="108" y="68"/>
                    <a:pt x="108" y="68"/>
                  </a:cubicBezTo>
                  <a:cubicBezTo>
                    <a:pt x="109" y="67"/>
                    <a:pt x="110" y="67"/>
                    <a:pt x="111" y="67"/>
                  </a:cubicBezTo>
                  <a:cubicBezTo>
                    <a:pt x="111" y="66"/>
                    <a:pt x="112" y="65"/>
                    <a:pt x="112" y="64"/>
                  </a:cubicBezTo>
                  <a:cubicBezTo>
                    <a:pt x="112" y="64"/>
                    <a:pt x="112" y="64"/>
                    <a:pt x="112" y="64"/>
                  </a:cubicBezTo>
                  <a:cubicBezTo>
                    <a:pt x="112" y="63"/>
                    <a:pt x="112" y="63"/>
                    <a:pt x="113" y="62"/>
                  </a:cubicBezTo>
                  <a:cubicBezTo>
                    <a:pt x="113" y="62"/>
                    <a:pt x="113" y="62"/>
                    <a:pt x="113" y="62"/>
                  </a:cubicBezTo>
                  <a:cubicBezTo>
                    <a:pt x="113" y="62"/>
                    <a:pt x="113" y="61"/>
                    <a:pt x="113" y="61"/>
                  </a:cubicBezTo>
                  <a:cubicBezTo>
                    <a:pt x="113" y="61"/>
                    <a:pt x="113" y="61"/>
                    <a:pt x="113" y="61"/>
                  </a:cubicBezTo>
                  <a:cubicBezTo>
                    <a:pt x="113" y="61"/>
                    <a:pt x="113" y="60"/>
                    <a:pt x="114" y="59"/>
                  </a:cubicBezTo>
                  <a:cubicBezTo>
                    <a:pt x="114" y="59"/>
                    <a:pt x="114" y="59"/>
                    <a:pt x="114" y="59"/>
                  </a:cubicBezTo>
                  <a:cubicBezTo>
                    <a:pt x="114" y="59"/>
                    <a:pt x="114" y="59"/>
                    <a:pt x="114" y="59"/>
                  </a:cubicBezTo>
                  <a:cubicBezTo>
                    <a:pt x="114" y="59"/>
                    <a:pt x="114" y="59"/>
                    <a:pt x="114" y="59"/>
                  </a:cubicBezTo>
                  <a:cubicBezTo>
                    <a:pt x="114" y="58"/>
                    <a:pt x="114" y="58"/>
                    <a:pt x="114" y="58"/>
                  </a:cubicBezTo>
                  <a:cubicBezTo>
                    <a:pt x="114" y="58"/>
                    <a:pt x="115" y="58"/>
                    <a:pt x="115" y="58"/>
                  </a:cubicBezTo>
                  <a:cubicBezTo>
                    <a:pt x="115" y="57"/>
                    <a:pt x="115" y="57"/>
                    <a:pt x="115" y="56"/>
                  </a:cubicBezTo>
                  <a:cubicBezTo>
                    <a:pt x="115" y="56"/>
                    <a:pt x="115" y="56"/>
                    <a:pt x="115" y="56"/>
                  </a:cubicBezTo>
                  <a:cubicBezTo>
                    <a:pt x="115" y="56"/>
                    <a:pt x="115" y="56"/>
                    <a:pt x="115" y="55"/>
                  </a:cubicBezTo>
                  <a:cubicBezTo>
                    <a:pt x="115" y="55"/>
                    <a:pt x="116" y="55"/>
                    <a:pt x="116" y="55"/>
                  </a:cubicBezTo>
                  <a:cubicBezTo>
                    <a:pt x="116" y="55"/>
                    <a:pt x="116" y="54"/>
                    <a:pt x="116" y="54"/>
                  </a:cubicBezTo>
                  <a:cubicBezTo>
                    <a:pt x="116" y="54"/>
                    <a:pt x="116" y="54"/>
                    <a:pt x="116" y="54"/>
                  </a:cubicBezTo>
                  <a:cubicBezTo>
                    <a:pt x="116" y="54"/>
                    <a:pt x="116" y="53"/>
                    <a:pt x="116" y="53"/>
                  </a:cubicBezTo>
                  <a:cubicBezTo>
                    <a:pt x="117" y="53"/>
                    <a:pt x="117" y="53"/>
                    <a:pt x="117" y="53"/>
                  </a:cubicBezTo>
                  <a:cubicBezTo>
                    <a:pt x="117" y="52"/>
                    <a:pt x="117" y="52"/>
                    <a:pt x="117" y="51"/>
                  </a:cubicBezTo>
                  <a:cubicBezTo>
                    <a:pt x="117" y="51"/>
                    <a:pt x="117" y="51"/>
                    <a:pt x="117" y="51"/>
                  </a:cubicBezTo>
                  <a:cubicBezTo>
                    <a:pt x="117" y="51"/>
                    <a:pt x="117" y="51"/>
                    <a:pt x="117" y="50"/>
                  </a:cubicBezTo>
                  <a:cubicBezTo>
                    <a:pt x="118" y="50"/>
                    <a:pt x="118" y="50"/>
                    <a:pt x="118" y="50"/>
                  </a:cubicBezTo>
                  <a:cubicBezTo>
                    <a:pt x="118" y="50"/>
                    <a:pt x="118" y="49"/>
                    <a:pt x="118" y="49"/>
                  </a:cubicBezTo>
                  <a:cubicBezTo>
                    <a:pt x="118" y="49"/>
                    <a:pt x="118" y="49"/>
                    <a:pt x="119" y="49"/>
                  </a:cubicBezTo>
                  <a:cubicBezTo>
                    <a:pt x="119" y="49"/>
                    <a:pt x="119" y="48"/>
                    <a:pt x="119" y="48"/>
                  </a:cubicBezTo>
                  <a:cubicBezTo>
                    <a:pt x="119" y="48"/>
                    <a:pt x="119" y="48"/>
                    <a:pt x="119" y="48"/>
                  </a:cubicBezTo>
                  <a:cubicBezTo>
                    <a:pt x="119" y="47"/>
                    <a:pt x="119" y="47"/>
                    <a:pt x="119" y="47"/>
                  </a:cubicBezTo>
                  <a:cubicBezTo>
                    <a:pt x="119" y="47"/>
                    <a:pt x="119" y="47"/>
                    <a:pt x="120" y="47"/>
                  </a:cubicBezTo>
                  <a:cubicBezTo>
                    <a:pt x="120" y="46"/>
                    <a:pt x="120" y="46"/>
                    <a:pt x="120" y="45"/>
                  </a:cubicBezTo>
                  <a:cubicBezTo>
                    <a:pt x="120" y="45"/>
                    <a:pt x="120" y="45"/>
                    <a:pt x="120" y="45"/>
                  </a:cubicBezTo>
                  <a:cubicBezTo>
                    <a:pt x="120" y="45"/>
                    <a:pt x="120" y="45"/>
                    <a:pt x="120" y="44"/>
                  </a:cubicBezTo>
                  <a:cubicBezTo>
                    <a:pt x="120" y="44"/>
                    <a:pt x="120" y="44"/>
                    <a:pt x="121" y="44"/>
                  </a:cubicBezTo>
                  <a:cubicBezTo>
                    <a:pt x="121" y="44"/>
                    <a:pt x="121" y="43"/>
                    <a:pt x="121" y="43"/>
                  </a:cubicBezTo>
                  <a:cubicBezTo>
                    <a:pt x="121" y="43"/>
                    <a:pt x="121" y="43"/>
                    <a:pt x="121" y="43"/>
                  </a:cubicBezTo>
                  <a:cubicBezTo>
                    <a:pt x="121" y="43"/>
                    <a:pt x="121" y="43"/>
                    <a:pt x="121" y="42"/>
                  </a:cubicBezTo>
                  <a:cubicBezTo>
                    <a:pt x="121" y="42"/>
                    <a:pt x="121" y="42"/>
                    <a:pt x="121" y="42"/>
                  </a:cubicBezTo>
                  <a:cubicBezTo>
                    <a:pt x="121" y="42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0"/>
                    <a:pt x="122" y="40"/>
                    <a:pt x="122" y="39"/>
                  </a:cubicBezTo>
                  <a:cubicBezTo>
                    <a:pt x="122" y="39"/>
                    <a:pt x="123" y="39"/>
                    <a:pt x="123" y="39"/>
                  </a:cubicBezTo>
                  <a:cubicBezTo>
                    <a:pt x="123" y="39"/>
                    <a:pt x="123" y="38"/>
                    <a:pt x="123" y="38"/>
                  </a:cubicBezTo>
                  <a:cubicBezTo>
                    <a:pt x="123" y="37"/>
                    <a:pt x="124" y="37"/>
                    <a:pt x="124" y="36"/>
                  </a:cubicBezTo>
                  <a:cubicBezTo>
                    <a:pt x="131" y="35"/>
                    <a:pt x="139" y="33"/>
                    <a:pt x="147" y="32"/>
                  </a:cubicBezTo>
                  <a:cubicBezTo>
                    <a:pt x="147" y="33"/>
                    <a:pt x="148" y="34"/>
                    <a:pt x="148" y="34"/>
                  </a:cubicBezTo>
                  <a:cubicBezTo>
                    <a:pt x="148" y="34"/>
                    <a:pt x="149" y="35"/>
                    <a:pt x="149" y="35"/>
                  </a:cubicBezTo>
                  <a:cubicBezTo>
                    <a:pt x="149" y="35"/>
                    <a:pt x="149" y="35"/>
                    <a:pt x="149" y="35"/>
                  </a:cubicBezTo>
                  <a:cubicBezTo>
                    <a:pt x="149" y="36"/>
                    <a:pt x="150" y="36"/>
                    <a:pt x="150" y="36"/>
                  </a:cubicBezTo>
                  <a:cubicBezTo>
                    <a:pt x="150" y="37"/>
                    <a:pt x="150" y="37"/>
                    <a:pt x="150" y="37"/>
                  </a:cubicBezTo>
                  <a:cubicBezTo>
                    <a:pt x="151" y="37"/>
                    <a:pt x="151" y="38"/>
                    <a:pt x="152" y="38"/>
                  </a:cubicBezTo>
                  <a:cubicBezTo>
                    <a:pt x="152" y="38"/>
                    <a:pt x="152" y="39"/>
                    <a:pt x="152" y="39"/>
                  </a:cubicBezTo>
                  <a:cubicBezTo>
                    <a:pt x="152" y="39"/>
                    <a:pt x="153" y="40"/>
                    <a:pt x="153" y="40"/>
                  </a:cubicBezTo>
                  <a:cubicBezTo>
                    <a:pt x="153" y="40"/>
                    <a:pt x="153" y="40"/>
                    <a:pt x="153" y="41"/>
                  </a:cubicBezTo>
                  <a:cubicBezTo>
                    <a:pt x="154" y="41"/>
                    <a:pt x="154" y="41"/>
                    <a:pt x="155" y="42"/>
                  </a:cubicBezTo>
                  <a:cubicBezTo>
                    <a:pt x="155" y="42"/>
                    <a:pt x="155" y="42"/>
                    <a:pt x="155" y="42"/>
                  </a:cubicBezTo>
                  <a:cubicBezTo>
                    <a:pt x="155" y="43"/>
                    <a:pt x="155" y="43"/>
                    <a:pt x="156" y="43"/>
                  </a:cubicBezTo>
                  <a:cubicBezTo>
                    <a:pt x="156" y="44"/>
                    <a:pt x="157" y="45"/>
                    <a:pt x="157" y="45"/>
                  </a:cubicBezTo>
                  <a:cubicBezTo>
                    <a:pt x="158" y="45"/>
                    <a:pt x="158" y="45"/>
                    <a:pt x="158" y="45"/>
                  </a:cubicBezTo>
                  <a:cubicBezTo>
                    <a:pt x="158" y="45"/>
                    <a:pt x="158" y="45"/>
                    <a:pt x="158" y="45"/>
                  </a:cubicBezTo>
                  <a:cubicBezTo>
                    <a:pt x="159" y="45"/>
                    <a:pt x="159" y="45"/>
                    <a:pt x="159" y="45"/>
                  </a:cubicBezTo>
                  <a:cubicBezTo>
                    <a:pt x="159" y="45"/>
                    <a:pt x="159" y="45"/>
                    <a:pt x="159" y="44"/>
                  </a:cubicBezTo>
                  <a:cubicBezTo>
                    <a:pt x="159" y="44"/>
                    <a:pt x="160" y="44"/>
                    <a:pt x="160" y="44"/>
                  </a:cubicBezTo>
                  <a:cubicBezTo>
                    <a:pt x="160" y="44"/>
                    <a:pt x="160" y="44"/>
                    <a:pt x="160" y="44"/>
                  </a:cubicBezTo>
                  <a:cubicBezTo>
                    <a:pt x="160" y="44"/>
                    <a:pt x="161" y="44"/>
                    <a:pt x="161" y="44"/>
                  </a:cubicBezTo>
                  <a:cubicBezTo>
                    <a:pt x="161" y="44"/>
                    <a:pt x="161" y="44"/>
                    <a:pt x="161" y="43"/>
                  </a:cubicBezTo>
                  <a:cubicBezTo>
                    <a:pt x="162" y="43"/>
                    <a:pt x="162" y="43"/>
                    <a:pt x="163" y="43"/>
                  </a:cubicBezTo>
                  <a:cubicBezTo>
                    <a:pt x="163" y="42"/>
                    <a:pt x="163" y="42"/>
                    <a:pt x="163" y="42"/>
                  </a:cubicBezTo>
                  <a:cubicBezTo>
                    <a:pt x="164" y="42"/>
                    <a:pt x="165" y="42"/>
                    <a:pt x="165" y="41"/>
                  </a:cubicBezTo>
                  <a:cubicBezTo>
                    <a:pt x="165" y="41"/>
                    <a:pt x="166" y="41"/>
                    <a:pt x="166" y="41"/>
                  </a:cubicBezTo>
                  <a:cubicBezTo>
                    <a:pt x="166" y="40"/>
                    <a:pt x="167" y="40"/>
                    <a:pt x="168" y="40"/>
                  </a:cubicBezTo>
                  <a:cubicBezTo>
                    <a:pt x="168" y="40"/>
                    <a:pt x="168" y="40"/>
                    <a:pt x="168" y="40"/>
                  </a:cubicBezTo>
                  <a:cubicBezTo>
                    <a:pt x="168" y="40"/>
                    <a:pt x="168" y="40"/>
                    <a:pt x="169" y="40"/>
                  </a:cubicBezTo>
                  <a:cubicBezTo>
                    <a:pt x="169" y="39"/>
                    <a:pt x="169" y="39"/>
                    <a:pt x="169" y="39"/>
                  </a:cubicBezTo>
                  <a:cubicBezTo>
                    <a:pt x="169" y="39"/>
                    <a:pt x="169" y="39"/>
                    <a:pt x="170" y="39"/>
                  </a:cubicBezTo>
                  <a:cubicBezTo>
                    <a:pt x="170" y="39"/>
                    <a:pt x="170" y="39"/>
                    <a:pt x="170" y="38"/>
                  </a:cubicBezTo>
                  <a:cubicBezTo>
                    <a:pt x="170" y="38"/>
                    <a:pt x="170" y="38"/>
                    <a:pt x="170" y="38"/>
                  </a:cubicBezTo>
                  <a:cubicBezTo>
                    <a:pt x="170" y="38"/>
                    <a:pt x="170" y="38"/>
                    <a:pt x="170" y="38"/>
                  </a:cubicBezTo>
                  <a:cubicBezTo>
                    <a:pt x="170" y="38"/>
                    <a:pt x="171" y="38"/>
                    <a:pt x="171" y="38"/>
                  </a:cubicBezTo>
                  <a:cubicBezTo>
                    <a:pt x="171" y="38"/>
                    <a:pt x="171" y="38"/>
                    <a:pt x="171" y="38"/>
                  </a:cubicBezTo>
                  <a:cubicBezTo>
                    <a:pt x="171" y="38"/>
                    <a:pt x="171" y="38"/>
                    <a:pt x="172" y="38"/>
                  </a:cubicBezTo>
                  <a:cubicBezTo>
                    <a:pt x="172" y="38"/>
                    <a:pt x="172" y="37"/>
                    <a:pt x="172" y="37"/>
                  </a:cubicBezTo>
                  <a:cubicBezTo>
                    <a:pt x="173" y="37"/>
                    <a:pt x="173" y="37"/>
                    <a:pt x="174" y="36"/>
                  </a:cubicBezTo>
                  <a:cubicBezTo>
                    <a:pt x="174" y="36"/>
                    <a:pt x="174" y="36"/>
                    <a:pt x="174" y="36"/>
                  </a:cubicBezTo>
                  <a:cubicBezTo>
                    <a:pt x="175" y="36"/>
                    <a:pt x="175" y="36"/>
                    <a:pt x="175" y="36"/>
                  </a:cubicBezTo>
                  <a:cubicBezTo>
                    <a:pt x="175" y="36"/>
                    <a:pt x="175" y="35"/>
                    <a:pt x="175" y="35"/>
                  </a:cubicBezTo>
                  <a:cubicBezTo>
                    <a:pt x="175" y="35"/>
                    <a:pt x="176" y="35"/>
                    <a:pt x="176" y="35"/>
                  </a:cubicBezTo>
                  <a:cubicBezTo>
                    <a:pt x="176" y="35"/>
                    <a:pt x="176" y="35"/>
                    <a:pt x="176" y="35"/>
                  </a:cubicBezTo>
                  <a:cubicBezTo>
                    <a:pt x="176" y="35"/>
                    <a:pt x="176" y="35"/>
                    <a:pt x="177" y="35"/>
                  </a:cubicBezTo>
                  <a:cubicBezTo>
                    <a:pt x="177" y="35"/>
                    <a:pt x="177" y="35"/>
                    <a:pt x="177" y="35"/>
                  </a:cubicBezTo>
                  <a:cubicBezTo>
                    <a:pt x="177" y="35"/>
                    <a:pt x="177" y="35"/>
                    <a:pt x="177" y="35"/>
                  </a:cubicBezTo>
                  <a:cubicBezTo>
                    <a:pt x="177" y="34"/>
                    <a:pt x="177" y="34"/>
                    <a:pt x="178" y="34"/>
                  </a:cubicBezTo>
                  <a:cubicBezTo>
                    <a:pt x="178" y="34"/>
                    <a:pt x="178" y="34"/>
                    <a:pt x="178" y="34"/>
                  </a:cubicBezTo>
                  <a:cubicBezTo>
                    <a:pt x="178" y="34"/>
                    <a:pt x="178" y="34"/>
                    <a:pt x="178" y="34"/>
                  </a:cubicBezTo>
                  <a:cubicBezTo>
                    <a:pt x="179" y="34"/>
                    <a:pt x="179" y="34"/>
                    <a:pt x="179" y="34"/>
                  </a:cubicBezTo>
                  <a:cubicBezTo>
                    <a:pt x="179" y="33"/>
                    <a:pt x="179" y="33"/>
                    <a:pt x="179" y="33"/>
                  </a:cubicBezTo>
                  <a:cubicBezTo>
                    <a:pt x="179" y="33"/>
                    <a:pt x="179" y="33"/>
                    <a:pt x="180" y="33"/>
                  </a:cubicBezTo>
                  <a:cubicBezTo>
                    <a:pt x="180" y="33"/>
                    <a:pt x="180" y="33"/>
                    <a:pt x="180" y="33"/>
                  </a:cubicBezTo>
                  <a:cubicBezTo>
                    <a:pt x="186" y="33"/>
                    <a:pt x="192" y="34"/>
                    <a:pt x="199" y="34"/>
                  </a:cubicBezTo>
                  <a:cubicBezTo>
                    <a:pt x="195" y="23"/>
                    <a:pt x="191" y="12"/>
                    <a:pt x="187" y="0"/>
                  </a:cubicBezTo>
                  <a:cubicBezTo>
                    <a:pt x="187" y="0"/>
                    <a:pt x="187" y="0"/>
                    <a:pt x="187" y="0"/>
                  </a:cubicBezTo>
                  <a:cubicBezTo>
                    <a:pt x="188" y="1"/>
                    <a:pt x="187" y="1"/>
                    <a:pt x="188" y="1"/>
                  </a:cubicBezTo>
                  <a:cubicBezTo>
                    <a:pt x="189" y="2"/>
                    <a:pt x="189" y="2"/>
                    <a:pt x="190" y="3"/>
                  </a:cubicBezTo>
                  <a:cubicBezTo>
                    <a:pt x="190" y="3"/>
                    <a:pt x="190" y="3"/>
                    <a:pt x="191" y="3"/>
                  </a:cubicBezTo>
                  <a:cubicBezTo>
                    <a:pt x="191" y="4"/>
                    <a:pt x="191" y="4"/>
                    <a:pt x="191" y="4"/>
                  </a:cubicBezTo>
                  <a:cubicBezTo>
                    <a:pt x="191" y="4"/>
                    <a:pt x="192" y="4"/>
                    <a:pt x="192" y="4"/>
                  </a:cubicBezTo>
                  <a:cubicBezTo>
                    <a:pt x="192" y="5"/>
                    <a:pt x="192" y="5"/>
                    <a:pt x="193" y="5"/>
                  </a:cubicBezTo>
                  <a:cubicBezTo>
                    <a:pt x="193" y="5"/>
                    <a:pt x="193" y="5"/>
                    <a:pt x="193" y="5"/>
                  </a:cubicBezTo>
                  <a:cubicBezTo>
                    <a:pt x="193" y="6"/>
                    <a:pt x="194" y="6"/>
                    <a:pt x="194" y="6"/>
                  </a:cubicBezTo>
                  <a:cubicBezTo>
                    <a:pt x="194" y="6"/>
                    <a:pt x="194" y="6"/>
                    <a:pt x="194" y="6"/>
                  </a:cubicBezTo>
                  <a:cubicBezTo>
                    <a:pt x="195" y="6"/>
                    <a:pt x="195" y="6"/>
                    <a:pt x="195" y="7"/>
                  </a:cubicBezTo>
                  <a:cubicBezTo>
                    <a:pt x="195" y="7"/>
                    <a:pt x="195" y="7"/>
                    <a:pt x="195" y="7"/>
                  </a:cubicBezTo>
                  <a:cubicBezTo>
                    <a:pt x="196" y="7"/>
                    <a:pt x="196" y="7"/>
                    <a:pt x="196" y="7"/>
                  </a:cubicBezTo>
                  <a:cubicBezTo>
                    <a:pt x="196" y="7"/>
                    <a:pt x="196" y="8"/>
                    <a:pt x="197" y="8"/>
                  </a:cubicBezTo>
                  <a:cubicBezTo>
                    <a:pt x="197" y="8"/>
                    <a:pt x="197" y="8"/>
                    <a:pt x="197" y="8"/>
                  </a:cubicBezTo>
                  <a:cubicBezTo>
                    <a:pt x="197" y="8"/>
                    <a:pt x="198" y="8"/>
                    <a:pt x="198" y="8"/>
                  </a:cubicBezTo>
                  <a:cubicBezTo>
                    <a:pt x="198" y="9"/>
                    <a:pt x="198" y="9"/>
                    <a:pt x="199" y="9"/>
                  </a:cubicBezTo>
                  <a:cubicBezTo>
                    <a:pt x="199" y="9"/>
                    <a:pt x="200" y="9"/>
                    <a:pt x="200" y="9"/>
                  </a:cubicBezTo>
                  <a:cubicBezTo>
                    <a:pt x="200" y="10"/>
                    <a:pt x="200" y="10"/>
                    <a:pt x="200" y="10"/>
                  </a:cubicBezTo>
                  <a:cubicBezTo>
                    <a:pt x="201" y="10"/>
                    <a:pt x="201" y="10"/>
                    <a:pt x="202" y="11"/>
                  </a:cubicBezTo>
                  <a:cubicBezTo>
                    <a:pt x="202" y="11"/>
                    <a:pt x="202" y="11"/>
                    <a:pt x="202" y="11"/>
                  </a:cubicBezTo>
                  <a:cubicBezTo>
                    <a:pt x="202" y="11"/>
                    <a:pt x="203" y="11"/>
                    <a:pt x="203" y="11"/>
                  </a:cubicBezTo>
                  <a:cubicBezTo>
                    <a:pt x="203" y="11"/>
                    <a:pt x="203" y="11"/>
                    <a:pt x="203" y="11"/>
                  </a:cubicBezTo>
                  <a:cubicBezTo>
                    <a:pt x="203" y="11"/>
                    <a:pt x="204" y="11"/>
                    <a:pt x="204" y="11"/>
                  </a:cubicBezTo>
                  <a:cubicBezTo>
                    <a:pt x="204" y="11"/>
                    <a:pt x="204" y="11"/>
                    <a:pt x="204" y="12"/>
                  </a:cubicBezTo>
                  <a:cubicBezTo>
                    <a:pt x="207" y="12"/>
                    <a:pt x="210" y="13"/>
                    <a:pt x="213" y="14"/>
                  </a:cubicBezTo>
                  <a:cubicBezTo>
                    <a:pt x="213" y="14"/>
                    <a:pt x="213" y="14"/>
                    <a:pt x="213" y="14"/>
                  </a:cubicBezTo>
                  <a:cubicBezTo>
                    <a:pt x="213" y="14"/>
                    <a:pt x="213" y="14"/>
                    <a:pt x="214" y="14"/>
                  </a:cubicBezTo>
                  <a:cubicBezTo>
                    <a:pt x="214" y="14"/>
                    <a:pt x="214" y="15"/>
                    <a:pt x="214" y="15"/>
                  </a:cubicBezTo>
                  <a:cubicBezTo>
                    <a:pt x="214" y="15"/>
                    <a:pt x="214" y="15"/>
                    <a:pt x="215" y="15"/>
                  </a:cubicBezTo>
                  <a:cubicBezTo>
                    <a:pt x="215" y="15"/>
                    <a:pt x="215" y="15"/>
                    <a:pt x="215" y="15"/>
                  </a:cubicBezTo>
                  <a:cubicBezTo>
                    <a:pt x="215" y="15"/>
                    <a:pt x="215" y="15"/>
                    <a:pt x="215" y="15"/>
                  </a:cubicBezTo>
                  <a:cubicBezTo>
                    <a:pt x="215" y="15"/>
                    <a:pt x="215" y="15"/>
                    <a:pt x="215" y="15"/>
                  </a:cubicBezTo>
                  <a:cubicBezTo>
                    <a:pt x="216" y="15"/>
                    <a:pt x="216" y="15"/>
                    <a:pt x="216" y="15"/>
                  </a:cubicBezTo>
                  <a:cubicBezTo>
                    <a:pt x="216" y="16"/>
                    <a:pt x="216" y="16"/>
                    <a:pt x="216" y="16"/>
                  </a:cubicBezTo>
                  <a:cubicBezTo>
                    <a:pt x="217" y="16"/>
                    <a:pt x="217" y="16"/>
                    <a:pt x="218" y="16"/>
                  </a:cubicBezTo>
                  <a:cubicBezTo>
                    <a:pt x="218" y="17"/>
                    <a:pt x="219" y="18"/>
                    <a:pt x="219" y="18"/>
                  </a:cubicBezTo>
                  <a:cubicBezTo>
                    <a:pt x="219" y="18"/>
                    <a:pt x="220" y="18"/>
                    <a:pt x="220" y="18"/>
                  </a:cubicBezTo>
                  <a:cubicBezTo>
                    <a:pt x="220" y="18"/>
                    <a:pt x="220" y="19"/>
                    <a:pt x="220" y="19"/>
                  </a:cubicBezTo>
                  <a:cubicBezTo>
                    <a:pt x="220" y="19"/>
                    <a:pt x="221" y="19"/>
                    <a:pt x="221" y="19"/>
                  </a:cubicBezTo>
                  <a:cubicBezTo>
                    <a:pt x="221" y="19"/>
                    <a:pt x="221" y="19"/>
                    <a:pt x="221" y="20"/>
                  </a:cubicBezTo>
                  <a:cubicBezTo>
                    <a:pt x="221" y="20"/>
                    <a:pt x="221" y="20"/>
                    <a:pt x="222" y="20"/>
                  </a:cubicBezTo>
                  <a:cubicBezTo>
                    <a:pt x="222" y="21"/>
                    <a:pt x="222" y="21"/>
                    <a:pt x="222" y="21"/>
                  </a:cubicBezTo>
                  <a:cubicBezTo>
                    <a:pt x="222" y="21"/>
                    <a:pt x="223" y="22"/>
                    <a:pt x="223" y="22"/>
                  </a:cubicBezTo>
                  <a:cubicBezTo>
                    <a:pt x="223" y="22"/>
                    <a:pt x="223" y="22"/>
                    <a:pt x="223" y="22"/>
                  </a:cubicBezTo>
                  <a:cubicBezTo>
                    <a:pt x="224" y="22"/>
                    <a:pt x="224" y="22"/>
                    <a:pt x="224" y="22"/>
                  </a:cubicBezTo>
                  <a:cubicBezTo>
                    <a:pt x="224" y="23"/>
                    <a:pt x="224" y="23"/>
                    <a:pt x="224" y="23"/>
                  </a:cubicBezTo>
                  <a:cubicBezTo>
                    <a:pt x="224" y="23"/>
                    <a:pt x="225" y="23"/>
                    <a:pt x="225" y="23"/>
                  </a:cubicBezTo>
                  <a:cubicBezTo>
                    <a:pt x="225" y="23"/>
                    <a:pt x="225" y="23"/>
                    <a:pt x="225" y="23"/>
                  </a:cubicBezTo>
                  <a:cubicBezTo>
                    <a:pt x="226" y="23"/>
                    <a:pt x="226" y="23"/>
                    <a:pt x="227" y="23"/>
                  </a:cubicBezTo>
                  <a:cubicBezTo>
                    <a:pt x="227" y="24"/>
                    <a:pt x="227" y="24"/>
                    <a:pt x="227" y="24"/>
                  </a:cubicBezTo>
                  <a:cubicBezTo>
                    <a:pt x="227" y="24"/>
                    <a:pt x="227" y="24"/>
                    <a:pt x="228" y="24"/>
                  </a:cubicBezTo>
                  <a:cubicBezTo>
                    <a:pt x="228" y="24"/>
                    <a:pt x="228" y="24"/>
                    <a:pt x="228" y="24"/>
                  </a:cubicBezTo>
                  <a:cubicBezTo>
                    <a:pt x="228" y="24"/>
                    <a:pt x="229" y="24"/>
                    <a:pt x="229" y="24"/>
                  </a:cubicBezTo>
                  <a:cubicBezTo>
                    <a:pt x="229" y="24"/>
                    <a:pt x="229" y="24"/>
                    <a:pt x="229" y="25"/>
                  </a:cubicBezTo>
                  <a:cubicBezTo>
                    <a:pt x="229" y="25"/>
                    <a:pt x="230" y="25"/>
                    <a:pt x="230" y="25"/>
                  </a:cubicBezTo>
                  <a:cubicBezTo>
                    <a:pt x="230" y="25"/>
                    <a:pt x="230" y="25"/>
                    <a:pt x="230" y="25"/>
                  </a:cubicBezTo>
                  <a:cubicBezTo>
                    <a:pt x="230" y="25"/>
                    <a:pt x="231" y="25"/>
                    <a:pt x="231" y="25"/>
                  </a:cubicBezTo>
                  <a:cubicBezTo>
                    <a:pt x="231" y="25"/>
                    <a:pt x="231" y="25"/>
                    <a:pt x="231" y="25"/>
                  </a:cubicBezTo>
                  <a:cubicBezTo>
                    <a:pt x="232" y="25"/>
                    <a:pt x="233" y="25"/>
                    <a:pt x="234" y="26"/>
                  </a:cubicBezTo>
                  <a:cubicBezTo>
                    <a:pt x="234" y="26"/>
                    <a:pt x="234" y="26"/>
                    <a:pt x="234" y="26"/>
                  </a:cubicBezTo>
                  <a:cubicBezTo>
                    <a:pt x="234" y="26"/>
                    <a:pt x="235" y="26"/>
                    <a:pt x="235" y="26"/>
                  </a:cubicBezTo>
                  <a:cubicBezTo>
                    <a:pt x="235" y="26"/>
                    <a:pt x="235" y="26"/>
                    <a:pt x="235" y="26"/>
                  </a:cubicBezTo>
                  <a:cubicBezTo>
                    <a:pt x="236" y="26"/>
                    <a:pt x="236" y="26"/>
                    <a:pt x="237" y="26"/>
                  </a:cubicBezTo>
                  <a:cubicBezTo>
                    <a:pt x="237" y="26"/>
                    <a:pt x="237" y="26"/>
                    <a:pt x="237" y="27"/>
                  </a:cubicBezTo>
                  <a:cubicBezTo>
                    <a:pt x="238" y="27"/>
                    <a:pt x="238" y="27"/>
                    <a:pt x="238" y="27"/>
                  </a:cubicBezTo>
                  <a:cubicBezTo>
                    <a:pt x="238" y="27"/>
                    <a:pt x="238" y="27"/>
                    <a:pt x="238" y="27"/>
                  </a:cubicBezTo>
                  <a:cubicBezTo>
                    <a:pt x="239" y="27"/>
                    <a:pt x="239" y="27"/>
                    <a:pt x="240" y="27"/>
                  </a:cubicBezTo>
                  <a:cubicBezTo>
                    <a:pt x="240" y="27"/>
                    <a:pt x="240" y="27"/>
                    <a:pt x="240" y="27"/>
                  </a:cubicBezTo>
                  <a:cubicBezTo>
                    <a:pt x="241" y="27"/>
                    <a:pt x="242" y="28"/>
                    <a:pt x="243" y="28"/>
                  </a:cubicBezTo>
                  <a:cubicBezTo>
                    <a:pt x="243" y="28"/>
                    <a:pt x="243" y="28"/>
                    <a:pt x="243" y="28"/>
                  </a:cubicBezTo>
                  <a:cubicBezTo>
                    <a:pt x="244" y="28"/>
                    <a:pt x="246" y="28"/>
                    <a:pt x="247" y="29"/>
                  </a:cubicBezTo>
                  <a:cubicBezTo>
                    <a:pt x="247" y="29"/>
                    <a:pt x="247" y="29"/>
                    <a:pt x="247" y="29"/>
                  </a:cubicBezTo>
                  <a:cubicBezTo>
                    <a:pt x="248" y="29"/>
                    <a:pt x="248" y="29"/>
                    <a:pt x="248" y="29"/>
                  </a:cubicBezTo>
                  <a:cubicBezTo>
                    <a:pt x="248" y="29"/>
                    <a:pt x="248" y="29"/>
                    <a:pt x="248" y="29"/>
                  </a:cubicBezTo>
                  <a:cubicBezTo>
                    <a:pt x="249" y="29"/>
                    <a:pt x="249" y="29"/>
                    <a:pt x="249" y="29"/>
                  </a:cubicBezTo>
                  <a:cubicBezTo>
                    <a:pt x="249" y="30"/>
                    <a:pt x="249" y="30"/>
                    <a:pt x="249" y="30"/>
                  </a:cubicBezTo>
                  <a:cubicBezTo>
                    <a:pt x="250" y="30"/>
                    <a:pt x="250" y="30"/>
                    <a:pt x="251" y="30"/>
                  </a:cubicBezTo>
                  <a:cubicBezTo>
                    <a:pt x="251" y="30"/>
                    <a:pt x="251" y="30"/>
                    <a:pt x="251" y="30"/>
                  </a:cubicBezTo>
                  <a:cubicBezTo>
                    <a:pt x="251" y="30"/>
                    <a:pt x="251" y="30"/>
                    <a:pt x="252" y="30"/>
                  </a:cubicBezTo>
                  <a:cubicBezTo>
                    <a:pt x="252" y="30"/>
                    <a:pt x="252" y="30"/>
                    <a:pt x="252" y="30"/>
                  </a:cubicBezTo>
                  <a:cubicBezTo>
                    <a:pt x="252" y="31"/>
                    <a:pt x="253" y="31"/>
                    <a:pt x="253" y="31"/>
                  </a:cubicBezTo>
                  <a:cubicBezTo>
                    <a:pt x="253" y="31"/>
                    <a:pt x="253" y="31"/>
                    <a:pt x="253" y="31"/>
                  </a:cubicBezTo>
                  <a:cubicBezTo>
                    <a:pt x="254" y="31"/>
                    <a:pt x="254" y="31"/>
                    <a:pt x="255" y="31"/>
                  </a:cubicBezTo>
                  <a:cubicBezTo>
                    <a:pt x="255" y="32"/>
                    <a:pt x="255" y="32"/>
                    <a:pt x="255" y="32"/>
                  </a:cubicBezTo>
                  <a:cubicBezTo>
                    <a:pt x="255" y="32"/>
                    <a:pt x="256" y="32"/>
                    <a:pt x="256" y="32"/>
                  </a:cubicBezTo>
                  <a:cubicBezTo>
                    <a:pt x="256" y="33"/>
                    <a:pt x="257" y="33"/>
                    <a:pt x="257" y="34"/>
                  </a:cubicBezTo>
                  <a:cubicBezTo>
                    <a:pt x="257" y="34"/>
                    <a:pt x="257" y="34"/>
                    <a:pt x="258" y="34"/>
                  </a:cubicBezTo>
                  <a:cubicBezTo>
                    <a:pt x="258" y="34"/>
                    <a:pt x="258" y="34"/>
                    <a:pt x="258" y="35"/>
                  </a:cubicBezTo>
                  <a:cubicBezTo>
                    <a:pt x="258" y="35"/>
                    <a:pt x="258" y="35"/>
                    <a:pt x="258" y="35"/>
                  </a:cubicBezTo>
                  <a:cubicBezTo>
                    <a:pt x="258" y="35"/>
                    <a:pt x="258" y="35"/>
                    <a:pt x="259" y="36"/>
                  </a:cubicBezTo>
                  <a:cubicBezTo>
                    <a:pt x="259" y="38"/>
                    <a:pt x="259" y="40"/>
                    <a:pt x="259" y="42"/>
                  </a:cubicBezTo>
                  <a:cubicBezTo>
                    <a:pt x="259" y="44"/>
                    <a:pt x="258" y="46"/>
                    <a:pt x="259" y="48"/>
                  </a:cubicBezTo>
                  <a:cubicBezTo>
                    <a:pt x="259" y="48"/>
                    <a:pt x="259" y="48"/>
                    <a:pt x="259" y="48"/>
                  </a:cubicBezTo>
                  <a:cubicBezTo>
                    <a:pt x="259" y="48"/>
                    <a:pt x="259" y="49"/>
                    <a:pt x="259" y="49"/>
                  </a:cubicBezTo>
                  <a:cubicBezTo>
                    <a:pt x="259" y="49"/>
                    <a:pt x="259" y="49"/>
                    <a:pt x="259" y="49"/>
                  </a:cubicBezTo>
                  <a:cubicBezTo>
                    <a:pt x="260" y="50"/>
                    <a:pt x="260" y="50"/>
                    <a:pt x="260" y="51"/>
                  </a:cubicBezTo>
                  <a:cubicBezTo>
                    <a:pt x="260" y="51"/>
                    <a:pt x="260" y="51"/>
                    <a:pt x="260" y="51"/>
                  </a:cubicBezTo>
                  <a:cubicBezTo>
                    <a:pt x="260" y="51"/>
                    <a:pt x="260" y="51"/>
                    <a:pt x="260" y="51"/>
                  </a:cubicBezTo>
                  <a:cubicBezTo>
                    <a:pt x="260" y="52"/>
                    <a:pt x="261" y="52"/>
                    <a:pt x="261" y="52"/>
                  </a:cubicBezTo>
                  <a:cubicBezTo>
                    <a:pt x="262" y="53"/>
                    <a:pt x="262" y="53"/>
                    <a:pt x="263" y="54"/>
                  </a:cubicBezTo>
                  <a:cubicBezTo>
                    <a:pt x="263" y="54"/>
                    <a:pt x="263" y="54"/>
                    <a:pt x="264" y="54"/>
                  </a:cubicBezTo>
                  <a:cubicBezTo>
                    <a:pt x="264" y="55"/>
                    <a:pt x="264" y="55"/>
                    <a:pt x="265" y="56"/>
                  </a:cubicBezTo>
                  <a:cubicBezTo>
                    <a:pt x="265" y="56"/>
                    <a:pt x="265" y="56"/>
                    <a:pt x="265" y="56"/>
                  </a:cubicBezTo>
                  <a:cubicBezTo>
                    <a:pt x="266" y="56"/>
                    <a:pt x="266" y="56"/>
                    <a:pt x="266" y="57"/>
                  </a:cubicBezTo>
                  <a:cubicBezTo>
                    <a:pt x="266" y="57"/>
                    <a:pt x="267" y="57"/>
                    <a:pt x="267" y="57"/>
                  </a:cubicBezTo>
                  <a:cubicBezTo>
                    <a:pt x="267" y="57"/>
                    <a:pt x="267" y="57"/>
                    <a:pt x="267" y="57"/>
                  </a:cubicBezTo>
                  <a:cubicBezTo>
                    <a:pt x="268" y="57"/>
                    <a:pt x="268" y="58"/>
                    <a:pt x="269" y="58"/>
                  </a:cubicBezTo>
                  <a:cubicBezTo>
                    <a:pt x="269" y="58"/>
                    <a:pt x="269" y="58"/>
                    <a:pt x="269" y="58"/>
                  </a:cubicBezTo>
                  <a:cubicBezTo>
                    <a:pt x="269" y="59"/>
                    <a:pt x="270" y="59"/>
                    <a:pt x="270" y="59"/>
                  </a:cubicBezTo>
                  <a:cubicBezTo>
                    <a:pt x="270" y="59"/>
                    <a:pt x="271" y="59"/>
                    <a:pt x="271" y="59"/>
                  </a:cubicBezTo>
                  <a:cubicBezTo>
                    <a:pt x="271" y="60"/>
                    <a:pt x="272" y="60"/>
                    <a:pt x="273" y="60"/>
                  </a:cubicBezTo>
                  <a:cubicBezTo>
                    <a:pt x="273" y="60"/>
                    <a:pt x="273" y="61"/>
                    <a:pt x="273" y="61"/>
                  </a:cubicBezTo>
                  <a:cubicBezTo>
                    <a:pt x="274" y="61"/>
                    <a:pt x="274" y="61"/>
                    <a:pt x="275" y="62"/>
                  </a:cubicBezTo>
                  <a:cubicBezTo>
                    <a:pt x="275" y="62"/>
                    <a:pt x="275" y="62"/>
                    <a:pt x="276" y="62"/>
                  </a:cubicBezTo>
                  <a:cubicBezTo>
                    <a:pt x="276" y="62"/>
                    <a:pt x="276" y="62"/>
                    <a:pt x="276" y="62"/>
                  </a:cubicBezTo>
                  <a:cubicBezTo>
                    <a:pt x="276" y="62"/>
                    <a:pt x="276" y="63"/>
                    <a:pt x="276" y="63"/>
                  </a:cubicBezTo>
                  <a:cubicBezTo>
                    <a:pt x="277" y="63"/>
                    <a:pt x="277" y="63"/>
                    <a:pt x="278" y="63"/>
                  </a:cubicBezTo>
                  <a:cubicBezTo>
                    <a:pt x="278" y="63"/>
                    <a:pt x="278" y="63"/>
                    <a:pt x="278" y="64"/>
                  </a:cubicBezTo>
                  <a:cubicBezTo>
                    <a:pt x="278" y="64"/>
                    <a:pt x="278" y="64"/>
                    <a:pt x="279" y="64"/>
                  </a:cubicBezTo>
                  <a:cubicBezTo>
                    <a:pt x="279" y="64"/>
                    <a:pt x="279" y="64"/>
                    <a:pt x="279" y="64"/>
                  </a:cubicBezTo>
                  <a:cubicBezTo>
                    <a:pt x="279" y="64"/>
                    <a:pt x="279" y="64"/>
                    <a:pt x="280" y="64"/>
                  </a:cubicBezTo>
                  <a:cubicBezTo>
                    <a:pt x="282" y="66"/>
                    <a:pt x="284" y="68"/>
                    <a:pt x="286" y="70"/>
                  </a:cubicBezTo>
                  <a:cubicBezTo>
                    <a:pt x="286" y="71"/>
                    <a:pt x="286" y="71"/>
                    <a:pt x="286" y="71"/>
                  </a:cubicBezTo>
                  <a:cubicBezTo>
                    <a:pt x="287" y="72"/>
                    <a:pt x="287" y="72"/>
                    <a:pt x="287" y="72"/>
                  </a:cubicBezTo>
                  <a:cubicBezTo>
                    <a:pt x="287" y="72"/>
                    <a:pt x="287" y="73"/>
                    <a:pt x="287" y="73"/>
                  </a:cubicBezTo>
                  <a:cubicBezTo>
                    <a:pt x="288" y="73"/>
                    <a:pt x="288" y="73"/>
                    <a:pt x="288" y="73"/>
                  </a:cubicBezTo>
                  <a:cubicBezTo>
                    <a:pt x="288" y="74"/>
                    <a:pt x="288" y="74"/>
                    <a:pt x="288" y="74"/>
                  </a:cubicBezTo>
                  <a:cubicBezTo>
                    <a:pt x="289" y="74"/>
                    <a:pt x="289" y="74"/>
                    <a:pt x="289" y="75"/>
                  </a:cubicBezTo>
                  <a:cubicBezTo>
                    <a:pt x="289" y="75"/>
                    <a:pt x="289" y="75"/>
                    <a:pt x="290" y="76"/>
                  </a:cubicBezTo>
                  <a:cubicBezTo>
                    <a:pt x="290" y="76"/>
                    <a:pt x="290" y="76"/>
                    <a:pt x="290" y="76"/>
                  </a:cubicBezTo>
                  <a:cubicBezTo>
                    <a:pt x="290" y="76"/>
                    <a:pt x="290" y="76"/>
                    <a:pt x="290" y="76"/>
                  </a:cubicBezTo>
                  <a:cubicBezTo>
                    <a:pt x="290" y="76"/>
                    <a:pt x="290" y="76"/>
                    <a:pt x="291" y="77"/>
                  </a:cubicBezTo>
                  <a:cubicBezTo>
                    <a:pt x="291" y="77"/>
                    <a:pt x="291" y="77"/>
                    <a:pt x="291" y="77"/>
                  </a:cubicBezTo>
                  <a:cubicBezTo>
                    <a:pt x="291" y="77"/>
                    <a:pt x="291" y="78"/>
                    <a:pt x="291" y="78"/>
                  </a:cubicBezTo>
                  <a:cubicBezTo>
                    <a:pt x="291" y="78"/>
                    <a:pt x="291" y="78"/>
                    <a:pt x="291" y="78"/>
                  </a:cubicBezTo>
                  <a:cubicBezTo>
                    <a:pt x="292" y="78"/>
                    <a:pt x="292" y="79"/>
                    <a:pt x="292" y="79"/>
                  </a:cubicBezTo>
                  <a:cubicBezTo>
                    <a:pt x="292" y="79"/>
                    <a:pt x="292" y="79"/>
                    <a:pt x="292" y="79"/>
                  </a:cubicBezTo>
                  <a:cubicBezTo>
                    <a:pt x="292" y="79"/>
                    <a:pt x="292" y="79"/>
                    <a:pt x="292" y="79"/>
                  </a:cubicBezTo>
                  <a:cubicBezTo>
                    <a:pt x="292" y="80"/>
                    <a:pt x="292" y="80"/>
                    <a:pt x="292" y="80"/>
                  </a:cubicBezTo>
                  <a:cubicBezTo>
                    <a:pt x="293" y="80"/>
                    <a:pt x="293" y="80"/>
                    <a:pt x="293" y="80"/>
                  </a:cubicBezTo>
                  <a:cubicBezTo>
                    <a:pt x="293" y="81"/>
                    <a:pt x="293" y="81"/>
                    <a:pt x="293" y="82"/>
                  </a:cubicBezTo>
                  <a:cubicBezTo>
                    <a:pt x="294" y="82"/>
                    <a:pt x="294" y="82"/>
                    <a:pt x="294" y="82"/>
                  </a:cubicBezTo>
                  <a:cubicBezTo>
                    <a:pt x="294" y="83"/>
                    <a:pt x="294" y="83"/>
                    <a:pt x="294" y="84"/>
                  </a:cubicBezTo>
                  <a:cubicBezTo>
                    <a:pt x="295" y="84"/>
                    <a:pt x="295" y="84"/>
                    <a:pt x="295" y="84"/>
                  </a:cubicBezTo>
                  <a:cubicBezTo>
                    <a:pt x="295" y="84"/>
                    <a:pt x="295" y="84"/>
                    <a:pt x="295" y="85"/>
                  </a:cubicBezTo>
                  <a:cubicBezTo>
                    <a:pt x="295" y="85"/>
                    <a:pt x="295" y="85"/>
                    <a:pt x="295" y="85"/>
                  </a:cubicBezTo>
                  <a:cubicBezTo>
                    <a:pt x="295" y="85"/>
                    <a:pt x="295" y="85"/>
                    <a:pt x="295" y="85"/>
                  </a:cubicBezTo>
                  <a:cubicBezTo>
                    <a:pt x="296" y="85"/>
                    <a:pt x="296" y="85"/>
                    <a:pt x="296" y="85"/>
                  </a:cubicBezTo>
                  <a:cubicBezTo>
                    <a:pt x="296" y="86"/>
                    <a:pt x="296" y="86"/>
                    <a:pt x="296" y="86"/>
                  </a:cubicBezTo>
                  <a:cubicBezTo>
                    <a:pt x="296" y="87"/>
                    <a:pt x="297" y="87"/>
                    <a:pt x="297" y="87"/>
                  </a:cubicBezTo>
                  <a:cubicBezTo>
                    <a:pt x="297" y="87"/>
                    <a:pt x="297" y="88"/>
                    <a:pt x="297" y="88"/>
                  </a:cubicBezTo>
                  <a:cubicBezTo>
                    <a:pt x="297" y="88"/>
                    <a:pt x="297" y="88"/>
                    <a:pt x="298" y="88"/>
                  </a:cubicBezTo>
                  <a:cubicBezTo>
                    <a:pt x="298" y="89"/>
                    <a:pt x="298" y="89"/>
                    <a:pt x="298" y="89"/>
                  </a:cubicBezTo>
                  <a:cubicBezTo>
                    <a:pt x="298" y="89"/>
                    <a:pt x="298" y="89"/>
                    <a:pt x="299" y="90"/>
                  </a:cubicBezTo>
                  <a:cubicBezTo>
                    <a:pt x="299" y="90"/>
                    <a:pt x="299" y="90"/>
                    <a:pt x="299" y="90"/>
                  </a:cubicBezTo>
                  <a:cubicBezTo>
                    <a:pt x="299" y="90"/>
                    <a:pt x="299" y="90"/>
                    <a:pt x="299" y="91"/>
                  </a:cubicBezTo>
                  <a:cubicBezTo>
                    <a:pt x="299" y="91"/>
                    <a:pt x="299" y="91"/>
                    <a:pt x="299" y="91"/>
                  </a:cubicBezTo>
                  <a:cubicBezTo>
                    <a:pt x="300" y="92"/>
                    <a:pt x="300" y="92"/>
                    <a:pt x="300" y="92"/>
                  </a:cubicBezTo>
                  <a:cubicBezTo>
                    <a:pt x="300" y="92"/>
                    <a:pt x="300" y="92"/>
                    <a:pt x="300" y="93"/>
                  </a:cubicBezTo>
                  <a:cubicBezTo>
                    <a:pt x="301" y="93"/>
                    <a:pt x="301" y="93"/>
                    <a:pt x="301" y="93"/>
                  </a:cubicBezTo>
                  <a:cubicBezTo>
                    <a:pt x="301" y="94"/>
                    <a:pt x="301" y="94"/>
                    <a:pt x="301" y="94"/>
                  </a:cubicBezTo>
                  <a:cubicBezTo>
                    <a:pt x="302" y="95"/>
                    <a:pt x="303" y="95"/>
                    <a:pt x="303" y="96"/>
                  </a:cubicBezTo>
                  <a:cubicBezTo>
                    <a:pt x="303" y="96"/>
                    <a:pt x="303" y="96"/>
                    <a:pt x="304" y="97"/>
                  </a:cubicBezTo>
                  <a:cubicBezTo>
                    <a:pt x="304" y="97"/>
                    <a:pt x="304" y="97"/>
                    <a:pt x="304" y="97"/>
                  </a:cubicBezTo>
                  <a:cubicBezTo>
                    <a:pt x="304" y="98"/>
                    <a:pt x="304" y="98"/>
                    <a:pt x="305" y="99"/>
                  </a:cubicBezTo>
                  <a:cubicBezTo>
                    <a:pt x="305" y="99"/>
                    <a:pt x="305" y="99"/>
                    <a:pt x="305" y="99"/>
                  </a:cubicBezTo>
                  <a:cubicBezTo>
                    <a:pt x="305" y="99"/>
                    <a:pt x="305" y="99"/>
                    <a:pt x="305" y="100"/>
                  </a:cubicBezTo>
                  <a:cubicBezTo>
                    <a:pt x="305" y="100"/>
                    <a:pt x="306" y="100"/>
                    <a:pt x="306" y="100"/>
                  </a:cubicBezTo>
                  <a:cubicBezTo>
                    <a:pt x="306" y="100"/>
                    <a:pt x="306" y="100"/>
                    <a:pt x="307" y="101"/>
                  </a:cubicBezTo>
                  <a:cubicBezTo>
                    <a:pt x="307" y="101"/>
                    <a:pt x="307" y="101"/>
                    <a:pt x="307" y="101"/>
                  </a:cubicBezTo>
                  <a:cubicBezTo>
                    <a:pt x="307" y="101"/>
                    <a:pt x="307" y="101"/>
                    <a:pt x="307" y="101"/>
                  </a:cubicBezTo>
                  <a:cubicBezTo>
                    <a:pt x="308" y="101"/>
                    <a:pt x="308" y="101"/>
                    <a:pt x="308" y="101"/>
                  </a:cubicBezTo>
                  <a:cubicBezTo>
                    <a:pt x="308" y="101"/>
                    <a:pt x="308" y="102"/>
                    <a:pt x="308" y="102"/>
                  </a:cubicBezTo>
                  <a:cubicBezTo>
                    <a:pt x="309" y="102"/>
                    <a:pt x="309" y="102"/>
                    <a:pt x="309" y="102"/>
                  </a:cubicBezTo>
                  <a:cubicBezTo>
                    <a:pt x="309" y="102"/>
                    <a:pt x="309" y="102"/>
                    <a:pt x="309" y="102"/>
                  </a:cubicBezTo>
                  <a:cubicBezTo>
                    <a:pt x="309" y="102"/>
                    <a:pt x="310" y="102"/>
                    <a:pt x="310" y="102"/>
                  </a:cubicBezTo>
                  <a:cubicBezTo>
                    <a:pt x="310" y="102"/>
                    <a:pt x="310" y="102"/>
                    <a:pt x="310" y="102"/>
                  </a:cubicBezTo>
                  <a:cubicBezTo>
                    <a:pt x="310" y="102"/>
                    <a:pt x="310" y="102"/>
                    <a:pt x="311" y="102"/>
                  </a:cubicBezTo>
                  <a:cubicBezTo>
                    <a:pt x="311" y="103"/>
                    <a:pt x="311" y="103"/>
                    <a:pt x="311" y="103"/>
                  </a:cubicBezTo>
                  <a:cubicBezTo>
                    <a:pt x="311" y="103"/>
                    <a:pt x="311" y="103"/>
                    <a:pt x="311" y="103"/>
                  </a:cubicBezTo>
                  <a:cubicBezTo>
                    <a:pt x="311" y="103"/>
                    <a:pt x="311" y="103"/>
                    <a:pt x="311" y="103"/>
                  </a:cubicBezTo>
                  <a:cubicBezTo>
                    <a:pt x="311" y="103"/>
                    <a:pt x="312" y="103"/>
                    <a:pt x="312" y="103"/>
                  </a:cubicBezTo>
                  <a:cubicBezTo>
                    <a:pt x="312" y="103"/>
                    <a:pt x="312" y="104"/>
                    <a:pt x="312" y="104"/>
                  </a:cubicBezTo>
                  <a:cubicBezTo>
                    <a:pt x="312" y="104"/>
                    <a:pt x="313" y="104"/>
                    <a:pt x="313" y="104"/>
                  </a:cubicBezTo>
                  <a:cubicBezTo>
                    <a:pt x="313" y="104"/>
                    <a:pt x="313" y="104"/>
                    <a:pt x="313" y="104"/>
                  </a:cubicBezTo>
                  <a:cubicBezTo>
                    <a:pt x="313" y="104"/>
                    <a:pt x="313" y="104"/>
                    <a:pt x="314" y="104"/>
                  </a:cubicBezTo>
                  <a:cubicBezTo>
                    <a:pt x="314" y="104"/>
                    <a:pt x="314" y="104"/>
                    <a:pt x="314" y="105"/>
                  </a:cubicBezTo>
                  <a:cubicBezTo>
                    <a:pt x="314" y="105"/>
                    <a:pt x="314" y="105"/>
                    <a:pt x="314" y="105"/>
                  </a:cubicBezTo>
                  <a:cubicBezTo>
                    <a:pt x="314" y="105"/>
                    <a:pt x="314" y="105"/>
                    <a:pt x="314" y="105"/>
                  </a:cubicBezTo>
                  <a:cubicBezTo>
                    <a:pt x="315" y="105"/>
                    <a:pt x="315" y="105"/>
                    <a:pt x="315" y="105"/>
                  </a:cubicBezTo>
                  <a:cubicBezTo>
                    <a:pt x="315" y="105"/>
                    <a:pt x="315" y="105"/>
                    <a:pt x="315" y="106"/>
                  </a:cubicBezTo>
                  <a:cubicBezTo>
                    <a:pt x="316" y="106"/>
                    <a:pt x="316" y="106"/>
                    <a:pt x="316" y="106"/>
                  </a:cubicBezTo>
                  <a:cubicBezTo>
                    <a:pt x="316" y="106"/>
                    <a:pt x="316" y="106"/>
                    <a:pt x="316" y="106"/>
                  </a:cubicBezTo>
                  <a:cubicBezTo>
                    <a:pt x="317" y="106"/>
                    <a:pt x="317" y="106"/>
                    <a:pt x="317" y="106"/>
                  </a:cubicBezTo>
                  <a:cubicBezTo>
                    <a:pt x="318" y="108"/>
                    <a:pt x="319" y="109"/>
                    <a:pt x="320" y="110"/>
                  </a:cubicBezTo>
                  <a:cubicBezTo>
                    <a:pt x="320" y="110"/>
                    <a:pt x="320" y="111"/>
                    <a:pt x="320" y="111"/>
                  </a:cubicBezTo>
                  <a:cubicBezTo>
                    <a:pt x="320" y="111"/>
                    <a:pt x="321" y="111"/>
                    <a:pt x="321" y="111"/>
                  </a:cubicBezTo>
                  <a:cubicBezTo>
                    <a:pt x="321" y="113"/>
                    <a:pt x="320" y="117"/>
                    <a:pt x="320" y="118"/>
                  </a:cubicBezTo>
                  <a:cubicBezTo>
                    <a:pt x="319" y="118"/>
                    <a:pt x="319" y="118"/>
                    <a:pt x="319" y="118"/>
                  </a:cubicBezTo>
                  <a:cubicBezTo>
                    <a:pt x="319" y="118"/>
                    <a:pt x="319" y="118"/>
                    <a:pt x="319" y="118"/>
                  </a:cubicBezTo>
                  <a:cubicBezTo>
                    <a:pt x="319" y="118"/>
                    <a:pt x="319" y="118"/>
                    <a:pt x="319" y="118"/>
                  </a:cubicBezTo>
                  <a:cubicBezTo>
                    <a:pt x="319" y="118"/>
                    <a:pt x="319" y="119"/>
                    <a:pt x="319" y="119"/>
                  </a:cubicBezTo>
                  <a:cubicBezTo>
                    <a:pt x="319" y="119"/>
                    <a:pt x="319" y="119"/>
                    <a:pt x="319" y="119"/>
                  </a:cubicBezTo>
                  <a:cubicBezTo>
                    <a:pt x="319" y="119"/>
                    <a:pt x="319" y="119"/>
                    <a:pt x="319" y="120"/>
                  </a:cubicBezTo>
                  <a:cubicBezTo>
                    <a:pt x="318" y="120"/>
                    <a:pt x="318" y="120"/>
                    <a:pt x="318" y="120"/>
                  </a:cubicBezTo>
                  <a:cubicBezTo>
                    <a:pt x="318" y="120"/>
                    <a:pt x="318" y="120"/>
                    <a:pt x="318" y="120"/>
                  </a:cubicBezTo>
                  <a:cubicBezTo>
                    <a:pt x="318" y="120"/>
                    <a:pt x="318" y="121"/>
                    <a:pt x="318" y="121"/>
                  </a:cubicBezTo>
                  <a:cubicBezTo>
                    <a:pt x="318" y="121"/>
                    <a:pt x="318" y="121"/>
                    <a:pt x="318" y="121"/>
                  </a:cubicBezTo>
                  <a:cubicBezTo>
                    <a:pt x="317" y="121"/>
                    <a:pt x="317" y="122"/>
                    <a:pt x="317" y="122"/>
                  </a:cubicBezTo>
                  <a:cubicBezTo>
                    <a:pt x="317" y="122"/>
                    <a:pt x="317" y="122"/>
                    <a:pt x="317" y="122"/>
                  </a:cubicBezTo>
                  <a:cubicBezTo>
                    <a:pt x="316" y="123"/>
                    <a:pt x="316" y="123"/>
                    <a:pt x="316" y="123"/>
                  </a:cubicBezTo>
                  <a:cubicBezTo>
                    <a:pt x="316" y="123"/>
                    <a:pt x="316" y="124"/>
                    <a:pt x="316" y="124"/>
                  </a:cubicBezTo>
                  <a:cubicBezTo>
                    <a:pt x="315" y="124"/>
                    <a:pt x="315" y="124"/>
                    <a:pt x="315" y="125"/>
                  </a:cubicBezTo>
                  <a:cubicBezTo>
                    <a:pt x="315" y="125"/>
                    <a:pt x="315" y="125"/>
                    <a:pt x="315" y="125"/>
                  </a:cubicBezTo>
                  <a:cubicBezTo>
                    <a:pt x="314" y="125"/>
                    <a:pt x="314" y="126"/>
                    <a:pt x="314" y="126"/>
                  </a:cubicBezTo>
                  <a:cubicBezTo>
                    <a:pt x="314" y="126"/>
                    <a:pt x="314" y="126"/>
                    <a:pt x="314" y="127"/>
                  </a:cubicBezTo>
                  <a:cubicBezTo>
                    <a:pt x="313" y="127"/>
                    <a:pt x="313" y="127"/>
                    <a:pt x="313" y="127"/>
                  </a:cubicBezTo>
                  <a:cubicBezTo>
                    <a:pt x="313" y="128"/>
                    <a:pt x="313" y="128"/>
                    <a:pt x="313" y="128"/>
                  </a:cubicBezTo>
                  <a:cubicBezTo>
                    <a:pt x="312" y="128"/>
                    <a:pt x="312" y="128"/>
                    <a:pt x="312" y="128"/>
                  </a:cubicBezTo>
                  <a:cubicBezTo>
                    <a:pt x="312" y="129"/>
                    <a:pt x="312" y="129"/>
                    <a:pt x="312" y="129"/>
                  </a:cubicBezTo>
                  <a:cubicBezTo>
                    <a:pt x="312" y="129"/>
                    <a:pt x="311" y="129"/>
                    <a:pt x="311" y="129"/>
                  </a:cubicBezTo>
                  <a:cubicBezTo>
                    <a:pt x="311" y="130"/>
                    <a:pt x="311" y="130"/>
                    <a:pt x="311" y="130"/>
                  </a:cubicBezTo>
                  <a:cubicBezTo>
                    <a:pt x="311" y="130"/>
                    <a:pt x="311" y="130"/>
                    <a:pt x="311" y="130"/>
                  </a:cubicBezTo>
                  <a:cubicBezTo>
                    <a:pt x="311" y="130"/>
                    <a:pt x="311" y="131"/>
                    <a:pt x="311" y="131"/>
                  </a:cubicBezTo>
                  <a:cubicBezTo>
                    <a:pt x="311" y="131"/>
                    <a:pt x="310" y="131"/>
                    <a:pt x="310" y="132"/>
                  </a:cubicBezTo>
                  <a:cubicBezTo>
                    <a:pt x="310" y="132"/>
                    <a:pt x="310" y="132"/>
                    <a:pt x="310" y="133"/>
                  </a:cubicBezTo>
                  <a:cubicBezTo>
                    <a:pt x="309" y="133"/>
                    <a:pt x="309" y="133"/>
                    <a:pt x="309" y="134"/>
                  </a:cubicBezTo>
                  <a:cubicBezTo>
                    <a:pt x="309" y="134"/>
                    <a:pt x="309" y="134"/>
                    <a:pt x="309" y="134"/>
                  </a:cubicBezTo>
                  <a:cubicBezTo>
                    <a:pt x="308" y="135"/>
                    <a:pt x="308" y="135"/>
                    <a:pt x="307" y="135"/>
                  </a:cubicBezTo>
                  <a:cubicBezTo>
                    <a:pt x="307" y="136"/>
                    <a:pt x="306" y="137"/>
                    <a:pt x="305" y="138"/>
                  </a:cubicBezTo>
                  <a:cubicBezTo>
                    <a:pt x="305" y="138"/>
                    <a:pt x="305" y="138"/>
                    <a:pt x="305" y="138"/>
                  </a:cubicBezTo>
                  <a:cubicBezTo>
                    <a:pt x="304" y="138"/>
                    <a:pt x="304" y="139"/>
                    <a:pt x="304" y="139"/>
                  </a:cubicBezTo>
                  <a:cubicBezTo>
                    <a:pt x="304" y="139"/>
                    <a:pt x="303" y="139"/>
                    <a:pt x="303" y="139"/>
                  </a:cubicBezTo>
                  <a:cubicBezTo>
                    <a:pt x="303" y="139"/>
                    <a:pt x="303" y="140"/>
                    <a:pt x="302" y="140"/>
                  </a:cubicBezTo>
                  <a:cubicBezTo>
                    <a:pt x="302" y="140"/>
                    <a:pt x="302" y="140"/>
                    <a:pt x="302" y="140"/>
                  </a:cubicBezTo>
                  <a:cubicBezTo>
                    <a:pt x="302" y="140"/>
                    <a:pt x="302" y="140"/>
                    <a:pt x="301" y="141"/>
                  </a:cubicBezTo>
                  <a:cubicBezTo>
                    <a:pt x="301" y="141"/>
                    <a:pt x="301" y="141"/>
                    <a:pt x="300" y="141"/>
                  </a:cubicBezTo>
                  <a:cubicBezTo>
                    <a:pt x="300" y="141"/>
                    <a:pt x="300" y="141"/>
                    <a:pt x="300" y="141"/>
                  </a:cubicBezTo>
                  <a:cubicBezTo>
                    <a:pt x="300" y="141"/>
                    <a:pt x="300" y="141"/>
                    <a:pt x="300" y="141"/>
                  </a:cubicBezTo>
                  <a:cubicBezTo>
                    <a:pt x="300" y="142"/>
                    <a:pt x="299" y="142"/>
                    <a:pt x="299" y="142"/>
                  </a:cubicBezTo>
                  <a:cubicBezTo>
                    <a:pt x="299" y="142"/>
                    <a:pt x="299" y="142"/>
                    <a:pt x="299" y="142"/>
                  </a:cubicBezTo>
                  <a:cubicBezTo>
                    <a:pt x="299" y="142"/>
                    <a:pt x="299" y="142"/>
                    <a:pt x="299" y="142"/>
                  </a:cubicBezTo>
                  <a:cubicBezTo>
                    <a:pt x="298" y="142"/>
                    <a:pt x="298" y="142"/>
                    <a:pt x="298" y="142"/>
                  </a:cubicBezTo>
                  <a:cubicBezTo>
                    <a:pt x="298" y="143"/>
                    <a:pt x="298" y="143"/>
                    <a:pt x="298" y="143"/>
                  </a:cubicBezTo>
                  <a:cubicBezTo>
                    <a:pt x="297" y="143"/>
                    <a:pt x="297" y="143"/>
                    <a:pt x="296" y="143"/>
                  </a:cubicBezTo>
                  <a:cubicBezTo>
                    <a:pt x="296" y="144"/>
                    <a:pt x="296" y="144"/>
                    <a:pt x="296" y="144"/>
                  </a:cubicBezTo>
                  <a:cubicBezTo>
                    <a:pt x="295" y="144"/>
                    <a:pt x="294" y="145"/>
                    <a:pt x="294" y="145"/>
                  </a:cubicBezTo>
                  <a:cubicBezTo>
                    <a:pt x="294" y="145"/>
                    <a:pt x="293" y="145"/>
                    <a:pt x="293" y="146"/>
                  </a:cubicBezTo>
                  <a:cubicBezTo>
                    <a:pt x="293" y="146"/>
                    <a:pt x="292" y="146"/>
                    <a:pt x="291" y="146"/>
                  </a:cubicBezTo>
                  <a:cubicBezTo>
                    <a:pt x="291" y="146"/>
                    <a:pt x="291" y="147"/>
                    <a:pt x="291" y="147"/>
                  </a:cubicBezTo>
                  <a:cubicBezTo>
                    <a:pt x="291" y="147"/>
                    <a:pt x="290" y="147"/>
                    <a:pt x="290" y="147"/>
                  </a:cubicBezTo>
                  <a:cubicBezTo>
                    <a:pt x="290" y="147"/>
                    <a:pt x="290" y="147"/>
                    <a:pt x="290" y="147"/>
                  </a:cubicBezTo>
                  <a:cubicBezTo>
                    <a:pt x="290" y="147"/>
                    <a:pt x="290" y="147"/>
                    <a:pt x="290" y="147"/>
                  </a:cubicBezTo>
                  <a:cubicBezTo>
                    <a:pt x="289" y="147"/>
                    <a:pt x="289" y="148"/>
                    <a:pt x="289" y="148"/>
                  </a:cubicBezTo>
                  <a:cubicBezTo>
                    <a:pt x="289" y="148"/>
                    <a:pt x="289" y="148"/>
                    <a:pt x="288" y="148"/>
                  </a:cubicBezTo>
                  <a:cubicBezTo>
                    <a:pt x="288" y="148"/>
                    <a:pt x="288" y="148"/>
                    <a:pt x="288" y="149"/>
                  </a:cubicBezTo>
                  <a:cubicBezTo>
                    <a:pt x="288" y="149"/>
                    <a:pt x="288" y="149"/>
                    <a:pt x="287" y="149"/>
                  </a:cubicBezTo>
                  <a:cubicBezTo>
                    <a:pt x="287" y="149"/>
                    <a:pt x="287" y="149"/>
                    <a:pt x="287" y="149"/>
                  </a:cubicBezTo>
                  <a:cubicBezTo>
                    <a:pt x="287" y="149"/>
                    <a:pt x="287" y="149"/>
                    <a:pt x="286" y="149"/>
                  </a:cubicBezTo>
                  <a:cubicBezTo>
                    <a:pt x="286" y="150"/>
                    <a:pt x="286" y="150"/>
                    <a:pt x="286" y="150"/>
                  </a:cubicBezTo>
                  <a:cubicBezTo>
                    <a:pt x="286" y="150"/>
                    <a:pt x="286" y="150"/>
                    <a:pt x="285" y="150"/>
                  </a:cubicBezTo>
                  <a:cubicBezTo>
                    <a:pt x="285" y="150"/>
                    <a:pt x="285" y="151"/>
                    <a:pt x="285" y="151"/>
                  </a:cubicBezTo>
                  <a:cubicBezTo>
                    <a:pt x="285" y="151"/>
                    <a:pt x="285" y="151"/>
                    <a:pt x="284" y="151"/>
                  </a:cubicBezTo>
                  <a:cubicBezTo>
                    <a:pt x="284" y="151"/>
                    <a:pt x="284" y="152"/>
                    <a:pt x="283" y="152"/>
                  </a:cubicBezTo>
                  <a:cubicBezTo>
                    <a:pt x="283" y="152"/>
                    <a:pt x="283" y="152"/>
                    <a:pt x="283" y="152"/>
                  </a:cubicBezTo>
                  <a:cubicBezTo>
                    <a:pt x="282" y="153"/>
                    <a:pt x="281" y="154"/>
                    <a:pt x="280" y="155"/>
                  </a:cubicBezTo>
                  <a:cubicBezTo>
                    <a:pt x="280" y="155"/>
                    <a:pt x="280" y="155"/>
                    <a:pt x="279" y="155"/>
                  </a:cubicBezTo>
                  <a:cubicBezTo>
                    <a:pt x="279" y="156"/>
                    <a:pt x="279" y="156"/>
                    <a:pt x="279" y="156"/>
                  </a:cubicBezTo>
                  <a:cubicBezTo>
                    <a:pt x="279" y="156"/>
                    <a:pt x="279" y="156"/>
                    <a:pt x="278" y="157"/>
                  </a:cubicBezTo>
                  <a:cubicBezTo>
                    <a:pt x="278" y="157"/>
                    <a:pt x="278" y="157"/>
                    <a:pt x="278" y="157"/>
                  </a:cubicBezTo>
                  <a:cubicBezTo>
                    <a:pt x="278" y="157"/>
                    <a:pt x="278" y="157"/>
                    <a:pt x="278" y="157"/>
                  </a:cubicBezTo>
                  <a:cubicBezTo>
                    <a:pt x="278" y="158"/>
                    <a:pt x="278" y="158"/>
                    <a:pt x="278" y="158"/>
                  </a:cubicBezTo>
                  <a:cubicBezTo>
                    <a:pt x="278" y="158"/>
                    <a:pt x="278" y="158"/>
                    <a:pt x="278" y="158"/>
                  </a:cubicBezTo>
                  <a:cubicBezTo>
                    <a:pt x="278" y="158"/>
                    <a:pt x="278" y="159"/>
                    <a:pt x="278" y="159"/>
                  </a:cubicBezTo>
                  <a:cubicBezTo>
                    <a:pt x="278" y="159"/>
                    <a:pt x="277" y="159"/>
                    <a:pt x="277" y="159"/>
                  </a:cubicBezTo>
                  <a:cubicBezTo>
                    <a:pt x="277" y="159"/>
                    <a:pt x="277" y="159"/>
                    <a:pt x="277" y="160"/>
                  </a:cubicBezTo>
                  <a:cubicBezTo>
                    <a:pt x="277" y="160"/>
                    <a:pt x="277" y="160"/>
                    <a:pt x="277" y="160"/>
                  </a:cubicBezTo>
                  <a:cubicBezTo>
                    <a:pt x="277" y="160"/>
                    <a:pt x="277" y="160"/>
                    <a:pt x="277" y="160"/>
                  </a:cubicBezTo>
                  <a:cubicBezTo>
                    <a:pt x="276" y="160"/>
                    <a:pt x="276" y="160"/>
                    <a:pt x="276" y="160"/>
                  </a:cubicBezTo>
                  <a:cubicBezTo>
                    <a:pt x="276" y="161"/>
                    <a:pt x="275" y="161"/>
                    <a:pt x="275" y="162"/>
                  </a:cubicBezTo>
                  <a:cubicBezTo>
                    <a:pt x="272" y="163"/>
                    <a:pt x="269" y="165"/>
                    <a:pt x="266" y="166"/>
                  </a:cubicBezTo>
                  <a:cubicBezTo>
                    <a:pt x="266" y="166"/>
                    <a:pt x="266" y="166"/>
                    <a:pt x="265" y="166"/>
                  </a:cubicBezTo>
                  <a:cubicBezTo>
                    <a:pt x="265" y="167"/>
                    <a:pt x="265" y="167"/>
                    <a:pt x="265" y="167"/>
                  </a:cubicBezTo>
                  <a:cubicBezTo>
                    <a:pt x="265" y="167"/>
                    <a:pt x="265" y="167"/>
                    <a:pt x="265" y="167"/>
                  </a:cubicBezTo>
                  <a:cubicBezTo>
                    <a:pt x="265" y="167"/>
                    <a:pt x="265" y="167"/>
                    <a:pt x="265" y="167"/>
                  </a:cubicBezTo>
                  <a:cubicBezTo>
                    <a:pt x="264" y="167"/>
                    <a:pt x="264" y="167"/>
                    <a:pt x="264" y="167"/>
                  </a:cubicBezTo>
                  <a:cubicBezTo>
                    <a:pt x="264" y="167"/>
                    <a:pt x="264" y="167"/>
                    <a:pt x="264" y="168"/>
                  </a:cubicBezTo>
                  <a:cubicBezTo>
                    <a:pt x="264" y="168"/>
                    <a:pt x="264" y="168"/>
                    <a:pt x="263" y="168"/>
                  </a:cubicBezTo>
                  <a:cubicBezTo>
                    <a:pt x="263" y="168"/>
                    <a:pt x="263" y="168"/>
                    <a:pt x="263" y="168"/>
                  </a:cubicBezTo>
                  <a:cubicBezTo>
                    <a:pt x="262" y="168"/>
                    <a:pt x="262" y="168"/>
                    <a:pt x="262" y="169"/>
                  </a:cubicBezTo>
                  <a:cubicBezTo>
                    <a:pt x="261" y="169"/>
                    <a:pt x="261" y="169"/>
                    <a:pt x="261" y="169"/>
                  </a:cubicBezTo>
                  <a:cubicBezTo>
                    <a:pt x="261" y="169"/>
                    <a:pt x="261" y="169"/>
                    <a:pt x="260" y="169"/>
                  </a:cubicBezTo>
                  <a:cubicBezTo>
                    <a:pt x="260" y="170"/>
                    <a:pt x="260" y="170"/>
                    <a:pt x="259" y="171"/>
                  </a:cubicBezTo>
                  <a:cubicBezTo>
                    <a:pt x="259" y="171"/>
                    <a:pt x="259" y="171"/>
                    <a:pt x="258" y="171"/>
                  </a:cubicBezTo>
                  <a:cubicBezTo>
                    <a:pt x="258" y="171"/>
                    <a:pt x="258" y="172"/>
                    <a:pt x="258" y="172"/>
                  </a:cubicBezTo>
                  <a:cubicBezTo>
                    <a:pt x="258" y="172"/>
                    <a:pt x="258" y="172"/>
                    <a:pt x="257" y="172"/>
                  </a:cubicBezTo>
                  <a:cubicBezTo>
                    <a:pt x="257" y="173"/>
                    <a:pt x="257" y="173"/>
                    <a:pt x="257" y="173"/>
                  </a:cubicBezTo>
                  <a:cubicBezTo>
                    <a:pt x="257" y="173"/>
                    <a:pt x="257" y="173"/>
                    <a:pt x="257" y="173"/>
                  </a:cubicBezTo>
                  <a:cubicBezTo>
                    <a:pt x="256" y="175"/>
                    <a:pt x="255" y="177"/>
                    <a:pt x="255" y="179"/>
                  </a:cubicBezTo>
                  <a:cubicBezTo>
                    <a:pt x="255" y="179"/>
                    <a:pt x="255" y="180"/>
                    <a:pt x="255" y="180"/>
                  </a:cubicBezTo>
                  <a:cubicBezTo>
                    <a:pt x="255" y="180"/>
                    <a:pt x="255" y="180"/>
                    <a:pt x="255" y="180"/>
                  </a:cubicBezTo>
                  <a:cubicBezTo>
                    <a:pt x="254" y="181"/>
                    <a:pt x="254" y="182"/>
                    <a:pt x="254" y="184"/>
                  </a:cubicBezTo>
                  <a:cubicBezTo>
                    <a:pt x="254" y="185"/>
                    <a:pt x="253" y="188"/>
                    <a:pt x="252" y="189"/>
                  </a:cubicBezTo>
                  <a:cubicBezTo>
                    <a:pt x="251" y="189"/>
                    <a:pt x="250" y="189"/>
                    <a:pt x="250" y="189"/>
                  </a:cubicBezTo>
                  <a:cubicBezTo>
                    <a:pt x="250" y="188"/>
                    <a:pt x="250" y="188"/>
                    <a:pt x="250" y="188"/>
                  </a:cubicBezTo>
                  <a:cubicBezTo>
                    <a:pt x="249" y="188"/>
                    <a:pt x="249" y="188"/>
                    <a:pt x="249" y="188"/>
                  </a:cubicBezTo>
                  <a:cubicBezTo>
                    <a:pt x="249" y="188"/>
                    <a:pt x="249" y="188"/>
                    <a:pt x="249" y="188"/>
                  </a:cubicBezTo>
                  <a:cubicBezTo>
                    <a:pt x="248" y="188"/>
                    <a:pt x="248" y="188"/>
                    <a:pt x="247" y="187"/>
                  </a:cubicBezTo>
                  <a:cubicBezTo>
                    <a:pt x="247" y="187"/>
                    <a:pt x="247" y="187"/>
                    <a:pt x="247" y="187"/>
                  </a:cubicBezTo>
                  <a:cubicBezTo>
                    <a:pt x="246" y="187"/>
                    <a:pt x="245" y="186"/>
                    <a:pt x="244" y="186"/>
                  </a:cubicBezTo>
                  <a:cubicBezTo>
                    <a:pt x="244" y="186"/>
                    <a:pt x="244" y="186"/>
                    <a:pt x="244" y="186"/>
                  </a:cubicBezTo>
                  <a:cubicBezTo>
                    <a:pt x="243" y="186"/>
                    <a:pt x="243" y="186"/>
                    <a:pt x="243" y="186"/>
                  </a:cubicBezTo>
                  <a:cubicBezTo>
                    <a:pt x="243" y="186"/>
                    <a:pt x="243" y="185"/>
                    <a:pt x="243" y="185"/>
                  </a:cubicBezTo>
                  <a:cubicBezTo>
                    <a:pt x="243" y="185"/>
                    <a:pt x="242" y="185"/>
                    <a:pt x="242" y="185"/>
                  </a:cubicBezTo>
                  <a:cubicBezTo>
                    <a:pt x="242" y="185"/>
                    <a:pt x="242" y="185"/>
                    <a:pt x="242" y="185"/>
                  </a:cubicBezTo>
                  <a:cubicBezTo>
                    <a:pt x="242" y="185"/>
                    <a:pt x="241" y="185"/>
                    <a:pt x="241" y="185"/>
                  </a:cubicBezTo>
                  <a:cubicBezTo>
                    <a:pt x="241" y="185"/>
                    <a:pt x="241" y="185"/>
                    <a:pt x="241" y="185"/>
                  </a:cubicBezTo>
                  <a:cubicBezTo>
                    <a:pt x="241" y="185"/>
                    <a:pt x="241" y="185"/>
                    <a:pt x="240" y="185"/>
                  </a:cubicBezTo>
                  <a:cubicBezTo>
                    <a:pt x="240" y="185"/>
                    <a:pt x="240" y="184"/>
                    <a:pt x="240" y="184"/>
                  </a:cubicBezTo>
                  <a:cubicBezTo>
                    <a:pt x="240" y="184"/>
                    <a:pt x="239" y="184"/>
                    <a:pt x="239" y="184"/>
                  </a:cubicBezTo>
                  <a:cubicBezTo>
                    <a:pt x="239" y="184"/>
                    <a:pt x="239" y="184"/>
                    <a:pt x="239" y="184"/>
                  </a:cubicBezTo>
                  <a:cubicBezTo>
                    <a:pt x="238" y="184"/>
                    <a:pt x="238" y="184"/>
                    <a:pt x="238" y="184"/>
                  </a:cubicBezTo>
                  <a:cubicBezTo>
                    <a:pt x="238" y="184"/>
                    <a:pt x="238" y="183"/>
                    <a:pt x="238" y="183"/>
                  </a:cubicBezTo>
                  <a:cubicBezTo>
                    <a:pt x="237" y="183"/>
                    <a:pt x="237" y="183"/>
                    <a:pt x="236" y="183"/>
                  </a:cubicBezTo>
                  <a:cubicBezTo>
                    <a:pt x="236" y="183"/>
                    <a:pt x="236" y="183"/>
                    <a:pt x="236" y="183"/>
                  </a:cubicBezTo>
                  <a:cubicBezTo>
                    <a:pt x="236" y="183"/>
                    <a:pt x="236" y="183"/>
                    <a:pt x="235" y="183"/>
                  </a:cubicBezTo>
                  <a:cubicBezTo>
                    <a:pt x="235" y="182"/>
                    <a:pt x="235" y="182"/>
                    <a:pt x="235" y="182"/>
                  </a:cubicBezTo>
                  <a:cubicBezTo>
                    <a:pt x="235" y="182"/>
                    <a:pt x="235" y="182"/>
                    <a:pt x="235" y="182"/>
                  </a:cubicBezTo>
                  <a:cubicBezTo>
                    <a:pt x="235" y="182"/>
                    <a:pt x="235" y="182"/>
                    <a:pt x="235" y="182"/>
                  </a:cubicBezTo>
                  <a:cubicBezTo>
                    <a:pt x="234" y="182"/>
                    <a:pt x="234" y="182"/>
                    <a:pt x="234" y="182"/>
                  </a:cubicBezTo>
                  <a:cubicBezTo>
                    <a:pt x="234" y="182"/>
                    <a:pt x="234" y="182"/>
                    <a:pt x="234" y="182"/>
                  </a:cubicBezTo>
                  <a:cubicBezTo>
                    <a:pt x="233" y="182"/>
                    <a:pt x="233" y="182"/>
                    <a:pt x="233" y="182"/>
                  </a:cubicBezTo>
                  <a:cubicBezTo>
                    <a:pt x="233" y="181"/>
                    <a:pt x="233" y="181"/>
                    <a:pt x="233" y="181"/>
                  </a:cubicBezTo>
                  <a:cubicBezTo>
                    <a:pt x="232" y="181"/>
                    <a:pt x="232" y="181"/>
                    <a:pt x="231" y="181"/>
                  </a:cubicBezTo>
                  <a:cubicBezTo>
                    <a:pt x="231" y="181"/>
                    <a:pt x="231" y="181"/>
                    <a:pt x="231" y="180"/>
                  </a:cubicBezTo>
                  <a:cubicBezTo>
                    <a:pt x="231" y="180"/>
                    <a:pt x="230" y="180"/>
                    <a:pt x="229" y="180"/>
                  </a:cubicBezTo>
                  <a:cubicBezTo>
                    <a:pt x="229" y="180"/>
                    <a:pt x="229" y="180"/>
                    <a:pt x="229" y="180"/>
                  </a:cubicBezTo>
                  <a:cubicBezTo>
                    <a:pt x="228" y="179"/>
                    <a:pt x="228" y="179"/>
                    <a:pt x="227" y="179"/>
                  </a:cubicBezTo>
                  <a:cubicBezTo>
                    <a:pt x="227" y="179"/>
                    <a:pt x="227" y="179"/>
                    <a:pt x="227" y="179"/>
                  </a:cubicBezTo>
                  <a:cubicBezTo>
                    <a:pt x="226" y="180"/>
                    <a:pt x="226" y="180"/>
                    <a:pt x="225" y="180"/>
                  </a:cubicBezTo>
                  <a:cubicBezTo>
                    <a:pt x="225" y="180"/>
                    <a:pt x="225" y="180"/>
                    <a:pt x="225" y="180"/>
                  </a:cubicBezTo>
                  <a:cubicBezTo>
                    <a:pt x="225" y="180"/>
                    <a:pt x="225" y="180"/>
                    <a:pt x="224" y="180"/>
                  </a:cubicBezTo>
                  <a:cubicBezTo>
                    <a:pt x="224" y="180"/>
                    <a:pt x="224" y="180"/>
                    <a:pt x="224" y="180"/>
                  </a:cubicBezTo>
                  <a:cubicBezTo>
                    <a:pt x="224" y="180"/>
                    <a:pt x="224" y="180"/>
                    <a:pt x="224" y="180"/>
                  </a:cubicBezTo>
                  <a:cubicBezTo>
                    <a:pt x="224" y="181"/>
                    <a:pt x="224" y="181"/>
                    <a:pt x="224" y="181"/>
                  </a:cubicBezTo>
                  <a:cubicBezTo>
                    <a:pt x="224" y="181"/>
                    <a:pt x="223" y="181"/>
                    <a:pt x="223" y="181"/>
                  </a:cubicBezTo>
                  <a:cubicBezTo>
                    <a:pt x="223" y="181"/>
                    <a:pt x="223" y="181"/>
                    <a:pt x="223" y="181"/>
                  </a:cubicBezTo>
                  <a:cubicBezTo>
                    <a:pt x="223" y="181"/>
                    <a:pt x="223" y="181"/>
                    <a:pt x="222" y="181"/>
                  </a:cubicBezTo>
                  <a:cubicBezTo>
                    <a:pt x="222" y="181"/>
                    <a:pt x="222" y="181"/>
                    <a:pt x="222" y="182"/>
                  </a:cubicBezTo>
                  <a:cubicBezTo>
                    <a:pt x="222" y="182"/>
                    <a:pt x="221" y="182"/>
                    <a:pt x="220" y="182"/>
                  </a:cubicBezTo>
                  <a:cubicBezTo>
                    <a:pt x="220" y="182"/>
                    <a:pt x="220" y="182"/>
                    <a:pt x="220" y="183"/>
                  </a:cubicBezTo>
                  <a:cubicBezTo>
                    <a:pt x="220" y="183"/>
                    <a:pt x="219" y="183"/>
                    <a:pt x="219" y="183"/>
                  </a:cubicBezTo>
                  <a:cubicBezTo>
                    <a:pt x="219" y="183"/>
                    <a:pt x="219" y="183"/>
                    <a:pt x="219" y="183"/>
                  </a:cubicBezTo>
                  <a:cubicBezTo>
                    <a:pt x="218" y="183"/>
                    <a:pt x="218" y="184"/>
                    <a:pt x="217" y="184"/>
                  </a:cubicBezTo>
                  <a:cubicBezTo>
                    <a:pt x="217" y="184"/>
                    <a:pt x="217" y="184"/>
                    <a:pt x="217" y="184"/>
                  </a:cubicBezTo>
                  <a:cubicBezTo>
                    <a:pt x="217" y="184"/>
                    <a:pt x="217" y="184"/>
                    <a:pt x="217" y="184"/>
                  </a:cubicBezTo>
                  <a:cubicBezTo>
                    <a:pt x="217" y="184"/>
                    <a:pt x="217" y="184"/>
                    <a:pt x="217" y="184"/>
                  </a:cubicBezTo>
                  <a:cubicBezTo>
                    <a:pt x="217" y="184"/>
                    <a:pt x="216" y="184"/>
                    <a:pt x="216" y="184"/>
                  </a:cubicBezTo>
                  <a:cubicBezTo>
                    <a:pt x="216" y="184"/>
                    <a:pt x="216" y="185"/>
                    <a:pt x="216" y="185"/>
                  </a:cubicBezTo>
                  <a:cubicBezTo>
                    <a:pt x="216" y="185"/>
                    <a:pt x="216" y="185"/>
                    <a:pt x="215" y="185"/>
                  </a:cubicBezTo>
                  <a:cubicBezTo>
                    <a:pt x="215" y="185"/>
                    <a:pt x="215" y="185"/>
                    <a:pt x="215" y="185"/>
                  </a:cubicBezTo>
                  <a:cubicBezTo>
                    <a:pt x="215" y="185"/>
                    <a:pt x="215" y="185"/>
                    <a:pt x="215" y="185"/>
                  </a:cubicBezTo>
                  <a:cubicBezTo>
                    <a:pt x="215" y="185"/>
                    <a:pt x="215" y="185"/>
                    <a:pt x="215" y="185"/>
                  </a:cubicBezTo>
                  <a:cubicBezTo>
                    <a:pt x="214" y="185"/>
                    <a:pt x="214" y="185"/>
                    <a:pt x="214" y="185"/>
                  </a:cubicBezTo>
                  <a:cubicBezTo>
                    <a:pt x="214" y="185"/>
                    <a:pt x="214" y="186"/>
                    <a:pt x="214" y="186"/>
                  </a:cubicBezTo>
                  <a:cubicBezTo>
                    <a:pt x="213" y="186"/>
                    <a:pt x="210" y="187"/>
                    <a:pt x="209" y="188"/>
                  </a:cubicBezTo>
                  <a:cubicBezTo>
                    <a:pt x="209" y="189"/>
                    <a:pt x="209" y="189"/>
                    <a:pt x="209" y="190"/>
                  </a:cubicBezTo>
                  <a:cubicBezTo>
                    <a:pt x="210" y="191"/>
                    <a:pt x="210" y="194"/>
                    <a:pt x="210" y="196"/>
                  </a:cubicBezTo>
                  <a:cubicBezTo>
                    <a:pt x="210" y="196"/>
                    <a:pt x="210" y="196"/>
                    <a:pt x="210" y="196"/>
                  </a:cubicBezTo>
                  <a:cubicBezTo>
                    <a:pt x="210" y="197"/>
                    <a:pt x="210" y="198"/>
                    <a:pt x="210" y="199"/>
                  </a:cubicBezTo>
                  <a:cubicBezTo>
                    <a:pt x="211" y="199"/>
                    <a:pt x="211" y="199"/>
                    <a:pt x="211" y="199"/>
                  </a:cubicBezTo>
                  <a:cubicBezTo>
                    <a:pt x="211" y="200"/>
                    <a:pt x="211" y="201"/>
                    <a:pt x="211" y="202"/>
                  </a:cubicBezTo>
                  <a:cubicBezTo>
                    <a:pt x="211" y="202"/>
                    <a:pt x="211" y="202"/>
                    <a:pt x="211" y="202"/>
                  </a:cubicBezTo>
                  <a:cubicBezTo>
                    <a:pt x="211" y="203"/>
                    <a:pt x="211" y="204"/>
                    <a:pt x="211" y="205"/>
                  </a:cubicBezTo>
                  <a:cubicBezTo>
                    <a:pt x="211" y="205"/>
                    <a:pt x="211" y="205"/>
                    <a:pt x="212" y="205"/>
                  </a:cubicBezTo>
                  <a:cubicBezTo>
                    <a:pt x="212" y="208"/>
                    <a:pt x="212" y="211"/>
                    <a:pt x="212" y="213"/>
                  </a:cubicBezTo>
                  <a:cubicBezTo>
                    <a:pt x="211" y="214"/>
                    <a:pt x="209" y="215"/>
                    <a:pt x="208" y="216"/>
                  </a:cubicBezTo>
                  <a:cubicBezTo>
                    <a:pt x="207" y="216"/>
                    <a:pt x="207" y="216"/>
                    <a:pt x="206" y="216"/>
                  </a:cubicBezTo>
                  <a:cubicBezTo>
                    <a:pt x="206" y="216"/>
                    <a:pt x="206" y="216"/>
                    <a:pt x="206" y="217"/>
                  </a:cubicBezTo>
                  <a:cubicBezTo>
                    <a:pt x="206" y="217"/>
                    <a:pt x="206" y="217"/>
                    <a:pt x="206" y="217"/>
                  </a:cubicBezTo>
                  <a:cubicBezTo>
                    <a:pt x="206" y="217"/>
                    <a:pt x="206" y="217"/>
                    <a:pt x="206" y="217"/>
                  </a:cubicBezTo>
                  <a:cubicBezTo>
                    <a:pt x="205" y="217"/>
                    <a:pt x="205" y="217"/>
                    <a:pt x="205" y="217"/>
                  </a:cubicBezTo>
                  <a:cubicBezTo>
                    <a:pt x="205" y="217"/>
                    <a:pt x="205" y="217"/>
                    <a:pt x="205" y="217"/>
                  </a:cubicBezTo>
                  <a:cubicBezTo>
                    <a:pt x="204" y="217"/>
                    <a:pt x="203" y="218"/>
                    <a:pt x="202" y="218"/>
                  </a:cubicBezTo>
                  <a:cubicBezTo>
                    <a:pt x="202" y="218"/>
                    <a:pt x="202" y="218"/>
                    <a:pt x="202" y="218"/>
                  </a:cubicBezTo>
                  <a:cubicBezTo>
                    <a:pt x="202" y="218"/>
                    <a:pt x="202" y="218"/>
                    <a:pt x="202" y="218"/>
                  </a:cubicBezTo>
                  <a:cubicBezTo>
                    <a:pt x="202" y="218"/>
                    <a:pt x="202" y="218"/>
                    <a:pt x="202" y="219"/>
                  </a:cubicBezTo>
                  <a:cubicBezTo>
                    <a:pt x="202" y="219"/>
                    <a:pt x="201" y="219"/>
                    <a:pt x="201" y="219"/>
                  </a:cubicBezTo>
                  <a:cubicBezTo>
                    <a:pt x="201" y="219"/>
                    <a:pt x="201" y="219"/>
                    <a:pt x="201" y="219"/>
                  </a:cubicBezTo>
                  <a:cubicBezTo>
                    <a:pt x="201" y="219"/>
                    <a:pt x="201" y="219"/>
                    <a:pt x="200" y="219"/>
                  </a:cubicBezTo>
                  <a:cubicBezTo>
                    <a:pt x="200" y="219"/>
                    <a:pt x="200" y="219"/>
                    <a:pt x="200" y="219"/>
                  </a:cubicBezTo>
                  <a:cubicBezTo>
                    <a:pt x="200" y="219"/>
                    <a:pt x="200" y="219"/>
                    <a:pt x="200" y="219"/>
                  </a:cubicBezTo>
                  <a:cubicBezTo>
                    <a:pt x="200" y="219"/>
                    <a:pt x="200" y="220"/>
                    <a:pt x="200" y="220"/>
                  </a:cubicBezTo>
                  <a:cubicBezTo>
                    <a:pt x="199" y="220"/>
                    <a:pt x="199" y="220"/>
                    <a:pt x="199" y="220"/>
                  </a:cubicBezTo>
                  <a:cubicBezTo>
                    <a:pt x="199" y="220"/>
                    <a:pt x="199" y="220"/>
                    <a:pt x="199" y="220"/>
                  </a:cubicBezTo>
                  <a:cubicBezTo>
                    <a:pt x="199" y="220"/>
                    <a:pt x="198" y="220"/>
                    <a:pt x="198" y="220"/>
                  </a:cubicBezTo>
                  <a:cubicBezTo>
                    <a:pt x="198" y="220"/>
                    <a:pt x="198" y="220"/>
                    <a:pt x="198" y="220"/>
                  </a:cubicBezTo>
                  <a:cubicBezTo>
                    <a:pt x="198" y="220"/>
                    <a:pt x="198" y="220"/>
                    <a:pt x="198" y="220"/>
                  </a:cubicBezTo>
                  <a:cubicBezTo>
                    <a:pt x="198" y="220"/>
                    <a:pt x="198" y="221"/>
                    <a:pt x="198" y="221"/>
                  </a:cubicBezTo>
                  <a:cubicBezTo>
                    <a:pt x="197" y="221"/>
                    <a:pt x="197" y="221"/>
                    <a:pt x="197" y="221"/>
                  </a:cubicBezTo>
                  <a:cubicBezTo>
                    <a:pt x="197" y="221"/>
                    <a:pt x="197" y="221"/>
                    <a:pt x="197" y="221"/>
                  </a:cubicBezTo>
                  <a:cubicBezTo>
                    <a:pt x="197" y="221"/>
                    <a:pt x="196" y="221"/>
                    <a:pt x="196" y="221"/>
                  </a:cubicBezTo>
                  <a:cubicBezTo>
                    <a:pt x="196" y="221"/>
                    <a:pt x="196" y="221"/>
                    <a:pt x="196" y="221"/>
                  </a:cubicBezTo>
                  <a:cubicBezTo>
                    <a:pt x="196" y="222"/>
                    <a:pt x="195" y="222"/>
                    <a:pt x="194" y="222"/>
                  </a:cubicBezTo>
                  <a:cubicBezTo>
                    <a:pt x="194" y="222"/>
                    <a:pt x="194" y="222"/>
                    <a:pt x="194" y="222"/>
                  </a:cubicBezTo>
                  <a:cubicBezTo>
                    <a:pt x="194" y="222"/>
                    <a:pt x="194" y="222"/>
                    <a:pt x="194" y="222"/>
                  </a:cubicBezTo>
                  <a:cubicBezTo>
                    <a:pt x="194" y="222"/>
                    <a:pt x="194" y="222"/>
                    <a:pt x="194" y="222"/>
                  </a:cubicBezTo>
                  <a:cubicBezTo>
                    <a:pt x="193" y="222"/>
                    <a:pt x="193" y="222"/>
                    <a:pt x="193" y="222"/>
                  </a:cubicBezTo>
                  <a:cubicBezTo>
                    <a:pt x="193" y="223"/>
                    <a:pt x="193" y="223"/>
                    <a:pt x="193" y="223"/>
                  </a:cubicBezTo>
                  <a:cubicBezTo>
                    <a:pt x="193" y="223"/>
                    <a:pt x="193" y="223"/>
                    <a:pt x="192" y="223"/>
                  </a:cubicBezTo>
                  <a:cubicBezTo>
                    <a:pt x="192" y="223"/>
                    <a:pt x="192" y="223"/>
                    <a:pt x="192" y="223"/>
                  </a:cubicBezTo>
                  <a:cubicBezTo>
                    <a:pt x="192" y="223"/>
                    <a:pt x="192" y="223"/>
                    <a:pt x="192" y="223"/>
                  </a:cubicBezTo>
                  <a:cubicBezTo>
                    <a:pt x="192" y="223"/>
                    <a:pt x="192" y="223"/>
                    <a:pt x="192" y="224"/>
                  </a:cubicBezTo>
                  <a:cubicBezTo>
                    <a:pt x="191" y="224"/>
                    <a:pt x="191" y="224"/>
                    <a:pt x="191" y="224"/>
                  </a:cubicBezTo>
                  <a:cubicBezTo>
                    <a:pt x="191" y="224"/>
                    <a:pt x="191" y="224"/>
                    <a:pt x="191" y="224"/>
                  </a:cubicBezTo>
                  <a:cubicBezTo>
                    <a:pt x="191" y="224"/>
                    <a:pt x="190" y="224"/>
                    <a:pt x="190" y="224"/>
                  </a:cubicBezTo>
                  <a:cubicBezTo>
                    <a:pt x="190" y="224"/>
                    <a:pt x="190" y="224"/>
                    <a:pt x="190" y="224"/>
                  </a:cubicBezTo>
                  <a:cubicBezTo>
                    <a:pt x="190" y="224"/>
                    <a:pt x="189" y="224"/>
                    <a:pt x="189" y="225"/>
                  </a:cubicBezTo>
                  <a:cubicBezTo>
                    <a:pt x="188" y="225"/>
                    <a:pt x="187" y="226"/>
                    <a:pt x="186" y="226"/>
                  </a:cubicBezTo>
                  <a:cubicBezTo>
                    <a:pt x="185" y="225"/>
                    <a:pt x="182" y="225"/>
                    <a:pt x="180" y="224"/>
                  </a:cubicBezTo>
                  <a:cubicBezTo>
                    <a:pt x="180" y="224"/>
                    <a:pt x="180" y="224"/>
                    <a:pt x="180" y="224"/>
                  </a:cubicBezTo>
                  <a:cubicBezTo>
                    <a:pt x="180" y="224"/>
                    <a:pt x="180" y="224"/>
                    <a:pt x="180" y="224"/>
                  </a:cubicBezTo>
                  <a:cubicBezTo>
                    <a:pt x="180" y="224"/>
                    <a:pt x="180" y="224"/>
                    <a:pt x="180" y="224"/>
                  </a:cubicBezTo>
                  <a:cubicBezTo>
                    <a:pt x="179" y="224"/>
                    <a:pt x="179" y="224"/>
                    <a:pt x="179" y="224"/>
                  </a:cubicBezTo>
                  <a:cubicBezTo>
                    <a:pt x="179" y="223"/>
                    <a:pt x="179" y="223"/>
                    <a:pt x="179" y="223"/>
                  </a:cubicBezTo>
                  <a:cubicBezTo>
                    <a:pt x="178" y="223"/>
                    <a:pt x="178" y="223"/>
                    <a:pt x="178" y="223"/>
                  </a:cubicBezTo>
                  <a:cubicBezTo>
                    <a:pt x="178" y="223"/>
                    <a:pt x="178" y="223"/>
                    <a:pt x="178" y="223"/>
                  </a:cubicBezTo>
                  <a:cubicBezTo>
                    <a:pt x="177" y="223"/>
                    <a:pt x="177" y="223"/>
                    <a:pt x="177" y="223"/>
                  </a:cubicBezTo>
                  <a:cubicBezTo>
                    <a:pt x="177" y="223"/>
                    <a:pt x="177" y="223"/>
                    <a:pt x="177" y="222"/>
                  </a:cubicBezTo>
                  <a:cubicBezTo>
                    <a:pt x="176" y="222"/>
                    <a:pt x="176" y="222"/>
                    <a:pt x="176" y="222"/>
                  </a:cubicBezTo>
                  <a:cubicBezTo>
                    <a:pt x="176" y="222"/>
                    <a:pt x="176" y="222"/>
                    <a:pt x="176" y="222"/>
                  </a:cubicBezTo>
                  <a:cubicBezTo>
                    <a:pt x="175" y="222"/>
                    <a:pt x="174" y="222"/>
                    <a:pt x="173" y="222"/>
                  </a:cubicBezTo>
                  <a:cubicBezTo>
                    <a:pt x="171" y="221"/>
                    <a:pt x="169" y="219"/>
                    <a:pt x="166" y="219"/>
                  </a:cubicBezTo>
                  <a:cubicBezTo>
                    <a:pt x="160" y="223"/>
                    <a:pt x="153" y="227"/>
                    <a:pt x="147" y="230"/>
                  </a:cubicBezTo>
                  <a:cubicBezTo>
                    <a:pt x="141" y="228"/>
                    <a:pt x="135" y="225"/>
                    <a:pt x="130" y="222"/>
                  </a:cubicBezTo>
                  <a:cubicBezTo>
                    <a:pt x="130" y="222"/>
                    <a:pt x="130" y="222"/>
                    <a:pt x="129" y="222"/>
                  </a:cubicBezTo>
                  <a:cubicBezTo>
                    <a:pt x="129" y="222"/>
                    <a:pt x="129" y="222"/>
                    <a:pt x="129" y="222"/>
                  </a:cubicBezTo>
                  <a:cubicBezTo>
                    <a:pt x="129" y="222"/>
                    <a:pt x="129" y="222"/>
                    <a:pt x="129" y="222"/>
                  </a:cubicBezTo>
                  <a:cubicBezTo>
                    <a:pt x="129" y="222"/>
                    <a:pt x="129" y="222"/>
                    <a:pt x="129" y="221"/>
                  </a:cubicBezTo>
                  <a:cubicBezTo>
                    <a:pt x="128" y="221"/>
                    <a:pt x="128" y="221"/>
                    <a:pt x="128" y="221"/>
                  </a:cubicBezTo>
                  <a:cubicBezTo>
                    <a:pt x="128" y="221"/>
                    <a:pt x="128" y="221"/>
                    <a:pt x="128" y="221"/>
                  </a:cubicBezTo>
                  <a:cubicBezTo>
                    <a:pt x="127" y="221"/>
                    <a:pt x="127" y="221"/>
                    <a:pt x="127" y="221"/>
                  </a:cubicBezTo>
                  <a:cubicBezTo>
                    <a:pt x="127" y="221"/>
                    <a:pt x="127" y="221"/>
                    <a:pt x="127" y="221"/>
                  </a:cubicBezTo>
                  <a:cubicBezTo>
                    <a:pt x="127" y="221"/>
                    <a:pt x="126" y="221"/>
                    <a:pt x="126" y="221"/>
                  </a:cubicBezTo>
                  <a:cubicBezTo>
                    <a:pt x="126" y="221"/>
                    <a:pt x="126" y="220"/>
                    <a:pt x="126" y="220"/>
                  </a:cubicBezTo>
                  <a:cubicBezTo>
                    <a:pt x="126" y="220"/>
                    <a:pt x="126" y="220"/>
                    <a:pt x="126" y="220"/>
                  </a:cubicBezTo>
                  <a:cubicBezTo>
                    <a:pt x="126" y="220"/>
                    <a:pt x="126" y="220"/>
                    <a:pt x="126" y="220"/>
                  </a:cubicBezTo>
                  <a:cubicBezTo>
                    <a:pt x="125" y="220"/>
                    <a:pt x="125" y="220"/>
                    <a:pt x="125" y="220"/>
                  </a:cubicBezTo>
                  <a:cubicBezTo>
                    <a:pt x="125" y="220"/>
                    <a:pt x="125" y="220"/>
                    <a:pt x="125" y="220"/>
                  </a:cubicBezTo>
                  <a:cubicBezTo>
                    <a:pt x="125" y="220"/>
                    <a:pt x="124" y="220"/>
                    <a:pt x="124" y="220"/>
                  </a:cubicBezTo>
                  <a:cubicBezTo>
                    <a:pt x="124" y="220"/>
                    <a:pt x="124" y="219"/>
                    <a:pt x="124" y="219"/>
                  </a:cubicBezTo>
                  <a:cubicBezTo>
                    <a:pt x="123" y="219"/>
                    <a:pt x="123" y="219"/>
                    <a:pt x="122" y="219"/>
                  </a:cubicBezTo>
                  <a:cubicBezTo>
                    <a:pt x="122" y="218"/>
                    <a:pt x="122" y="218"/>
                    <a:pt x="122" y="218"/>
                  </a:cubicBezTo>
                  <a:cubicBezTo>
                    <a:pt x="121" y="218"/>
                    <a:pt x="121" y="218"/>
                    <a:pt x="120" y="21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119" y="217"/>
                    <a:pt x="119" y="217"/>
                    <a:pt x="119" y="217"/>
                  </a:cubicBezTo>
                  <a:cubicBezTo>
                    <a:pt x="118" y="216"/>
                    <a:pt x="118" y="216"/>
                    <a:pt x="118" y="216"/>
                  </a:cubicBezTo>
                  <a:cubicBezTo>
                    <a:pt x="118" y="216"/>
                    <a:pt x="117" y="216"/>
                    <a:pt x="117" y="215"/>
                  </a:cubicBezTo>
                  <a:cubicBezTo>
                    <a:pt x="117" y="215"/>
                    <a:pt x="117" y="215"/>
                    <a:pt x="116" y="215"/>
                  </a:cubicBezTo>
                  <a:cubicBezTo>
                    <a:pt x="116" y="215"/>
                    <a:pt x="115" y="215"/>
                    <a:pt x="115" y="214"/>
                  </a:cubicBezTo>
                  <a:cubicBezTo>
                    <a:pt x="115" y="214"/>
                    <a:pt x="115" y="214"/>
                    <a:pt x="115" y="214"/>
                  </a:cubicBezTo>
                  <a:cubicBezTo>
                    <a:pt x="115" y="214"/>
                    <a:pt x="114" y="214"/>
                    <a:pt x="114" y="214"/>
                  </a:cubicBezTo>
                  <a:cubicBezTo>
                    <a:pt x="114" y="213"/>
                    <a:pt x="114" y="213"/>
                    <a:pt x="114" y="213"/>
                  </a:cubicBezTo>
                  <a:cubicBezTo>
                    <a:pt x="113" y="213"/>
                    <a:pt x="113" y="213"/>
                    <a:pt x="113" y="213"/>
                  </a:cubicBezTo>
                  <a:cubicBezTo>
                    <a:pt x="113" y="213"/>
                    <a:pt x="113" y="213"/>
                    <a:pt x="113" y="213"/>
                  </a:cubicBezTo>
                  <a:cubicBezTo>
                    <a:pt x="113" y="213"/>
                    <a:pt x="112" y="213"/>
                    <a:pt x="112" y="213"/>
                  </a:cubicBezTo>
                  <a:cubicBezTo>
                    <a:pt x="112" y="212"/>
                    <a:pt x="112" y="212"/>
                    <a:pt x="112" y="212"/>
                  </a:cubicBezTo>
                  <a:cubicBezTo>
                    <a:pt x="111" y="212"/>
                    <a:pt x="111" y="212"/>
                    <a:pt x="110" y="212"/>
                  </a:cubicBezTo>
                  <a:cubicBezTo>
                    <a:pt x="110" y="211"/>
                    <a:pt x="110" y="211"/>
                    <a:pt x="110" y="211"/>
                  </a:cubicBezTo>
                  <a:cubicBezTo>
                    <a:pt x="110" y="211"/>
                    <a:pt x="109" y="211"/>
                    <a:pt x="109" y="211"/>
                  </a:cubicBezTo>
                  <a:cubicBezTo>
                    <a:pt x="109" y="210"/>
                    <a:pt x="108" y="210"/>
                    <a:pt x="108" y="210"/>
                  </a:cubicBezTo>
                  <a:cubicBezTo>
                    <a:pt x="108" y="210"/>
                    <a:pt x="108" y="210"/>
                    <a:pt x="108" y="210"/>
                  </a:cubicBezTo>
                  <a:cubicBezTo>
                    <a:pt x="108" y="210"/>
                    <a:pt x="108" y="210"/>
                    <a:pt x="108" y="210"/>
                  </a:cubicBezTo>
                  <a:cubicBezTo>
                    <a:pt x="107" y="210"/>
                    <a:pt x="107" y="210"/>
                    <a:pt x="107" y="210"/>
                  </a:cubicBezTo>
                  <a:cubicBezTo>
                    <a:pt x="107" y="209"/>
                    <a:pt x="107" y="209"/>
                    <a:pt x="107" y="209"/>
                  </a:cubicBezTo>
                  <a:cubicBezTo>
                    <a:pt x="105" y="208"/>
                    <a:pt x="103" y="207"/>
                    <a:pt x="101" y="206"/>
                  </a:cubicBezTo>
                  <a:cubicBezTo>
                    <a:pt x="101" y="206"/>
                    <a:pt x="101" y="206"/>
                    <a:pt x="101" y="206"/>
                  </a:cubicBezTo>
                  <a:cubicBezTo>
                    <a:pt x="101" y="206"/>
                    <a:pt x="100" y="207"/>
                    <a:pt x="100" y="207"/>
                  </a:cubicBezTo>
                  <a:cubicBezTo>
                    <a:pt x="100" y="207"/>
                    <a:pt x="100" y="207"/>
                    <a:pt x="100" y="207"/>
                  </a:cubicBezTo>
                  <a:cubicBezTo>
                    <a:pt x="99" y="207"/>
                    <a:pt x="99" y="207"/>
                    <a:pt x="99" y="207"/>
                  </a:cubicBezTo>
                  <a:cubicBezTo>
                    <a:pt x="99" y="207"/>
                    <a:pt x="99" y="207"/>
                    <a:pt x="99" y="207"/>
                  </a:cubicBezTo>
                  <a:cubicBezTo>
                    <a:pt x="98" y="207"/>
                    <a:pt x="98" y="207"/>
                    <a:pt x="98" y="207"/>
                  </a:cubicBezTo>
                  <a:cubicBezTo>
                    <a:pt x="98" y="208"/>
                    <a:pt x="98" y="208"/>
                    <a:pt x="98" y="208"/>
                  </a:cubicBezTo>
                  <a:cubicBezTo>
                    <a:pt x="97" y="208"/>
                    <a:pt x="97" y="208"/>
                    <a:pt x="97" y="208"/>
                  </a:cubicBezTo>
                  <a:cubicBezTo>
                    <a:pt x="97" y="208"/>
                    <a:pt x="97" y="208"/>
                    <a:pt x="97" y="208"/>
                  </a:cubicBezTo>
                  <a:cubicBezTo>
                    <a:pt x="96" y="208"/>
                    <a:pt x="96" y="208"/>
                    <a:pt x="96" y="208"/>
                  </a:cubicBezTo>
                  <a:cubicBezTo>
                    <a:pt x="96" y="208"/>
                    <a:pt x="96" y="208"/>
                    <a:pt x="96" y="208"/>
                  </a:cubicBezTo>
                  <a:cubicBezTo>
                    <a:pt x="96" y="208"/>
                    <a:pt x="95" y="208"/>
                    <a:pt x="95" y="208"/>
                  </a:cubicBezTo>
                  <a:cubicBezTo>
                    <a:pt x="95" y="209"/>
                    <a:pt x="95" y="209"/>
                    <a:pt x="95" y="209"/>
                  </a:cubicBezTo>
                  <a:cubicBezTo>
                    <a:pt x="95" y="209"/>
                    <a:pt x="94" y="209"/>
                    <a:pt x="94" y="209"/>
                  </a:cubicBezTo>
                  <a:cubicBezTo>
                    <a:pt x="94" y="209"/>
                    <a:pt x="94" y="209"/>
                    <a:pt x="94" y="209"/>
                  </a:cubicBezTo>
                  <a:cubicBezTo>
                    <a:pt x="94" y="209"/>
                    <a:pt x="93" y="209"/>
                    <a:pt x="93" y="209"/>
                  </a:cubicBezTo>
                  <a:cubicBezTo>
                    <a:pt x="93" y="209"/>
                    <a:pt x="93" y="209"/>
                    <a:pt x="93" y="210"/>
                  </a:cubicBezTo>
                  <a:cubicBezTo>
                    <a:pt x="92" y="210"/>
                    <a:pt x="92" y="210"/>
                    <a:pt x="91" y="210"/>
                  </a:cubicBezTo>
                  <a:cubicBezTo>
                    <a:pt x="91" y="210"/>
                    <a:pt x="91" y="210"/>
                    <a:pt x="91" y="210"/>
                  </a:cubicBezTo>
                  <a:cubicBezTo>
                    <a:pt x="91" y="210"/>
                    <a:pt x="91" y="210"/>
                    <a:pt x="91" y="210"/>
                  </a:cubicBezTo>
                  <a:cubicBezTo>
                    <a:pt x="91" y="210"/>
                    <a:pt x="91" y="210"/>
                    <a:pt x="91" y="211"/>
                  </a:cubicBezTo>
                  <a:cubicBezTo>
                    <a:pt x="90" y="211"/>
                    <a:pt x="90" y="211"/>
                    <a:pt x="89" y="211"/>
                  </a:cubicBezTo>
                  <a:cubicBezTo>
                    <a:pt x="89" y="211"/>
                    <a:pt x="89" y="211"/>
                    <a:pt x="89" y="211"/>
                  </a:cubicBezTo>
                  <a:cubicBezTo>
                    <a:pt x="89" y="211"/>
                    <a:pt x="89" y="211"/>
                    <a:pt x="89" y="211"/>
                  </a:cubicBezTo>
                  <a:cubicBezTo>
                    <a:pt x="89" y="211"/>
                    <a:pt x="89" y="211"/>
                    <a:pt x="89" y="211"/>
                  </a:cubicBezTo>
                  <a:cubicBezTo>
                    <a:pt x="88" y="211"/>
                    <a:pt x="87" y="211"/>
                    <a:pt x="87" y="212"/>
                  </a:cubicBezTo>
                  <a:cubicBezTo>
                    <a:pt x="87" y="212"/>
                    <a:pt x="87" y="212"/>
                    <a:pt x="87" y="212"/>
                  </a:cubicBezTo>
                  <a:cubicBezTo>
                    <a:pt x="86" y="212"/>
                    <a:pt x="86" y="212"/>
                    <a:pt x="86" y="212"/>
                  </a:cubicBezTo>
                  <a:cubicBezTo>
                    <a:pt x="86" y="212"/>
                    <a:pt x="86" y="212"/>
                    <a:pt x="86" y="212"/>
                  </a:cubicBezTo>
                  <a:cubicBezTo>
                    <a:pt x="86" y="212"/>
                    <a:pt x="85" y="212"/>
                    <a:pt x="85" y="212"/>
                  </a:cubicBezTo>
                  <a:cubicBezTo>
                    <a:pt x="85" y="212"/>
                    <a:pt x="85" y="213"/>
                    <a:pt x="85" y="213"/>
                  </a:cubicBezTo>
                  <a:cubicBezTo>
                    <a:pt x="85" y="213"/>
                    <a:pt x="84" y="213"/>
                    <a:pt x="84" y="213"/>
                  </a:cubicBezTo>
                  <a:cubicBezTo>
                    <a:pt x="84" y="213"/>
                    <a:pt x="84" y="213"/>
                    <a:pt x="84" y="213"/>
                  </a:cubicBezTo>
                  <a:cubicBezTo>
                    <a:pt x="84" y="213"/>
                    <a:pt x="83" y="213"/>
                    <a:pt x="82" y="213"/>
                  </a:cubicBezTo>
                  <a:cubicBezTo>
                    <a:pt x="82" y="213"/>
                    <a:pt x="82" y="214"/>
                    <a:pt x="82" y="214"/>
                  </a:cubicBezTo>
                  <a:cubicBezTo>
                    <a:pt x="82" y="214"/>
                    <a:pt x="82" y="214"/>
                    <a:pt x="81" y="214"/>
                  </a:cubicBezTo>
                  <a:cubicBezTo>
                    <a:pt x="81" y="214"/>
                    <a:pt x="81" y="214"/>
                    <a:pt x="81" y="214"/>
                  </a:cubicBezTo>
                  <a:cubicBezTo>
                    <a:pt x="81" y="214"/>
                    <a:pt x="81" y="214"/>
                    <a:pt x="80" y="214"/>
                  </a:cubicBezTo>
                  <a:cubicBezTo>
                    <a:pt x="80" y="214"/>
                    <a:pt x="80" y="214"/>
                    <a:pt x="80" y="214"/>
                  </a:cubicBezTo>
                  <a:cubicBezTo>
                    <a:pt x="80" y="214"/>
                    <a:pt x="80" y="214"/>
                    <a:pt x="80" y="214"/>
                  </a:cubicBezTo>
                  <a:cubicBezTo>
                    <a:pt x="80" y="215"/>
                    <a:pt x="80" y="215"/>
                    <a:pt x="80" y="215"/>
                  </a:cubicBezTo>
                  <a:cubicBezTo>
                    <a:pt x="78" y="215"/>
                    <a:pt x="76" y="216"/>
                    <a:pt x="74" y="217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</a:ln>
            <a:effectLst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64800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4000" b="1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0000"/>
                </a:solidFill>
                <a:latin typeface="UKIJ Qolyazma" pitchFamily="18" charset="0"/>
                <a:cs typeface="UKIJ Qolyazma" pitchFamily="18" charset="0"/>
              </a:endParaRPr>
            </a:p>
          </p:txBody>
        </p:sp>
        <p:sp>
          <p:nvSpPr>
            <p:cNvPr id="107" name="Freeform 19">
              <a:extLst>
                <a:ext uri="{FF2B5EF4-FFF2-40B4-BE49-F238E27FC236}">
                  <a16:creationId xmlns:a16="http://schemas.microsoft.com/office/drawing/2014/main" id="{F56CAC3A-9796-5949-4B50-E8B42A322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190" y="2064559"/>
              <a:ext cx="320124" cy="243953"/>
            </a:xfrm>
            <a:custGeom>
              <a:avLst/>
              <a:gdLst>
                <a:gd name="T0" fmla="*/ 1 w 147"/>
                <a:gd name="T1" fmla="*/ 78 h 112"/>
                <a:gd name="T2" fmla="*/ 3 w 147"/>
                <a:gd name="T3" fmla="*/ 75 h 112"/>
                <a:gd name="T4" fmla="*/ 6 w 147"/>
                <a:gd name="T5" fmla="*/ 71 h 112"/>
                <a:gd name="T6" fmla="*/ 9 w 147"/>
                <a:gd name="T7" fmla="*/ 67 h 112"/>
                <a:gd name="T8" fmla="*/ 11 w 147"/>
                <a:gd name="T9" fmla="*/ 64 h 112"/>
                <a:gd name="T10" fmla="*/ 13 w 147"/>
                <a:gd name="T11" fmla="*/ 61 h 112"/>
                <a:gd name="T12" fmla="*/ 15 w 147"/>
                <a:gd name="T13" fmla="*/ 58 h 112"/>
                <a:gd name="T14" fmla="*/ 18 w 147"/>
                <a:gd name="T15" fmla="*/ 54 h 112"/>
                <a:gd name="T16" fmla="*/ 20 w 147"/>
                <a:gd name="T17" fmla="*/ 51 h 112"/>
                <a:gd name="T18" fmla="*/ 23 w 147"/>
                <a:gd name="T19" fmla="*/ 47 h 112"/>
                <a:gd name="T20" fmla="*/ 25 w 147"/>
                <a:gd name="T21" fmla="*/ 44 h 112"/>
                <a:gd name="T22" fmla="*/ 27 w 147"/>
                <a:gd name="T23" fmla="*/ 40 h 112"/>
                <a:gd name="T24" fmla="*/ 30 w 147"/>
                <a:gd name="T25" fmla="*/ 37 h 112"/>
                <a:gd name="T26" fmla="*/ 32 w 147"/>
                <a:gd name="T27" fmla="*/ 32 h 112"/>
                <a:gd name="T28" fmla="*/ 37 w 147"/>
                <a:gd name="T29" fmla="*/ 25 h 112"/>
                <a:gd name="T30" fmla="*/ 39 w 147"/>
                <a:gd name="T31" fmla="*/ 21 h 112"/>
                <a:gd name="T32" fmla="*/ 42 w 147"/>
                <a:gd name="T33" fmla="*/ 15 h 112"/>
                <a:gd name="T34" fmla="*/ 47 w 147"/>
                <a:gd name="T35" fmla="*/ 9 h 112"/>
                <a:gd name="T36" fmla="*/ 53 w 147"/>
                <a:gd name="T37" fmla="*/ 5 h 112"/>
                <a:gd name="T38" fmla="*/ 55 w 147"/>
                <a:gd name="T39" fmla="*/ 4 h 112"/>
                <a:gd name="T40" fmla="*/ 59 w 147"/>
                <a:gd name="T41" fmla="*/ 5 h 112"/>
                <a:gd name="T42" fmla="*/ 60 w 147"/>
                <a:gd name="T43" fmla="*/ 8 h 112"/>
                <a:gd name="T44" fmla="*/ 63 w 147"/>
                <a:gd name="T45" fmla="*/ 12 h 112"/>
                <a:gd name="T46" fmla="*/ 65 w 147"/>
                <a:gd name="T47" fmla="*/ 16 h 112"/>
                <a:gd name="T48" fmla="*/ 67 w 147"/>
                <a:gd name="T49" fmla="*/ 19 h 112"/>
                <a:gd name="T50" fmla="*/ 70 w 147"/>
                <a:gd name="T51" fmla="*/ 23 h 112"/>
                <a:gd name="T52" fmla="*/ 88 w 147"/>
                <a:gd name="T53" fmla="*/ 30 h 112"/>
                <a:gd name="T54" fmla="*/ 97 w 147"/>
                <a:gd name="T55" fmla="*/ 29 h 112"/>
                <a:gd name="T56" fmla="*/ 102 w 147"/>
                <a:gd name="T57" fmla="*/ 27 h 112"/>
                <a:gd name="T58" fmla="*/ 108 w 147"/>
                <a:gd name="T59" fmla="*/ 21 h 112"/>
                <a:gd name="T60" fmla="*/ 110 w 147"/>
                <a:gd name="T61" fmla="*/ 17 h 112"/>
                <a:gd name="T62" fmla="*/ 112 w 147"/>
                <a:gd name="T63" fmla="*/ 14 h 112"/>
                <a:gd name="T64" fmla="*/ 115 w 147"/>
                <a:gd name="T65" fmla="*/ 10 h 112"/>
                <a:gd name="T66" fmla="*/ 117 w 147"/>
                <a:gd name="T67" fmla="*/ 7 h 112"/>
                <a:gd name="T68" fmla="*/ 123 w 147"/>
                <a:gd name="T69" fmla="*/ 0 h 112"/>
                <a:gd name="T70" fmla="*/ 139 w 147"/>
                <a:gd name="T71" fmla="*/ 3 h 112"/>
                <a:gd name="T72" fmla="*/ 143 w 147"/>
                <a:gd name="T73" fmla="*/ 5 h 112"/>
                <a:gd name="T74" fmla="*/ 145 w 147"/>
                <a:gd name="T75" fmla="*/ 14 h 112"/>
                <a:gd name="T76" fmla="*/ 142 w 147"/>
                <a:gd name="T77" fmla="*/ 18 h 112"/>
                <a:gd name="T78" fmla="*/ 139 w 147"/>
                <a:gd name="T79" fmla="*/ 22 h 112"/>
                <a:gd name="T80" fmla="*/ 137 w 147"/>
                <a:gd name="T81" fmla="*/ 26 h 112"/>
                <a:gd name="T82" fmla="*/ 134 w 147"/>
                <a:gd name="T83" fmla="*/ 32 h 112"/>
                <a:gd name="T84" fmla="*/ 133 w 147"/>
                <a:gd name="T85" fmla="*/ 40 h 112"/>
                <a:gd name="T86" fmla="*/ 132 w 147"/>
                <a:gd name="T87" fmla="*/ 73 h 112"/>
                <a:gd name="T88" fmla="*/ 127 w 147"/>
                <a:gd name="T89" fmla="*/ 77 h 112"/>
                <a:gd name="T90" fmla="*/ 123 w 147"/>
                <a:gd name="T91" fmla="*/ 78 h 112"/>
                <a:gd name="T92" fmla="*/ 120 w 147"/>
                <a:gd name="T93" fmla="*/ 80 h 112"/>
                <a:gd name="T94" fmla="*/ 121 w 147"/>
                <a:gd name="T95" fmla="*/ 88 h 112"/>
                <a:gd name="T96" fmla="*/ 123 w 147"/>
                <a:gd name="T97" fmla="*/ 94 h 112"/>
                <a:gd name="T98" fmla="*/ 121 w 147"/>
                <a:gd name="T99" fmla="*/ 105 h 112"/>
                <a:gd name="T100" fmla="*/ 108 w 147"/>
                <a:gd name="T101" fmla="*/ 109 h 112"/>
                <a:gd name="T102" fmla="*/ 101 w 147"/>
                <a:gd name="T103" fmla="*/ 110 h 112"/>
                <a:gd name="T104" fmla="*/ 85 w 147"/>
                <a:gd name="T105" fmla="*/ 110 h 112"/>
                <a:gd name="T106" fmla="*/ 83 w 147"/>
                <a:gd name="T107" fmla="*/ 107 h 112"/>
                <a:gd name="T108" fmla="*/ 80 w 147"/>
                <a:gd name="T109" fmla="*/ 102 h 112"/>
                <a:gd name="T110" fmla="*/ 76 w 147"/>
                <a:gd name="T111" fmla="*/ 98 h 112"/>
                <a:gd name="T112" fmla="*/ 71 w 147"/>
                <a:gd name="T113" fmla="*/ 92 h 112"/>
                <a:gd name="T114" fmla="*/ 66 w 147"/>
                <a:gd name="T115" fmla="*/ 87 h 112"/>
                <a:gd name="T116" fmla="*/ 61 w 147"/>
                <a:gd name="T117" fmla="*/ 81 h 112"/>
                <a:gd name="T118" fmla="*/ 12 w 147"/>
                <a:gd name="T119" fmla="*/ 83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47" h="112">
                  <a:moveTo>
                    <a:pt x="0" y="81"/>
                  </a:moveTo>
                  <a:cubicBezTo>
                    <a:pt x="0" y="81"/>
                    <a:pt x="0" y="80"/>
                    <a:pt x="0" y="80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80"/>
                    <a:pt x="0" y="79"/>
                    <a:pt x="0" y="79"/>
                  </a:cubicBezTo>
                  <a:cubicBezTo>
                    <a:pt x="0" y="79"/>
                    <a:pt x="1" y="79"/>
                    <a:pt x="1" y="79"/>
                  </a:cubicBezTo>
                  <a:cubicBezTo>
                    <a:pt x="1" y="79"/>
                    <a:pt x="1" y="78"/>
                    <a:pt x="1" y="78"/>
                  </a:cubicBezTo>
                  <a:cubicBezTo>
                    <a:pt x="1" y="78"/>
                    <a:pt x="2" y="78"/>
                    <a:pt x="2" y="78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3" y="76"/>
                  </a:cubicBezTo>
                  <a:cubicBezTo>
                    <a:pt x="3" y="76"/>
                    <a:pt x="3" y="76"/>
                    <a:pt x="3" y="76"/>
                  </a:cubicBezTo>
                  <a:cubicBezTo>
                    <a:pt x="3" y="76"/>
                    <a:pt x="3" y="76"/>
                    <a:pt x="3" y="75"/>
                  </a:cubicBezTo>
                  <a:cubicBezTo>
                    <a:pt x="3" y="75"/>
                    <a:pt x="3" y="75"/>
                    <a:pt x="3" y="75"/>
                  </a:cubicBezTo>
                  <a:cubicBezTo>
                    <a:pt x="4" y="75"/>
                    <a:pt x="4" y="74"/>
                    <a:pt x="4" y="74"/>
                  </a:cubicBezTo>
                  <a:cubicBezTo>
                    <a:pt x="4" y="74"/>
                    <a:pt x="4" y="74"/>
                    <a:pt x="4" y="74"/>
                  </a:cubicBezTo>
                  <a:cubicBezTo>
                    <a:pt x="4" y="73"/>
                    <a:pt x="5" y="73"/>
                    <a:pt x="5" y="73"/>
                  </a:cubicBezTo>
                  <a:cubicBezTo>
                    <a:pt x="5" y="73"/>
                    <a:pt x="5" y="72"/>
                    <a:pt x="5" y="72"/>
                  </a:cubicBezTo>
                  <a:cubicBezTo>
                    <a:pt x="5" y="72"/>
                    <a:pt x="5" y="72"/>
                    <a:pt x="5" y="72"/>
                  </a:cubicBezTo>
                  <a:cubicBezTo>
                    <a:pt x="6" y="72"/>
                    <a:pt x="6" y="72"/>
                    <a:pt x="6" y="71"/>
                  </a:cubicBezTo>
                  <a:cubicBezTo>
                    <a:pt x="6" y="71"/>
                    <a:pt x="6" y="71"/>
                    <a:pt x="7" y="71"/>
                  </a:cubicBezTo>
                  <a:cubicBezTo>
                    <a:pt x="7" y="71"/>
                    <a:pt x="7" y="70"/>
                    <a:pt x="7" y="70"/>
                  </a:cubicBezTo>
                  <a:cubicBezTo>
                    <a:pt x="7" y="70"/>
                    <a:pt x="7" y="70"/>
                    <a:pt x="8" y="69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8" y="69"/>
                    <a:pt x="8" y="69"/>
                    <a:pt x="8" y="68"/>
                  </a:cubicBezTo>
                  <a:cubicBezTo>
                    <a:pt x="8" y="68"/>
                    <a:pt x="9" y="68"/>
                    <a:pt x="9" y="67"/>
                  </a:cubicBezTo>
                  <a:cubicBezTo>
                    <a:pt x="9" y="67"/>
                    <a:pt x="9" y="67"/>
                    <a:pt x="9" y="67"/>
                  </a:cubicBezTo>
                  <a:cubicBezTo>
                    <a:pt x="9" y="67"/>
                    <a:pt x="9" y="67"/>
                    <a:pt x="9" y="67"/>
                  </a:cubicBezTo>
                  <a:cubicBezTo>
                    <a:pt x="9" y="67"/>
                    <a:pt x="9" y="66"/>
                    <a:pt x="10" y="66"/>
                  </a:cubicBezTo>
                  <a:cubicBezTo>
                    <a:pt x="10" y="66"/>
                    <a:pt x="10" y="66"/>
                    <a:pt x="10" y="66"/>
                  </a:cubicBezTo>
                  <a:cubicBezTo>
                    <a:pt x="10" y="65"/>
                    <a:pt x="10" y="65"/>
                    <a:pt x="11" y="65"/>
                  </a:cubicBezTo>
                  <a:cubicBezTo>
                    <a:pt x="11" y="65"/>
                    <a:pt x="11" y="64"/>
                    <a:pt x="11" y="64"/>
                  </a:cubicBezTo>
                  <a:cubicBezTo>
                    <a:pt x="11" y="64"/>
                    <a:pt x="11" y="64"/>
                    <a:pt x="11" y="64"/>
                  </a:cubicBezTo>
                  <a:cubicBezTo>
                    <a:pt x="11" y="64"/>
                    <a:pt x="11" y="63"/>
                    <a:pt x="11" y="63"/>
                  </a:cubicBezTo>
                  <a:cubicBezTo>
                    <a:pt x="12" y="63"/>
                    <a:pt x="12" y="63"/>
                    <a:pt x="12" y="63"/>
                  </a:cubicBezTo>
                  <a:cubicBezTo>
                    <a:pt x="12" y="63"/>
                    <a:pt x="12" y="62"/>
                    <a:pt x="12" y="62"/>
                  </a:cubicBezTo>
                  <a:cubicBezTo>
                    <a:pt x="12" y="62"/>
                    <a:pt x="13" y="62"/>
                    <a:pt x="13" y="62"/>
                  </a:cubicBezTo>
                  <a:cubicBezTo>
                    <a:pt x="13" y="62"/>
                    <a:pt x="13" y="61"/>
                    <a:pt x="13" y="61"/>
                  </a:cubicBezTo>
                  <a:cubicBezTo>
                    <a:pt x="13" y="61"/>
                    <a:pt x="14" y="61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6" y="57"/>
                    <a:pt x="16" y="56"/>
                    <a:pt x="16" y="56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7" y="56"/>
                    <a:pt x="17" y="55"/>
                    <a:pt x="17" y="55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7" y="55"/>
                    <a:pt x="18" y="54"/>
                    <a:pt x="18" y="54"/>
                  </a:cubicBezTo>
                  <a:cubicBezTo>
                    <a:pt x="18" y="54"/>
                    <a:pt x="18" y="54"/>
                    <a:pt x="18" y="54"/>
                  </a:cubicBezTo>
                  <a:cubicBezTo>
                    <a:pt x="18" y="53"/>
                    <a:pt x="18" y="53"/>
                    <a:pt x="18" y="53"/>
                  </a:cubicBezTo>
                  <a:cubicBezTo>
                    <a:pt x="19" y="53"/>
                    <a:pt x="19" y="53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20" y="52"/>
                    <a:pt x="20" y="51"/>
                    <a:pt x="20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0" y="51"/>
                    <a:pt x="20" y="51"/>
                    <a:pt x="21" y="51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1" y="49"/>
                    <a:pt x="21" y="49"/>
                    <a:pt x="22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2" y="48"/>
                    <a:pt x="22" y="48"/>
                    <a:pt x="23" y="48"/>
                  </a:cubicBezTo>
                  <a:cubicBezTo>
                    <a:pt x="23" y="48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6"/>
                    <a:pt x="23" y="46"/>
                  </a:cubicBezTo>
                  <a:cubicBezTo>
                    <a:pt x="24" y="46"/>
                    <a:pt x="24" y="46"/>
                    <a:pt x="24" y="46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4" y="45"/>
                    <a:pt x="25" y="45"/>
                    <a:pt x="25" y="44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25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2"/>
                    <a:pt x="26" y="42"/>
                    <a:pt x="26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0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8" y="40"/>
                    <a:pt x="28" y="39"/>
                    <a:pt x="28" y="39"/>
                  </a:cubicBezTo>
                  <a:cubicBezTo>
                    <a:pt x="28" y="39"/>
                    <a:pt x="29" y="39"/>
                    <a:pt x="29" y="39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30" y="38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1" y="36"/>
                    <a:pt x="31" y="36"/>
                    <a:pt x="31" y="36"/>
                  </a:cubicBezTo>
                  <a:cubicBezTo>
                    <a:pt x="31" y="35"/>
                    <a:pt x="31" y="35"/>
                    <a:pt x="31" y="35"/>
                  </a:cubicBezTo>
                  <a:cubicBezTo>
                    <a:pt x="31" y="35"/>
                    <a:pt x="31" y="35"/>
                    <a:pt x="32" y="34"/>
                  </a:cubicBezTo>
                  <a:cubicBezTo>
                    <a:pt x="32" y="34"/>
                    <a:pt x="32" y="33"/>
                    <a:pt x="32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1"/>
                    <a:pt x="34" y="31"/>
                    <a:pt x="34" y="30"/>
                  </a:cubicBezTo>
                  <a:cubicBezTo>
                    <a:pt x="34" y="30"/>
                    <a:pt x="34" y="30"/>
                    <a:pt x="35" y="30"/>
                  </a:cubicBezTo>
                  <a:cubicBezTo>
                    <a:pt x="35" y="29"/>
                    <a:pt x="35" y="28"/>
                    <a:pt x="35" y="27"/>
                  </a:cubicBezTo>
                  <a:cubicBezTo>
                    <a:pt x="35" y="27"/>
                    <a:pt x="36" y="27"/>
                    <a:pt x="36" y="27"/>
                  </a:cubicBezTo>
                  <a:cubicBezTo>
                    <a:pt x="36" y="26"/>
                    <a:pt x="36" y="26"/>
                    <a:pt x="37" y="25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8" y="24"/>
                    <a:pt x="38" y="23"/>
                    <a:pt x="38" y="23"/>
                  </a:cubicBezTo>
                  <a:cubicBezTo>
                    <a:pt x="38" y="22"/>
                    <a:pt x="38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0"/>
                    <a:pt x="39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19"/>
                    <a:pt x="41" y="18"/>
                    <a:pt x="41" y="18"/>
                  </a:cubicBezTo>
                  <a:cubicBezTo>
                    <a:pt x="41" y="18"/>
                    <a:pt x="41" y="17"/>
                    <a:pt x="42" y="17"/>
                  </a:cubicBezTo>
                  <a:cubicBezTo>
                    <a:pt x="42" y="17"/>
                    <a:pt x="42" y="16"/>
                    <a:pt x="42" y="15"/>
                  </a:cubicBezTo>
                  <a:cubicBezTo>
                    <a:pt x="42" y="15"/>
                    <a:pt x="43" y="15"/>
                    <a:pt x="43" y="15"/>
                  </a:cubicBezTo>
                  <a:cubicBezTo>
                    <a:pt x="43" y="14"/>
                    <a:pt x="43" y="14"/>
                    <a:pt x="44" y="13"/>
                  </a:cubicBezTo>
                  <a:cubicBezTo>
                    <a:pt x="44" y="13"/>
                    <a:pt x="44" y="13"/>
                    <a:pt x="44" y="12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45" y="11"/>
                    <a:pt x="46" y="10"/>
                    <a:pt x="46" y="9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48" y="8"/>
                    <a:pt x="49" y="7"/>
                    <a:pt x="50" y="7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51" y="6"/>
                    <a:pt x="51" y="6"/>
                    <a:pt x="52" y="6"/>
                  </a:cubicBezTo>
                  <a:cubicBezTo>
                    <a:pt x="52" y="6"/>
                    <a:pt x="52" y="5"/>
                    <a:pt x="52" y="5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3" y="5"/>
                    <a:pt x="54" y="5"/>
                    <a:pt x="54" y="5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55" y="4"/>
                    <a:pt x="55" y="4"/>
                    <a:pt x="55" y="3"/>
                  </a:cubicBezTo>
                  <a:cubicBezTo>
                    <a:pt x="56" y="3"/>
                    <a:pt x="56" y="3"/>
                    <a:pt x="57" y="3"/>
                  </a:cubicBezTo>
                  <a:cubicBezTo>
                    <a:pt x="57" y="3"/>
                    <a:pt x="57" y="3"/>
                    <a:pt x="57" y="3"/>
                  </a:cubicBezTo>
                  <a:cubicBezTo>
                    <a:pt x="57" y="3"/>
                    <a:pt x="57" y="3"/>
                    <a:pt x="57" y="3"/>
                  </a:cubicBezTo>
                  <a:cubicBezTo>
                    <a:pt x="57" y="3"/>
                    <a:pt x="57" y="3"/>
                    <a:pt x="57" y="3"/>
                  </a:cubicBezTo>
                  <a:cubicBezTo>
                    <a:pt x="58" y="4"/>
                    <a:pt x="58" y="5"/>
                    <a:pt x="59" y="5"/>
                  </a:cubicBezTo>
                  <a:cubicBezTo>
                    <a:pt x="59" y="5"/>
                    <a:pt x="59" y="5"/>
                    <a:pt x="59" y="5"/>
                  </a:cubicBezTo>
                  <a:cubicBezTo>
                    <a:pt x="59" y="6"/>
                    <a:pt x="59" y="6"/>
                    <a:pt x="59" y="6"/>
                  </a:cubicBezTo>
                  <a:cubicBezTo>
                    <a:pt x="59" y="6"/>
                    <a:pt x="59" y="6"/>
                    <a:pt x="59" y="6"/>
                  </a:cubicBezTo>
                  <a:cubicBezTo>
                    <a:pt x="59" y="6"/>
                    <a:pt x="59" y="7"/>
                    <a:pt x="59" y="7"/>
                  </a:cubicBezTo>
                  <a:cubicBezTo>
                    <a:pt x="59" y="7"/>
                    <a:pt x="60" y="7"/>
                    <a:pt x="60" y="7"/>
                  </a:cubicBezTo>
                  <a:cubicBezTo>
                    <a:pt x="60" y="7"/>
                    <a:pt x="60" y="8"/>
                    <a:pt x="60" y="8"/>
                  </a:cubicBezTo>
                  <a:cubicBezTo>
                    <a:pt x="60" y="8"/>
                    <a:pt x="61" y="8"/>
                    <a:pt x="61" y="8"/>
                  </a:cubicBezTo>
                  <a:cubicBezTo>
                    <a:pt x="61" y="9"/>
                    <a:pt x="61" y="9"/>
                    <a:pt x="61" y="10"/>
                  </a:cubicBezTo>
                  <a:cubicBezTo>
                    <a:pt x="61" y="10"/>
                    <a:pt x="62" y="10"/>
                    <a:pt x="62" y="10"/>
                  </a:cubicBezTo>
                  <a:cubicBezTo>
                    <a:pt x="62" y="10"/>
                    <a:pt x="62" y="11"/>
                    <a:pt x="62" y="11"/>
                  </a:cubicBezTo>
                  <a:cubicBezTo>
                    <a:pt x="62" y="12"/>
                    <a:pt x="63" y="12"/>
                    <a:pt x="63" y="12"/>
                  </a:cubicBezTo>
                  <a:cubicBezTo>
                    <a:pt x="63" y="12"/>
                    <a:pt x="63" y="12"/>
                    <a:pt x="63" y="12"/>
                  </a:cubicBezTo>
                  <a:cubicBezTo>
                    <a:pt x="63" y="13"/>
                    <a:pt x="63" y="13"/>
                    <a:pt x="64" y="13"/>
                  </a:cubicBezTo>
                  <a:cubicBezTo>
                    <a:pt x="64" y="13"/>
                    <a:pt x="64" y="13"/>
                    <a:pt x="64" y="14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4" y="14"/>
                    <a:pt x="64" y="14"/>
                    <a:pt x="64" y="15"/>
                  </a:cubicBezTo>
                  <a:cubicBezTo>
                    <a:pt x="64" y="15"/>
                    <a:pt x="65" y="15"/>
                    <a:pt x="65" y="15"/>
                  </a:cubicBezTo>
                  <a:cubicBezTo>
                    <a:pt x="65" y="15"/>
                    <a:pt x="65" y="15"/>
                    <a:pt x="65" y="16"/>
                  </a:cubicBezTo>
                  <a:cubicBezTo>
                    <a:pt x="65" y="16"/>
                    <a:pt x="65" y="16"/>
                    <a:pt x="66" y="16"/>
                  </a:cubicBezTo>
                  <a:cubicBezTo>
                    <a:pt x="66" y="16"/>
                    <a:pt x="66" y="16"/>
                    <a:pt x="66" y="17"/>
                  </a:cubicBezTo>
                  <a:cubicBezTo>
                    <a:pt x="66" y="17"/>
                    <a:pt x="66" y="17"/>
                    <a:pt x="66" y="17"/>
                  </a:cubicBezTo>
                  <a:cubicBezTo>
                    <a:pt x="66" y="17"/>
                    <a:pt x="66" y="17"/>
                    <a:pt x="66" y="18"/>
                  </a:cubicBezTo>
                  <a:cubicBezTo>
                    <a:pt x="67" y="18"/>
                    <a:pt x="67" y="18"/>
                    <a:pt x="67" y="18"/>
                  </a:cubicBezTo>
                  <a:cubicBezTo>
                    <a:pt x="67" y="18"/>
                    <a:pt x="67" y="19"/>
                    <a:pt x="67" y="19"/>
                  </a:cubicBezTo>
                  <a:cubicBezTo>
                    <a:pt x="67" y="19"/>
                    <a:pt x="68" y="19"/>
                    <a:pt x="68" y="19"/>
                  </a:cubicBezTo>
                  <a:cubicBezTo>
                    <a:pt x="68" y="20"/>
                    <a:pt x="68" y="20"/>
                    <a:pt x="68" y="20"/>
                  </a:cubicBezTo>
                  <a:cubicBezTo>
                    <a:pt x="68" y="20"/>
                    <a:pt x="69" y="20"/>
                    <a:pt x="69" y="20"/>
                  </a:cubicBezTo>
                  <a:cubicBezTo>
                    <a:pt x="69" y="21"/>
                    <a:pt x="69" y="21"/>
                    <a:pt x="69" y="21"/>
                  </a:cubicBezTo>
                  <a:cubicBezTo>
                    <a:pt x="69" y="21"/>
                    <a:pt x="69" y="22"/>
                    <a:pt x="70" y="22"/>
                  </a:cubicBezTo>
                  <a:cubicBezTo>
                    <a:pt x="70" y="22"/>
                    <a:pt x="70" y="22"/>
                    <a:pt x="70" y="23"/>
                  </a:cubicBezTo>
                  <a:cubicBezTo>
                    <a:pt x="70" y="23"/>
                    <a:pt x="71" y="24"/>
                    <a:pt x="72" y="24"/>
                  </a:cubicBezTo>
                  <a:cubicBezTo>
                    <a:pt x="72" y="24"/>
                    <a:pt x="72" y="24"/>
                    <a:pt x="72" y="25"/>
                  </a:cubicBezTo>
                  <a:cubicBezTo>
                    <a:pt x="72" y="25"/>
                    <a:pt x="72" y="25"/>
                    <a:pt x="73" y="25"/>
                  </a:cubicBezTo>
                  <a:cubicBezTo>
                    <a:pt x="74" y="27"/>
                    <a:pt x="76" y="29"/>
                    <a:pt x="78" y="30"/>
                  </a:cubicBezTo>
                  <a:cubicBezTo>
                    <a:pt x="78" y="30"/>
                    <a:pt x="79" y="30"/>
                    <a:pt x="80" y="30"/>
                  </a:cubicBezTo>
                  <a:cubicBezTo>
                    <a:pt x="81" y="30"/>
                    <a:pt x="87" y="30"/>
                    <a:pt x="88" y="30"/>
                  </a:cubicBezTo>
                  <a:cubicBezTo>
                    <a:pt x="88" y="30"/>
                    <a:pt x="88" y="30"/>
                    <a:pt x="88" y="30"/>
                  </a:cubicBezTo>
                  <a:cubicBezTo>
                    <a:pt x="89" y="30"/>
                    <a:pt x="90" y="30"/>
                    <a:pt x="91" y="30"/>
                  </a:cubicBezTo>
                  <a:cubicBezTo>
                    <a:pt x="91" y="29"/>
                    <a:pt x="91" y="29"/>
                    <a:pt x="91" y="29"/>
                  </a:cubicBezTo>
                  <a:cubicBezTo>
                    <a:pt x="92" y="29"/>
                    <a:pt x="93" y="29"/>
                    <a:pt x="94" y="29"/>
                  </a:cubicBezTo>
                  <a:cubicBezTo>
                    <a:pt x="94" y="29"/>
                    <a:pt x="94" y="29"/>
                    <a:pt x="94" y="29"/>
                  </a:cubicBezTo>
                  <a:cubicBezTo>
                    <a:pt x="95" y="29"/>
                    <a:pt x="96" y="29"/>
                    <a:pt x="97" y="29"/>
                  </a:cubicBezTo>
                  <a:cubicBezTo>
                    <a:pt x="97" y="28"/>
                    <a:pt x="97" y="28"/>
                    <a:pt x="97" y="28"/>
                  </a:cubicBezTo>
                  <a:cubicBezTo>
                    <a:pt x="98" y="28"/>
                    <a:pt x="99" y="28"/>
                    <a:pt x="100" y="28"/>
                  </a:cubicBezTo>
                  <a:cubicBezTo>
                    <a:pt x="100" y="28"/>
                    <a:pt x="100" y="28"/>
                    <a:pt x="100" y="27"/>
                  </a:cubicBezTo>
                  <a:cubicBezTo>
                    <a:pt x="100" y="27"/>
                    <a:pt x="100" y="27"/>
                    <a:pt x="101" y="27"/>
                  </a:cubicBezTo>
                  <a:cubicBezTo>
                    <a:pt x="101" y="27"/>
                    <a:pt x="101" y="27"/>
                    <a:pt x="101" y="27"/>
                  </a:cubicBezTo>
                  <a:cubicBezTo>
                    <a:pt x="101" y="27"/>
                    <a:pt x="101" y="27"/>
                    <a:pt x="102" y="27"/>
                  </a:cubicBezTo>
                  <a:cubicBezTo>
                    <a:pt x="102" y="27"/>
                    <a:pt x="102" y="27"/>
                    <a:pt x="102" y="27"/>
                  </a:cubicBezTo>
                  <a:cubicBezTo>
                    <a:pt x="102" y="27"/>
                    <a:pt x="103" y="27"/>
                    <a:pt x="103" y="26"/>
                  </a:cubicBezTo>
                  <a:cubicBezTo>
                    <a:pt x="103" y="26"/>
                    <a:pt x="103" y="26"/>
                    <a:pt x="103" y="26"/>
                  </a:cubicBezTo>
                  <a:cubicBezTo>
                    <a:pt x="104" y="26"/>
                    <a:pt x="104" y="26"/>
                    <a:pt x="104" y="26"/>
                  </a:cubicBezTo>
                  <a:cubicBezTo>
                    <a:pt x="106" y="24"/>
                    <a:pt x="107" y="23"/>
                    <a:pt x="108" y="22"/>
                  </a:cubicBezTo>
                  <a:cubicBezTo>
                    <a:pt x="108" y="21"/>
                    <a:pt x="108" y="21"/>
                    <a:pt x="108" y="21"/>
                  </a:cubicBezTo>
                  <a:cubicBezTo>
                    <a:pt x="108" y="21"/>
                    <a:pt x="108" y="21"/>
                    <a:pt x="109" y="20"/>
                  </a:cubicBezTo>
                  <a:cubicBezTo>
                    <a:pt x="109" y="20"/>
                    <a:pt x="109" y="20"/>
                    <a:pt x="109" y="20"/>
                  </a:cubicBezTo>
                  <a:cubicBezTo>
                    <a:pt x="109" y="20"/>
                    <a:pt x="109" y="20"/>
                    <a:pt x="109" y="19"/>
                  </a:cubicBezTo>
                  <a:cubicBezTo>
                    <a:pt x="109" y="19"/>
                    <a:pt x="110" y="19"/>
                    <a:pt x="110" y="18"/>
                  </a:cubicBezTo>
                  <a:cubicBezTo>
                    <a:pt x="110" y="18"/>
                    <a:pt x="110" y="18"/>
                    <a:pt x="110" y="18"/>
                  </a:cubicBezTo>
                  <a:cubicBezTo>
                    <a:pt x="110" y="18"/>
                    <a:pt x="110" y="17"/>
                    <a:pt x="110" y="17"/>
                  </a:cubicBezTo>
                  <a:cubicBezTo>
                    <a:pt x="111" y="17"/>
                    <a:pt x="111" y="17"/>
                    <a:pt x="111" y="17"/>
                  </a:cubicBezTo>
                  <a:cubicBezTo>
                    <a:pt x="111" y="16"/>
                    <a:pt x="111" y="16"/>
                    <a:pt x="111" y="16"/>
                  </a:cubicBezTo>
                  <a:cubicBezTo>
                    <a:pt x="111" y="16"/>
                    <a:pt x="112" y="16"/>
                    <a:pt x="112" y="16"/>
                  </a:cubicBezTo>
                  <a:cubicBezTo>
                    <a:pt x="112" y="15"/>
                    <a:pt x="112" y="15"/>
                    <a:pt x="112" y="15"/>
                  </a:cubicBezTo>
                  <a:cubicBezTo>
                    <a:pt x="112" y="15"/>
                    <a:pt x="112" y="15"/>
                    <a:pt x="112" y="15"/>
                  </a:cubicBezTo>
                  <a:cubicBezTo>
                    <a:pt x="112" y="15"/>
                    <a:pt x="112" y="14"/>
                    <a:pt x="112" y="14"/>
                  </a:cubicBezTo>
                  <a:cubicBezTo>
                    <a:pt x="112" y="14"/>
                    <a:pt x="113" y="14"/>
                    <a:pt x="113" y="14"/>
                  </a:cubicBezTo>
                  <a:cubicBezTo>
                    <a:pt x="113" y="13"/>
                    <a:pt x="113" y="13"/>
                    <a:pt x="113" y="12"/>
                  </a:cubicBezTo>
                  <a:cubicBezTo>
                    <a:pt x="113" y="12"/>
                    <a:pt x="113" y="12"/>
                    <a:pt x="114" y="12"/>
                  </a:cubicBezTo>
                  <a:cubicBezTo>
                    <a:pt x="114" y="12"/>
                    <a:pt x="114" y="12"/>
                    <a:pt x="114" y="11"/>
                  </a:cubicBezTo>
                  <a:cubicBezTo>
                    <a:pt x="114" y="11"/>
                    <a:pt x="114" y="11"/>
                    <a:pt x="115" y="11"/>
                  </a:cubicBezTo>
                  <a:cubicBezTo>
                    <a:pt x="115" y="11"/>
                    <a:pt x="115" y="10"/>
                    <a:pt x="115" y="10"/>
                  </a:cubicBezTo>
                  <a:cubicBezTo>
                    <a:pt x="115" y="10"/>
                    <a:pt x="115" y="9"/>
                    <a:pt x="116" y="9"/>
                  </a:cubicBezTo>
                  <a:cubicBezTo>
                    <a:pt x="116" y="9"/>
                    <a:pt x="116" y="9"/>
                    <a:pt x="116" y="9"/>
                  </a:cubicBezTo>
                  <a:cubicBezTo>
                    <a:pt x="116" y="9"/>
                    <a:pt x="116" y="9"/>
                    <a:pt x="116" y="9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117" y="7"/>
                    <a:pt x="117" y="7"/>
                    <a:pt x="117" y="7"/>
                  </a:cubicBezTo>
                  <a:cubicBezTo>
                    <a:pt x="117" y="7"/>
                    <a:pt x="117" y="7"/>
                    <a:pt x="117" y="7"/>
                  </a:cubicBezTo>
                  <a:cubicBezTo>
                    <a:pt x="117" y="6"/>
                    <a:pt x="118" y="6"/>
                    <a:pt x="118" y="6"/>
                  </a:cubicBezTo>
                  <a:cubicBezTo>
                    <a:pt x="118" y="6"/>
                    <a:pt x="118" y="5"/>
                    <a:pt x="118" y="5"/>
                  </a:cubicBezTo>
                  <a:cubicBezTo>
                    <a:pt x="118" y="5"/>
                    <a:pt x="119" y="5"/>
                    <a:pt x="119" y="4"/>
                  </a:cubicBezTo>
                  <a:cubicBezTo>
                    <a:pt x="119" y="4"/>
                    <a:pt x="119" y="4"/>
                    <a:pt x="119" y="4"/>
                  </a:cubicBezTo>
                  <a:cubicBezTo>
                    <a:pt x="119" y="4"/>
                    <a:pt x="120" y="3"/>
                    <a:pt x="120" y="3"/>
                  </a:cubicBezTo>
                  <a:cubicBezTo>
                    <a:pt x="121" y="2"/>
                    <a:pt x="122" y="1"/>
                    <a:pt x="123" y="0"/>
                  </a:cubicBezTo>
                  <a:cubicBezTo>
                    <a:pt x="124" y="0"/>
                    <a:pt x="125" y="0"/>
                    <a:pt x="127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28" y="0"/>
                    <a:pt x="128" y="0"/>
                    <a:pt x="129" y="0"/>
                  </a:cubicBezTo>
                  <a:cubicBezTo>
                    <a:pt x="129" y="0"/>
                    <a:pt x="129" y="0"/>
                    <a:pt x="129" y="1"/>
                  </a:cubicBezTo>
                  <a:cubicBezTo>
                    <a:pt x="130" y="1"/>
                    <a:pt x="130" y="1"/>
                    <a:pt x="131" y="1"/>
                  </a:cubicBezTo>
                  <a:cubicBezTo>
                    <a:pt x="133" y="1"/>
                    <a:pt x="136" y="2"/>
                    <a:pt x="139" y="3"/>
                  </a:cubicBezTo>
                  <a:cubicBezTo>
                    <a:pt x="139" y="3"/>
                    <a:pt x="139" y="4"/>
                    <a:pt x="139" y="4"/>
                  </a:cubicBezTo>
                  <a:cubicBezTo>
                    <a:pt x="140" y="4"/>
                    <a:pt x="140" y="4"/>
                    <a:pt x="141" y="4"/>
                  </a:cubicBezTo>
                  <a:cubicBezTo>
                    <a:pt x="141" y="5"/>
                    <a:pt x="141" y="5"/>
                    <a:pt x="141" y="5"/>
                  </a:cubicBezTo>
                  <a:cubicBezTo>
                    <a:pt x="141" y="5"/>
                    <a:pt x="142" y="5"/>
                    <a:pt x="142" y="5"/>
                  </a:cubicBezTo>
                  <a:cubicBezTo>
                    <a:pt x="142" y="5"/>
                    <a:pt x="142" y="5"/>
                    <a:pt x="142" y="5"/>
                  </a:cubicBezTo>
                  <a:cubicBezTo>
                    <a:pt x="142" y="5"/>
                    <a:pt x="142" y="5"/>
                    <a:pt x="143" y="5"/>
                  </a:cubicBezTo>
                  <a:cubicBezTo>
                    <a:pt x="143" y="5"/>
                    <a:pt x="143" y="5"/>
                    <a:pt x="143" y="5"/>
                  </a:cubicBezTo>
                  <a:cubicBezTo>
                    <a:pt x="143" y="6"/>
                    <a:pt x="144" y="6"/>
                    <a:pt x="145" y="6"/>
                  </a:cubicBezTo>
                  <a:cubicBezTo>
                    <a:pt x="145" y="6"/>
                    <a:pt x="145" y="7"/>
                    <a:pt x="145" y="7"/>
                  </a:cubicBezTo>
                  <a:cubicBezTo>
                    <a:pt x="145" y="7"/>
                    <a:pt x="145" y="7"/>
                    <a:pt x="146" y="7"/>
                  </a:cubicBezTo>
                  <a:cubicBezTo>
                    <a:pt x="146" y="8"/>
                    <a:pt x="147" y="8"/>
                    <a:pt x="147" y="9"/>
                  </a:cubicBezTo>
                  <a:cubicBezTo>
                    <a:pt x="147" y="11"/>
                    <a:pt x="146" y="12"/>
                    <a:pt x="145" y="14"/>
                  </a:cubicBezTo>
                  <a:cubicBezTo>
                    <a:pt x="145" y="14"/>
                    <a:pt x="144" y="14"/>
                    <a:pt x="144" y="15"/>
                  </a:cubicBezTo>
                  <a:cubicBezTo>
                    <a:pt x="144" y="15"/>
                    <a:pt x="144" y="15"/>
                    <a:pt x="144" y="15"/>
                  </a:cubicBezTo>
                  <a:cubicBezTo>
                    <a:pt x="144" y="15"/>
                    <a:pt x="143" y="16"/>
                    <a:pt x="143" y="16"/>
                  </a:cubicBezTo>
                  <a:cubicBezTo>
                    <a:pt x="143" y="16"/>
                    <a:pt x="143" y="16"/>
                    <a:pt x="143" y="17"/>
                  </a:cubicBezTo>
                  <a:cubicBezTo>
                    <a:pt x="143" y="17"/>
                    <a:pt x="142" y="17"/>
                    <a:pt x="142" y="17"/>
                  </a:cubicBezTo>
                  <a:cubicBezTo>
                    <a:pt x="142" y="18"/>
                    <a:pt x="142" y="18"/>
                    <a:pt x="142" y="18"/>
                  </a:cubicBezTo>
                  <a:cubicBezTo>
                    <a:pt x="142" y="18"/>
                    <a:pt x="141" y="19"/>
                    <a:pt x="141" y="19"/>
                  </a:cubicBezTo>
                  <a:cubicBezTo>
                    <a:pt x="141" y="19"/>
                    <a:pt x="141" y="19"/>
                    <a:pt x="140" y="20"/>
                  </a:cubicBezTo>
                  <a:cubicBezTo>
                    <a:pt x="140" y="20"/>
                    <a:pt x="140" y="20"/>
                    <a:pt x="140" y="20"/>
                  </a:cubicBezTo>
                  <a:cubicBezTo>
                    <a:pt x="140" y="20"/>
                    <a:pt x="140" y="21"/>
                    <a:pt x="140" y="21"/>
                  </a:cubicBezTo>
                  <a:cubicBezTo>
                    <a:pt x="140" y="21"/>
                    <a:pt x="139" y="21"/>
                    <a:pt x="139" y="21"/>
                  </a:cubicBezTo>
                  <a:cubicBezTo>
                    <a:pt x="139" y="21"/>
                    <a:pt x="139" y="22"/>
                    <a:pt x="139" y="22"/>
                  </a:cubicBezTo>
                  <a:cubicBezTo>
                    <a:pt x="139" y="22"/>
                    <a:pt x="139" y="22"/>
                    <a:pt x="138" y="22"/>
                  </a:cubicBezTo>
                  <a:cubicBezTo>
                    <a:pt x="138" y="23"/>
                    <a:pt x="138" y="23"/>
                    <a:pt x="138" y="23"/>
                  </a:cubicBezTo>
                  <a:cubicBezTo>
                    <a:pt x="138" y="23"/>
                    <a:pt x="138" y="23"/>
                    <a:pt x="138" y="23"/>
                  </a:cubicBezTo>
                  <a:cubicBezTo>
                    <a:pt x="138" y="24"/>
                    <a:pt x="137" y="24"/>
                    <a:pt x="137" y="25"/>
                  </a:cubicBezTo>
                  <a:cubicBezTo>
                    <a:pt x="137" y="25"/>
                    <a:pt x="137" y="25"/>
                    <a:pt x="137" y="25"/>
                  </a:cubicBezTo>
                  <a:cubicBezTo>
                    <a:pt x="137" y="25"/>
                    <a:pt x="137" y="26"/>
                    <a:pt x="137" y="26"/>
                  </a:cubicBezTo>
                  <a:cubicBezTo>
                    <a:pt x="137" y="26"/>
                    <a:pt x="136" y="26"/>
                    <a:pt x="136" y="26"/>
                  </a:cubicBezTo>
                  <a:cubicBezTo>
                    <a:pt x="136" y="26"/>
                    <a:pt x="136" y="27"/>
                    <a:pt x="136" y="28"/>
                  </a:cubicBezTo>
                  <a:cubicBezTo>
                    <a:pt x="135" y="28"/>
                    <a:pt x="135" y="28"/>
                    <a:pt x="135" y="28"/>
                  </a:cubicBezTo>
                  <a:cubicBezTo>
                    <a:pt x="135" y="29"/>
                    <a:pt x="135" y="30"/>
                    <a:pt x="135" y="31"/>
                  </a:cubicBezTo>
                  <a:cubicBezTo>
                    <a:pt x="134" y="31"/>
                    <a:pt x="134" y="31"/>
                    <a:pt x="134" y="31"/>
                  </a:cubicBezTo>
                  <a:cubicBezTo>
                    <a:pt x="134" y="31"/>
                    <a:pt x="134" y="32"/>
                    <a:pt x="134" y="32"/>
                  </a:cubicBezTo>
                  <a:cubicBezTo>
                    <a:pt x="134" y="32"/>
                    <a:pt x="134" y="32"/>
                    <a:pt x="134" y="32"/>
                  </a:cubicBezTo>
                  <a:cubicBezTo>
                    <a:pt x="134" y="33"/>
                    <a:pt x="134" y="34"/>
                    <a:pt x="134" y="34"/>
                  </a:cubicBezTo>
                  <a:cubicBezTo>
                    <a:pt x="134" y="34"/>
                    <a:pt x="134" y="34"/>
                    <a:pt x="133" y="34"/>
                  </a:cubicBezTo>
                  <a:cubicBezTo>
                    <a:pt x="133" y="35"/>
                    <a:pt x="133" y="36"/>
                    <a:pt x="133" y="37"/>
                  </a:cubicBezTo>
                  <a:cubicBezTo>
                    <a:pt x="133" y="37"/>
                    <a:pt x="133" y="37"/>
                    <a:pt x="133" y="37"/>
                  </a:cubicBezTo>
                  <a:cubicBezTo>
                    <a:pt x="133" y="38"/>
                    <a:pt x="133" y="39"/>
                    <a:pt x="133" y="40"/>
                  </a:cubicBezTo>
                  <a:cubicBezTo>
                    <a:pt x="133" y="43"/>
                    <a:pt x="133" y="46"/>
                    <a:pt x="133" y="48"/>
                  </a:cubicBezTo>
                  <a:cubicBezTo>
                    <a:pt x="132" y="51"/>
                    <a:pt x="132" y="55"/>
                    <a:pt x="132" y="58"/>
                  </a:cubicBezTo>
                  <a:cubicBezTo>
                    <a:pt x="132" y="62"/>
                    <a:pt x="132" y="66"/>
                    <a:pt x="132" y="70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32" y="71"/>
                    <a:pt x="132" y="72"/>
                    <a:pt x="132" y="73"/>
                  </a:cubicBezTo>
                  <a:cubicBezTo>
                    <a:pt x="132" y="73"/>
                    <a:pt x="132" y="73"/>
                    <a:pt x="132" y="73"/>
                  </a:cubicBezTo>
                  <a:cubicBezTo>
                    <a:pt x="132" y="73"/>
                    <a:pt x="131" y="74"/>
                    <a:pt x="131" y="74"/>
                  </a:cubicBezTo>
                  <a:cubicBezTo>
                    <a:pt x="131" y="75"/>
                    <a:pt x="130" y="76"/>
                    <a:pt x="129" y="76"/>
                  </a:cubicBezTo>
                  <a:cubicBezTo>
                    <a:pt x="129" y="76"/>
                    <a:pt x="129" y="76"/>
                    <a:pt x="128" y="76"/>
                  </a:cubicBezTo>
                  <a:cubicBezTo>
                    <a:pt x="128" y="76"/>
                    <a:pt x="128" y="76"/>
                    <a:pt x="128" y="76"/>
                  </a:cubicBezTo>
                  <a:cubicBezTo>
                    <a:pt x="128" y="76"/>
                    <a:pt x="128" y="76"/>
                    <a:pt x="127" y="76"/>
                  </a:cubicBezTo>
                  <a:cubicBezTo>
                    <a:pt x="127" y="77"/>
                    <a:pt x="127" y="77"/>
                    <a:pt x="127" y="77"/>
                  </a:cubicBezTo>
                  <a:cubicBezTo>
                    <a:pt x="127" y="77"/>
                    <a:pt x="126" y="77"/>
                    <a:pt x="126" y="77"/>
                  </a:cubicBezTo>
                  <a:cubicBezTo>
                    <a:pt x="126" y="77"/>
                    <a:pt x="126" y="77"/>
                    <a:pt x="126" y="77"/>
                  </a:cubicBezTo>
                  <a:cubicBezTo>
                    <a:pt x="125" y="77"/>
                    <a:pt x="125" y="77"/>
                    <a:pt x="124" y="77"/>
                  </a:cubicBezTo>
                  <a:cubicBezTo>
                    <a:pt x="124" y="77"/>
                    <a:pt x="124" y="77"/>
                    <a:pt x="124" y="78"/>
                  </a:cubicBezTo>
                  <a:cubicBezTo>
                    <a:pt x="124" y="78"/>
                    <a:pt x="124" y="78"/>
                    <a:pt x="123" y="78"/>
                  </a:cubicBezTo>
                  <a:cubicBezTo>
                    <a:pt x="123" y="78"/>
                    <a:pt x="123" y="78"/>
                    <a:pt x="123" y="78"/>
                  </a:cubicBezTo>
                  <a:cubicBezTo>
                    <a:pt x="123" y="78"/>
                    <a:pt x="123" y="78"/>
                    <a:pt x="122" y="78"/>
                  </a:cubicBezTo>
                  <a:cubicBezTo>
                    <a:pt x="122" y="78"/>
                    <a:pt x="122" y="78"/>
                    <a:pt x="122" y="79"/>
                  </a:cubicBezTo>
                  <a:cubicBezTo>
                    <a:pt x="121" y="79"/>
                    <a:pt x="121" y="78"/>
                    <a:pt x="121" y="80"/>
                  </a:cubicBezTo>
                  <a:cubicBezTo>
                    <a:pt x="121" y="80"/>
                    <a:pt x="121" y="80"/>
                    <a:pt x="121" y="80"/>
                  </a:cubicBezTo>
                  <a:cubicBezTo>
                    <a:pt x="121" y="80"/>
                    <a:pt x="121" y="80"/>
                    <a:pt x="121" y="80"/>
                  </a:cubicBezTo>
                  <a:cubicBezTo>
                    <a:pt x="120" y="80"/>
                    <a:pt x="120" y="80"/>
                    <a:pt x="120" y="80"/>
                  </a:cubicBezTo>
                  <a:cubicBezTo>
                    <a:pt x="120" y="82"/>
                    <a:pt x="120" y="83"/>
                    <a:pt x="120" y="85"/>
                  </a:cubicBezTo>
                  <a:cubicBezTo>
                    <a:pt x="120" y="85"/>
                    <a:pt x="120" y="85"/>
                    <a:pt x="121" y="85"/>
                  </a:cubicBezTo>
                  <a:cubicBezTo>
                    <a:pt x="121" y="85"/>
                    <a:pt x="121" y="86"/>
                    <a:pt x="121" y="87"/>
                  </a:cubicBezTo>
                  <a:cubicBezTo>
                    <a:pt x="121" y="87"/>
                    <a:pt x="121" y="87"/>
                    <a:pt x="121" y="87"/>
                  </a:cubicBezTo>
                  <a:cubicBezTo>
                    <a:pt x="121" y="87"/>
                    <a:pt x="121" y="88"/>
                    <a:pt x="121" y="88"/>
                  </a:cubicBezTo>
                  <a:cubicBezTo>
                    <a:pt x="121" y="88"/>
                    <a:pt x="121" y="88"/>
                    <a:pt x="121" y="88"/>
                  </a:cubicBezTo>
                  <a:cubicBezTo>
                    <a:pt x="121" y="89"/>
                    <a:pt x="121" y="89"/>
                    <a:pt x="121" y="90"/>
                  </a:cubicBezTo>
                  <a:cubicBezTo>
                    <a:pt x="121" y="90"/>
                    <a:pt x="121" y="90"/>
                    <a:pt x="122" y="90"/>
                  </a:cubicBezTo>
                  <a:cubicBezTo>
                    <a:pt x="122" y="90"/>
                    <a:pt x="122" y="91"/>
                    <a:pt x="122" y="91"/>
                  </a:cubicBezTo>
                  <a:cubicBezTo>
                    <a:pt x="122" y="91"/>
                    <a:pt x="122" y="91"/>
                    <a:pt x="122" y="91"/>
                  </a:cubicBezTo>
                  <a:cubicBezTo>
                    <a:pt x="122" y="92"/>
                    <a:pt x="122" y="93"/>
                    <a:pt x="122" y="94"/>
                  </a:cubicBezTo>
                  <a:cubicBezTo>
                    <a:pt x="122" y="94"/>
                    <a:pt x="123" y="94"/>
                    <a:pt x="123" y="94"/>
                  </a:cubicBezTo>
                  <a:cubicBezTo>
                    <a:pt x="123" y="95"/>
                    <a:pt x="123" y="96"/>
                    <a:pt x="123" y="97"/>
                  </a:cubicBezTo>
                  <a:cubicBezTo>
                    <a:pt x="123" y="97"/>
                    <a:pt x="123" y="97"/>
                    <a:pt x="123" y="97"/>
                  </a:cubicBezTo>
                  <a:cubicBezTo>
                    <a:pt x="123" y="98"/>
                    <a:pt x="123" y="100"/>
                    <a:pt x="123" y="102"/>
                  </a:cubicBezTo>
                  <a:cubicBezTo>
                    <a:pt x="123" y="102"/>
                    <a:pt x="122" y="103"/>
                    <a:pt x="122" y="104"/>
                  </a:cubicBezTo>
                  <a:cubicBezTo>
                    <a:pt x="122" y="104"/>
                    <a:pt x="121" y="105"/>
                    <a:pt x="121" y="105"/>
                  </a:cubicBezTo>
                  <a:cubicBezTo>
                    <a:pt x="121" y="105"/>
                    <a:pt x="121" y="105"/>
                    <a:pt x="121" y="105"/>
                  </a:cubicBezTo>
                  <a:cubicBezTo>
                    <a:pt x="121" y="105"/>
                    <a:pt x="120" y="105"/>
                    <a:pt x="120" y="105"/>
                  </a:cubicBezTo>
                  <a:cubicBezTo>
                    <a:pt x="120" y="105"/>
                    <a:pt x="120" y="105"/>
                    <a:pt x="120" y="105"/>
                  </a:cubicBezTo>
                  <a:cubicBezTo>
                    <a:pt x="119" y="106"/>
                    <a:pt x="119" y="106"/>
                    <a:pt x="118" y="106"/>
                  </a:cubicBezTo>
                  <a:cubicBezTo>
                    <a:pt x="118" y="106"/>
                    <a:pt x="118" y="106"/>
                    <a:pt x="118" y="107"/>
                  </a:cubicBezTo>
                  <a:cubicBezTo>
                    <a:pt x="115" y="107"/>
                    <a:pt x="112" y="108"/>
                    <a:pt x="109" y="109"/>
                  </a:cubicBezTo>
                  <a:cubicBezTo>
                    <a:pt x="109" y="109"/>
                    <a:pt x="108" y="109"/>
                    <a:pt x="108" y="109"/>
                  </a:cubicBezTo>
                  <a:cubicBezTo>
                    <a:pt x="108" y="109"/>
                    <a:pt x="108" y="109"/>
                    <a:pt x="108" y="109"/>
                  </a:cubicBezTo>
                  <a:cubicBezTo>
                    <a:pt x="107" y="109"/>
                    <a:pt x="106" y="109"/>
                    <a:pt x="106" y="109"/>
                  </a:cubicBezTo>
                  <a:cubicBezTo>
                    <a:pt x="106" y="109"/>
                    <a:pt x="106" y="110"/>
                    <a:pt x="106" y="110"/>
                  </a:cubicBezTo>
                  <a:cubicBezTo>
                    <a:pt x="105" y="110"/>
                    <a:pt x="104" y="110"/>
                    <a:pt x="104" y="110"/>
                  </a:cubicBezTo>
                  <a:cubicBezTo>
                    <a:pt x="104" y="110"/>
                    <a:pt x="104" y="110"/>
                    <a:pt x="104" y="110"/>
                  </a:cubicBezTo>
                  <a:cubicBezTo>
                    <a:pt x="103" y="110"/>
                    <a:pt x="102" y="110"/>
                    <a:pt x="101" y="110"/>
                  </a:cubicBezTo>
                  <a:cubicBezTo>
                    <a:pt x="101" y="110"/>
                    <a:pt x="101" y="110"/>
                    <a:pt x="101" y="110"/>
                  </a:cubicBezTo>
                  <a:cubicBezTo>
                    <a:pt x="100" y="110"/>
                    <a:pt x="100" y="110"/>
                    <a:pt x="99" y="110"/>
                  </a:cubicBezTo>
                  <a:cubicBezTo>
                    <a:pt x="99" y="110"/>
                    <a:pt x="99" y="111"/>
                    <a:pt x="99" y="111"/>
                  </a:cubicBezTo>
                  <a:cubicBezTo>
                    <a:pt x="95" y="111"/>
                    <a:pt x="90" y="111"/>
                    <a:pt x="86" y="112"/>
                  </a:cubicBezTo>
                  <a:cubicBezTo>
                    <a:pt x="86" y="111"/>
                    <a:pt x="85" y="111"/>
                    <a:pt x="85" y="111"/>
                  </a:cubicBezTo>
                  <a:cubicBezTo>
                    <a:pt x="85" y="111"/>
                    <a:pt x="85" y="111"/>
                    <a:pt x="85" y="110"/>
                  </a:cubicBezTo>
                  <a:cubicBezTo>
                    <a:pt x="85" y="110"/>
                    <a:pt x="85" y="110"/>
                    <a:pt x="85" y="110"/>
                  </a:cubicBezTo>
                  <a:cubicBezTo>
                    <a:pt x="84" y="110"/>
                    <a:pt x="84" y="109"/>
                    <a:pt x="84" y="109"/>
                  </a:cubicBezTo>
                  <a:cubicBezTo>
                    <a:pt x="84" y="109"/>
                    <a:pt x="84" y="108"/>
                    <a:pt x="83" y="108"/>
                  </a:cubicBezTo>
                  <a:cubicBezTo>
                    <a:pt x="83" y="108"/>
                    <a:pt x="83" y="108"/>
                    <a:pt x="83" y="108"/>
                  </a:cubicBezTo>
                  <a:cubicBezTo>
                    <a:pt x="83" y="107"/>
                    <a:pt x="83" y="107"/>
                    <a:pt x="83" y="107"/>
                  </a:cubicBezTo>
                  <a:cubicBezTo>
                    <a:pt x="83" y="107"/>
                    <a:pt x="83" y="107"/>
                    <a:pt x="83" y="107"/>
                  </a:cubicBezTo>
                  <a:cubicBezTo>
                    <a:pt x="83" y="106"/>
                    <a:pt x="82" y="106"/>
                    <a:pt x="82" y="106"/>
                  </a:cubicBezTo>
                  <a:cubicBezTo>
                    <a:pt x="82" y="106"/>
                    <a:pt x="82" y="106"/>
                    <a:pt x="82" y="105"/>
                  </a:cubicBezTo>
                  <a:cubicBezTo>
                    <a:pt x="82" y="105"/>
                    <a:pt x="82" y="105"/>
                    <a:pt x="81" y="105"/>
                  </a:cubicBezTo>
                  <a:cubicBezTo>
                    <a:pt x="81" y="105"/>
                    <a:pt x="81" y="105"/>
                    <a:pt x="81" y="104"/>
                  </a:cubicBezTo>
                  <a:cubicBezTo>
                    <a:pt x="81" y="104"/>
                    <a:pt x="80" y="104"/>
                    <a:pt x="80" y="103"/>
                  </a:cubicBezTo>
                  <a:cubicBezTo>
                    <a:pt x="80" y="103"/>
                    <a:pt x="80" y="103"/>
                    <a:pt x="80" y="102"/>
                  </a:cubicBezTo>
                  <a:cubicBezTo>
                    <a:pt x="79" y="102"/>
                    <a:pt x="78" y="101"/>
                    <a:pt x="78" y="101"/>
                  </a:cubicBezTo>
                  <a:cubicBezTo>
                    <a:pt x="78" y="100"/>
                    <a:pt x="78" y="100"/>
                    <a:pt x="78" y="100"/>
                  </a:cubicBezTo>
                  <a:cubicBezTo>
                    <a:pt x="77" y="100"/>
                    <a:pt x="77" y="100"/>
                    <a:pt x="77" y="100"/>
                  </a:cubicBezTo>
                  <a:cubicBezTo>
                    <a:pt x="77" y="99"/>
                    <a:pt x="77" y="99"/>
                    <a:pt x="77" y="99"/>
                  </a:cubicBezTo>
                  <a:cubicBezTo>
                    <a:pt x="76" y="99"/>
                    <a:pt x="76" y="99"/>
                    <a:pt x="76" y="98"/>
                  </a:cubicBezTo>
                  <a:cubicBezTo>
                    <a:pt x="76" y="98"/>
                    <a:pt x="76" y="98"/>
                    <a:pt x="76" y="98"/>
                  </a:cubicBezTo>
                  <a:cubicBezTo>
                    <a:pt x="75" y="97"/>
                    <a:pt x="75" y="97"/>
                    <a:pt x="74" y="96"/>
                  </a:cubicBezTo>
                  <a:cubicBezTo>
                    <a:pt x="74" y="96"/>
                    <a:pt x="74" y="96"/>
                    <a:pt x="74" y="96"/>
                  </a:cubicBezTo>
                  <a:cubicBezTo>
                    <a:pt x="73" y="95"/>
                    <a:pt x="73" y="95"/>
                    <a:pt x="72" y="94"/>
                  </a:cubicBezTo>
                  <a:cubicBezTo>
                    <a:pt x="72" y="94"/>
                    <a:pt x="72" y="93"/>
                    <a:pt x="72" y="93"/>
                  </a:cubicBezTo>
                  <a:cubicBezTo>
                    <a:pt x="72" y="93"/>
                    <a:pt x="71" y="93"/>
                    <a:pt x="71" y="93"/>
                  </a:cubicBezTo>
                  <a:cubicBezTo>
                    <a:pt x="71" y="93"/>
                    <a:pt x="71" y="92"/>
                    <a:pt x="71" y="92"/>
                  </a:cubicBezTo>
                  <a:cubicBezTo>
                    <a:pt x="70" y="92"/>
                    <a:pt x="70" y="92"/>
                    <a:pt x="70" y="92"/>
                  </a:cubicBezTo>
                  <a:cubicBezTo>
                    <a:pt x="70" y="92"/>
                    <a:pt x="70" y="91"/>
                    <a:pt x="70" y="91"/>
                  </a:cubicBezTo>
                  <a:cubicBezTo>
                    <a:pt x="70" y="91"/>
                    <a:pt x="69" y="90"/>
                    <a:pt x="68" y="90"/>
                  </a:cubicBezTo>
                  <a:cubicBezTo>
                    <a:pt x="68" y="90"/>
                    <a:pt x="68" y="89"/>
                    <a:pt x="68" y="89"/>
                  </a:cubicBezTo>
                  <a:cubicBezTo>
                    <a:pt x="68" y="88"/>
                    <a:pt x="67" y="88"/>
                    <a:pt x="66" y="87"/>
                  </a:cubicBezTo>
                  <a:cubicBezTo>
                    <a:pt x="66" y="87"/>
                    <a:pt x="66" y="87"/>
                    <a:pt x="66" y="87"/>
                  </a:cubicBezTo>
                  <a:cubicBezTo>
                    <a:pt x="66" y="86"/>
                    <a:pt x="65" y="86"/>
                    <a:pt x="65" y="85"/>
                  </a:cubicBezTo>
                  <a:cubicBezTo>
                    <a:pt x="65" y="85"/>
                    <a:pt x="65" y="85"/>
                    <a:pt x="65" y="85"/>
                  </a:cubicBezTo>
                  <a:cubicBezTo>
                    <a:pt x="64" y="84"/>
                    <a:pt x="63" y="84"/>
                    <a:pt x="63" y="83"/>
                  </a:cubicBezTo>
                  <a:cubicBezTo>
                    <a:pt x="63" y="83"/>
                    <a:pt x="63" y="83"/>
                    <a:pt x="63" y="82"/>
                  </a:cubicBezTo>
                  <a:cubicBezTo>
                    <a:pt x="63" y="82"/>
                    <a:pt x="63" y="82"/>
                    <a:pt x="62" y="82"/>
                  </a:cubicBezTo>
                  <a:cubicBezTo>
                    <a:pt x="62" y="82"/>
                    <a:pt x="62" y="81"/>
                    <a:pt x="61" y="81"/>
                  </a:cubicBezTo>
                  <a:cubicBezTo>
                    <a:pt x="55" y="80"/>
                    <a:pt x="48" y="79"/>
                    <a:pt x="42" y="78"/>
                  </a:cubicBezTo>
                  <a:cubicBezTo>
                    <a:pt x="35" y="82"/>
                    <a:pt x="27" y="85"/>
                    <a:pt x="20" y="89"/>
                  </a:cubicBezTo>
                  <a:cubicBezTo>
                    <a:pt x="20" y="88"/>
                    <a:pt x="18" y="85"/>
                    <a:pt x="18" y="85"/>
                  </a:cubicBezTo>
                  <a:cubicBezTo>
                    <a:pt x="17" y="85"/>
                    <a:pt x="17" y="85"/>
                    <a:pt x="16" y="85"/>
                  </a:cubicBezTo>
                  <a:cubicBezTo>
                    <a:pt x="15" y="84"/>
                    <a:pt x="14" y="84"/>
                    <a:pt x="12" y="84"/>
                  </a:cubicBezTo>
                  <a:cubicBezTo>
                    <a:pt x="12" y="84"/>
                    <a:pt x="12" y="84"/>
                    <a:pt x="12" y="83"/>
                  </a:cubicBezTo>
                  <a:cubicBezTo>
                    <a:pt x="12" y="83"/>
                    <a:pt x="11" y="83"/>
                    <a:pt x="11" y="83"/>
                  </a:cubicBezTo>
                  <a:cubicBezTo>
                    <a:pt x="7" y="82"/>
                    <a:pt x="3" y="82"/>
                    <a:pt x="0" y="81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</a:ln>
            <a:effectLst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64800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4000" b="1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0000"/>
                </a:solidFill>
                <a:latin typeface="UKIJ Qolyazma" pitchFamily="18" charset="0"/>
                <a:cs typeface="UKIJ Qolyazma" pitchFamily="18" charset="0"/>
              </a:endParaRPr>
            </a:p>
          </p:txBody>
        </p:sp>
        <p:sp>
          <p:nvSpPr>
            <p:cNvPr id="108" name="Freeform 20">
              <a:extLst>
                <a:ext uri="{FF2B5EF4-FFF2-40B4-BE49-F238E27FC236}">
                  <a16:creationId xmlns:a16="http://schemas.microsoft.com/office/drawing/2014/main" id="{263C256E-6A91-C7A7-BF08-BFFBED703AD6}"/>
                </a:ext>
              </a:extLst>
            </p:cNvPr>
            <p:cNvSpPr>
              <a:spLocks/>
            </p:cNvSpPr>
            <p:nvPr/>
          </p:nvSpPr>
          <p:spPr bwMode="auto">
            <a:xfrm>
              <a:off x="8605774" y="2162346"/>
              <a:ext cx="716419" cy="677304"/>
            </a:xfrm>
            <a:custGeom>
              <a:avLst/>
              <a:gdLst>
                <a:gd name="T0" fmla="*/ 194 w 329"/>
                <a:gd name="T1" fmla="*/ 252 h 311"/>
                <a:gd name="T2" fmla="*/ 184 w 329"/>
                <a:gd name="T3" fmla="*/ 257 h 311"/>
                <a:gd name="T4" fmla="*/ 171 w 329"/>
                <a:gd name="T5" fmla="*/ 262 h 311"/>
                <a:gd name="T6" fmla="*/ 160 w 329"/>
                <a:gd name="T7" fmla="*/ 266 h 311"/>
                <a:gd name="T8" fmla="*/ 94 w 329"/>
                <a:gd name="T9" fmla="*/ 263 h 311"/>
                <a:gd name="T10" fmla="*/ 87 w 329"/>
                <a:gd name="T11" fmla="*/ 240 h 311"/>
                <a:gd name="T12" fmla="*/ 81 w 329"/>
                <a:gd name="T13" fmla="*/ 235 h 311"/>
                <a:gd name="T14" fmla="*/ 74 w 329"/>
                <a:gd name="T15" fmla="*/ 232 h 311"/>
                <a:gd name="T16" fmla="*/ 66 w 329"/>
                <a:gd name="T17" fmla="*/ 229 h 311"/>
                <a:gd name="T18" fmla="*/ 66 w 329"/>
                <a:gd name="T19" fmla="*/ 222 h 311"/>
                <a:gd name="T20" fmla="*/ 63 w 329"/>
                <a:gd name="T21" fmla="*/ 200 h 311"/>
                <a:gd name="T22" fmla="*/ 64 w 329"/>
                <a:gd name="T23" fmla="*/ 173 h 311"/>
                <a:gd name="T24" fmla="*/ 67 w 329"/>
                <a:gd name="T25" fmla="*/ 166 h 311"/>
                <a:gd name="T26" fmla="*/ 70 w 329"/>
                <a:gd name="T27" fmla="*/ 160 h 311"/>
                <a:gd name="T28" fmla="*/ 72 w 329"/>
                <a:gd name="T29" fmla="*/ 153 h 311"/>
                <a:gd name="T30" fmla="*/ 60 w 329"/>
                <a:gd name="T31" fmla="*/ 124 h 311"/>
                <a:gd name="T32" fmla="*/ 49 w 329"/>
                <a:gd name="T33" fmla="*/ 116 h 311"/>
                <a:gd name="T34" fmla="*/ 25 w 329"/>
                <a:gd name="T35" fmla="*/ 94 h 311"/>
                <a:gd name="T36" fmla="*/ 19 w 329"/>
                <a:gd name="T37" fmla="*/ 83 h 311"/>
                <a:gd name="T38" fmla="*/ 3 w 329"/>
                <a:gd name="T39" fmla="*/ 42 h 311"/>
                <a:gd name="T40" fmla="*/ 47 w 329"/>
                <a:gd name="T41" fmla="*/ 28 h 311"/>
                <a:gd name="T42" fmla="*/ 54 w 329"/>
                <a:gd name="T43" fmla="*/ 24 h 311"/>
                <a:gd name="T44" fmla="*/ 61 w 329"/>
                <a:gd name="T45" fmla="*/ 21 h 311"/>
                <a:gd name="T46" fmla="*/ 67 w 329"/>
                <a:gd name="T47" fmla="*/ 17 h 311"/>
                <a:gd name="T48" fmla="*/ 80 w 329"/>
                <a:gd name="T49" fmla="*/ 21 h 311"/>
                <a:gd name="T50" fmla="*/ 85 w 329"/>
                <a:gd name="T51" fmla="*/ 24 h 311"/>
                <a:gd name="T52" fmla="*/ 90 w 329"/>
                <a:gd name="T53" fmla="*/ 27 h 311"/>
                <a:gd name="T54" fmla="*/ 145 w 329"/>
                <a:gd name="T55" fmla="*/ 15 h 311"/>
                <a:gd name="T56" fmla="*/ 159 w 329"/>
                <a:gd name="T57" fmla="*/ 16 h 311"/>
                <a:gd name="T58" fmla="*/ 164 w 329"/>
                <a:gd name="T59" fmla="*/ 18 h 311"/>
                <a:gd name="T60" fmla="*/ 168 w 329"/>
                <a:gd name="T61" fmla="*/ 21 h 311"/>
                <a:gd name="T62" fmla="*/ 175 w 329"/>
                <a:gd name="T63" fmla="*/ 24 h 311"/>
                <a:gd name="T64" fmla="*/ 184 w 329"/>
                <a:gd name="T65" fmla="*/ 29 h 311"/>
                <a:gd name="T66" fmla="*/ 191 w 329"/>
                <a:gd name="T67" fmla="*/ 32 h 311"/>
                <a:gd name="T68" fmla="*/ 197 w 329"/>
                <a:gd name="T69" fmla="*/ 29 h 311"/>
                <a:gd name="T70" fmla="*/ 206 w 329"/>
                <a:gd name="T71" fmla="*/ 26 h 311"/>
                <a:gd name="T72" fmla="*/ 228 w 329"/>
                <a:gd name="T73" fmla="*/ 9 h 311"/>
                <a:gd name="T74" fmla="*/ 239 w 329"/>
                <a:gd name="T75" fmla="*/ 18 h 311"/>
                <a:gd name="T76" fmla="*/ 247 w 329"/>
                <a:gd name="T77" fmla="*/ 24 h 311"/>
                <a:gd name="T78" fmla="*/ 256 w 329"/>
                <a:gd name="T79" fmla="*/ 30 h 311"/>
                <a:gd name="T80" fmla="*/ 263 w 329"/>
                <a:gd name="T81" fmla="*/ 43 h 311"/>
                <a:gd name="T82" fmla="*/ 283 w 329"/>
                <a:gd name="T83" fmla="*/ 78 h 311"/>
                <a:gd name="T84" fmla="*/ 307 w 329"/>
                <a:gd name="T85" fmla="*/ 104 h 311"/>
                <a:gd name="T86" fmla="*/ 325 w 329"/>
                <a:gd name="T87" fmla="*/ 152 h 311"/>
                <a:gd name="T88" fmla="*/ 320 w 329"/>
                <a:gd name="T89" fmla="*/ 160 h 311"/>
                <a:gd name="T90" fmla="*/ 303 w 329"/>
                <a:gd name="T91" fmla="*/ 222 h 311"/>
                <a:gd name="T92" fmla="*/ 294 w 329"/>
                <a:gd name="T93" fmla="*/ 230 h 311"/>
                <a:gd name="T94" fmla="*/ 286 w 329"/>
                <a:gd name="T95" fmla="*/ 235 h 311"/>
                <a:gd name="T96" fmla="*/ 277 w 329"/>
                <a:gd name="T97" fmla="*/ 240 h 311"/>
                <a:gd name="T98" fmla="*/ 264 w 329"/>
                <a:gd name="T99" fmla="*/ 247 h 311"/>
                <a:gd name="T100" fmla="*/ 253 w 329"/>
                <a:gd name="T101" fmla="*/ 254 h 311"/>
                <a:gd name="T102" fmla="*/ 242 w 329"/>
                <a:gd name="T103" fmla="*/ 267 h 311"/>
                <a:gd name="T104" fmla="*/ 237 w 329"/>
                <a:gd name="T105" fmla="*/ 274 h 311"/>
                <a:gd name="T106" fmla="*/ 232 w 329"/>
                <a:gd name="T107" fmla="*/ 284 h 311"/>
                <a:gd name="T108" fmla="*/ 227 w 329"/>
                <a:gd name="T109" fmla="*/ 291 h 311"/>
                <a:gd name="T110" fmla="*/ 225 w 329"/>
                <a:gd name="T111" fmla="*/ 296 h 311"/>
                <a:gd name="T112" fmla="*/ 222 w 329"/>
                <a:gd name="T113" fmla="*/ 301 h 311"/>
                <a:gd name="T114" fmla="*/ 214 w 329"/>
                <a:gd name="T115" fmla="*/ 307 h 311"/>
                <a:gd name="T116" fmla="*/ 211 w 329"/>
                <a:gd name="T117" fmla="*/ 300 h 311"/>
                <a:gd name="T118" fmla="*/ 208 w 329"/>
                <a:gd name="T119" fmla="*/ 293 h 311"/>
                <a:gd name="T120" fmla="*/ 201 w 329"/>
                <a:gd name="T121" fmla="*/ 24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29" h="311">
                  <a:moveTo>
                    <a:pt x="201" y="249"/>
                  </a:moveTo>
                  <a:cubicBezTo>
                    <a:pt x="200" y="249"/>
                    <a:pt x="199" y="250"/>
                    <a:pt x="198" y="250"/>
                  </a:cubicBezTo>
                  <a:cubicBezTo>
                    <a:pt x="198" y="250"/>
                    <a:pt x="198" y="250"/>
                    <a:pt x="198" y="250"/>
                  </a:cubicBezTo>
                  <a:cubicBezTo>
                    <a:pt x="198" y="251"/>
                    <a:pt x="197" y="251"/>
                    <a:pt x="197" y="251"/>
                  </a:cubicBezTo>
                  <a:cubicBezTo>
                    <a:pt x="197" y="251"/>
                    <a:pt x="197" y="251"/>
                    <a:pt x="197" y="251"/>
                  </a:cubicBezTo>
                  <a:cubicBezTo>
                    <a:pt x="197" y="251"/>
                    <a:pt x="197" y="251"/>
                    <a:pt x="197" y="251"/>
                  </a:cubicBezTo>
                  <a:cubicBezTo>
                    <a:pt x="196" y="251"/>
                    <a:pt x="196" y="251"/>
                    <a:pt x="196" y="251"/>
                  </a:cubicBezTo>
                  <a:cubicBezTo>
                    <a:pt x="196" y="252"/>
                    <a:pt x="196" y="252"/>
                    <a:pt x="196" y="252"/>
                  </a:cubicBezTo>
                  <a:cubicBezTo>
                    <a:pt x="196" y="252"/>
                    <a:pt x="195" y="252"/>
                    <a:pt x="195" y="252"/>
                  </a:cubicBezTo>
                  <a:cubicBezTo>
                    <a:pt x="195" y="252"/>
                    <a:pt x="195" y="252"/>
                    <a:pt x="195" y="252"/>
                  </a:cubicBezTo>
                  <a:cubicBezTo>
                    <a:pt x="195" y="252"/>
                    <a:pt x="195" y="252"/>
                    <a:pt x="195" y="252"/>
                  </a:cubicBezTo>
                  <a:cubicBezTo>
                    <a:pt x="195" y="252"/>
                    <a:pt x="195" y="252"/>
                    <a:pt x="195" y="252"/>
                  </a:cubicBezTo>
                  <a:cubicBezTo>
                    <a:pt x="194" y="252"/>
                    <a:pt x="194" y="252"/>
                    <a:pt x="194" y="252"/>
                  </a:cubicBezTo>
                  <a:cubicBezTo>
                    <a:pt x="194" y="253"/>
                    <a:pt x="194" y="253"/>
                    <a:pt x="194" y="253"/>
                  </a:cubicBezTo>
                  <a:cubicBezTo>
                    <a:pt x="193" y="253"/>
                    <a:pt x="193" y="253"/>
                    <a:pt x="192" y="253"/>
                  </a:cubicBezTo>
                  <a:cubicBezTo>
                    <a:pt x="192" y="253"/>
                    <a:pt x="192" y="254"/>
                    <a:pt x="192" y="254"/>
                  </a:cubicBezTo>
                  <a:cubicBezTo>
                    <a:pt x="191" y="254"/>
                    <a:pt x="191" y="254"/>
                    <a:pt x="190" y="255"/>
                  </a:cubicBezTo>
                  <a:cubicBezTo>
                    <a:pt x="190" y="255"/>
                    <a:pt x="190" y="255"/>
                    <a:pt x="190" y="255"/>
                  </a:cubicBezTo>
                  <a:cubicBezTo>
                    <a:pt x="190" y="255"/>
                    <a:pt x="190" y="255"/>
                    <a:pt x="189" y="255"/>
                  </a:cubicBezTo>
                  <a:cubicBezTo>
                    <a:pt x="189" y="255"/>
                    <a:pt x="189" y="255"/>
                    <a:pt x="189" y="255"/>
                  </a:cubicBezTo>
                  <a:cubicBezTo>
                    <a:pt x="189" y="256"/>
                    <a:pt x="188" y="256"/>
                    <a:pt x="187" y="256"/>
                  </a:cubicBezTo>
                  <a:cubicBezTo>
                    <a:pt x="187" y="256"/>
                    <a:pt x="187" y="256"/>
                    <a:pt x="187" y="256"/>
                  </a:cubicBezTo>
                  <a:cubicBezTo>
                    <a:pt x="186" y="256"/>
                    <a:pt x="186" y="257"/>
                    <a:pt x="185" y="257"/>
                  </a:cubicBezTo>
                  <a:cubicBezTo>
                    <a:pt x="185" y="257"/>
                    <a:pt x="185" y="257"/>
                    <a:pt x="185" y="257"/>
                  </a:cubicBezTo>
                  <a:cubicBezTo>
                    <a:pt x="185" y="257"/>
                    <a:pt x="185" y="257"/>
                    <a:pt x="184" y="257"/>
                  </a:cubicBezTo>
                  <a:cubicBezTo>
                    <a:pt x="184" y="257"/>
                    <a:pt x="184" y="257"/>
                    <a:pt x="184" y="257"/>
                  </a:cubicBezTo>
                  <a:cubicBezTo>
                    <a:pt x="183" y="258"/>
                    <a:pt x="182" y="258"/>
                    <a:pt x="181" y="258"/>
                  </a:cubicBezTo>
                  <a:cubicBezTo>
                    <a:pt x="181" y="258"/>
                    <a:pt x="181" y="258"/>
                    <a:pt x="181" y="258"/>
                  </a:cubicBezTo>
                  <a:cubicBezTo>
                    <a:pt x="181" y="258"/>
                    <a:pt x="181" y="258"/>
                    <a:pt x="181" y="258"/>
                  </a:cubicBezTo>
                  <a:cubicBezTo>
                    <a:pt x="181" y="259"/>
                    <a:pt x="181" y="259"/>
                    <a:pt x="181" y="259"/>
                  </a:cubicBezTo>
                  <a:cubicBezTo>
                    <a:pt x="179" y="259"/>
                    <a:pt x="178" y="259"/>
                    <a:pt x="177" y="259"/>
                  </a:cubicBezTo>
                  <a:cubicBezTo>
                    <a:pt x="177" y="260"/>
                    <a:pt x="177" y="260"/>
                    <a:pt x="177" y="260"/>
                  </a:cubicBezTo>
                  <a:cubicBezTo>
                    <a:pt x="177" y="260"/>
                    <a:pt x="177" y="260"/>
                    <a:pt x="177" y="260"/>
                  </a:cubicBezTo>
                  <a:cubicBezTo>
                    <a:pt x="177" y="260"/>
                    <a:pt x="177" y="260"/>
                    <a:pt x="177" y="260"/>
                  </a:cubicBezTo>
                  <a:cubicBezTo>
                    <a:pt x="176" y="260"/>
                    <a:pt x="175" y="261"/>
                    <a:pt x="174" y="261"/>
                  </a:cubicBezTo>
                  <a:cubicBezTo>
                    <a:pt x="174" y="261"/>
                    <a:pt x="174" y="261"/>
                    <a:pt x="174" y="261"/>
                  </a:cubicBezTo>
                  <a:cubicBezTo>
                    <a:pt x="173" y="261"/>
                    <a:pt x="173" y="261"/>
                    <a:pt x="173" y="261"/>
                  </a:cubicBezTo>
                  <a:cubicBezTo>
                    <a:pt x="173" y="261"/>
                    <a:pt x="173" y="261"/>
                    <a:pt x="173" y="262"/>
                  </a:cubicBezTo>
                  <a:cubicBezTo>
                    <a:pt x="172" y="262"/>
                    <a:pt x="171" y="262"/>
                    <a:pt x="171" y="262"/>
                  </a:cubicBezTo>
                  <a:cubicBezTo>
                    <a:pt x="171" y="262"/>
                    <a:pt x="171" y="262"/>
                    <a:pt x="171" y="262"/>
                  </a:cubicBezTo>
                  <a:cubicBezTo>
                    <a:pt x="170" y="262"/>
                    <a:pt x="169" y="263"/>
                    <a:pt x="169" y="263"/>
                  </a:cubicBezTo>
                  <a:cubicBezTo>
                    <a:pt x="169" y="263"/>
                    <a:pt x="169" y="263"/>
                    <a:pt x="169" y="263"/>
                  </a:cubicBezTo>
                  <a:cubicBezTo>
                    <a:pt x="168" y="263"/>
                    <a:pt x="168" y="263"/>
                    <a:pt x="168" y="263"/>
                  </a:cubicBezTo>
                  <a:cubicBezTo>
                    <a:pt x="168" y="263"/>
                    <a:pt x="168" y="263"/>
                    <a:pt x="168" y="263"/>
                  </a:cubicBezTo>
                  <a:cubicBezTo>
                    <a:pt x="167" y="264"/>
                    <a:pt x="166" y="264"/>
                    <a:pt x="165" y="264"/>
                  </a:cubicBezTo>
                  <a:cubicBezTo>
                    <a:pt x="165" y="264"/>
                    <a:pt x="165" y="264"/>
                    <a:pt x="165" y="264"/>
                  </a:cubicBezTo>
                  <a:cubicBezTo>
                    <a:pt x="165" y="264"/>
                    <a:pt x="164" y="264"/>
                    <a:pt x="164" y="264"/>
                  </a:cubicBezTo>
                  <a:cubicBezTo>
                    <a:pt x="164" y="264"/>
                    <a:pt x="164" y="265"/>
                    <a:pt x="164" y="265"/>
                  </a:cubicBezTo>
                  <a:cubicBezTo>
                    <a:pt x="163" y="265"/>
                    <a:pt x="162" y="265"/>
                    <a:pt x="161" y="265"/>
                  </a:cubicBezTo>
                  <a:cubicBezTo>
                    <a:pt x="161" y="266"/>
                    <a:pt x="161" y="266"/>
                    <a:pt x="161" y="266"/>
                  </a:cubicBezTo>
                  <a:cubicBezTo>
                    <a:pt x="161" y="266"/>
                    <a:pt x="160" y="266"/>
                    <a:pt x="160" y="266"/>
                  </a:cubicBezTo>
                  <a:cubicBezTo>
                    <a:pt x="160" y="266"/>
                    <a:pt x="160" y="266"/>
                    <a:pt x="160" y="266"/>
                  </a:cubicBezTo>
                  <a:cubicBezTo>
                    <a:pt x="160" y="266"/>
                    <a:pt x="159" y="266"/>
                    <a:pt x="158" y="266"/>
                  </a:cubicBezTo>
                  <a:cubicBezTo>
                    <a:pt x="158" y="267"/>
                    <a:pt x="158" y="267"/>
                    <a:pt x="158" y="267"/>
                  </a:cubicBezTo>
                  <a:cubicBezTo>
                    <a:pt x="147" y="267"/>
                    <a:pt x="136" y="268"/>
                    <a:pt x="125" y="268"/>
                  </a:cubicBezTo>
                  <a:cubicBezTo>
                    <a:pt x="117" y="268"/>
                    <a:pt x="108" y="270"/>
                    <a:pt x="101" y="268"/>
                  </a:cubicBezTo>
                  <a:cubicBezTo>
                    <a:pt x="100" y="267"/>
                    <a:pt x="98" y="267"/>
                    <a:pt x="97" y="267"/>
                  </a:cubicBezTo>
                  <a:cubicBezTo>
                    <a:pt x="97" y="267"/>
                    <a:pt x="97" y="267"/>
                    <a:pt x="97" y="267"/>
                  </a:cubicBezTo>
                  <a:cubicBezTo>
                    <a:pt x="96" y="267"/>
                    <a:pt x="96" y="267"/>
                    <a:pt x="96" y="267"/>
                  </a:cubicBezTo>
                  <a:cubicBezTo>
                    <a:pt x="96" y="267"/>
                    <a:pt x="96" y="267"/>
                    <a:pt x="96" y="266"/>
                  </a:cubicBezTo>
                  <a:cubicBezTo>
                    <a:pt x="95" y="266"/>
                    <a:pt x="95" y="266"/>
                    <a:pt x="95" y="266"/>
                  </a:cubicBezTo>
                  <a:cubicBezTo>
                    <a:pt x="95" y="266"/>
                    <a:pt x="95" y="265"/>
                    <a:pt x="95" y="264"/>
                  </a:cubicBezTo>
                  <a:cubicBezTo>
                    <a:pt x="95" y="264"/>
                    <a:pt x="95" y="264"/>
                    <a:pt x="95" y="264"/>
                  </a:cubicBezTo>
                  <a:cubicBezTo>
                    <a:pt x="95" y="264"/>
                    <a:pt x="95" y="263"/>
                    <a:pt x="95" y="263"/>
                  </a:cubicBezTo>
                  <a:cubicBezTo>
                    <a:pt x="94" y="263"/>
                    <a:pt x="94" y="263"/>
                    <a:pt x="94" y="263"/>
                  </a:cubicBezTo>
                  <a:cubicBezTo>
                    <a:pt x="94" y="263"/>
                    <a:pt x="94" y="262"/>
                    <a:pt x="94" y="262"/>
                  </a:cubicBezTo>
                  <a:cubicBezTo>
                    <a:pt x="94" y="262"/>
                    <a:pt x="94" y="262"/>
                    <a:pt x="94" y="262"/>
                  </a:cubicBezTo>
                  <a:cubicBezTo>
                    <a:pt x="94" y="262"/>
                    <a:pt x="94" y="261"/>
                    <a:pt x="94" y="261"/>
                  </a:cubicBezTo>
                  <a:cubicBezTo>
                    <a:pt x="94" y="261"/>
                    <a:pt x="94" y="261"/>
                    <a:pt x="93" y="261"/>
                  </a:cubicBezTo>
                  <a:cubicBezTo>
                    <a:pt x="93" y="260"/>
                    <a:pt x="93" y="260"/>
                    <a:pt x="93" y="259"/>
                  </a:cubicBezTo>
                  <a:cubicBezTo>
                    <a:pt x="92" y="254"/>
                    <a:pt x="90" y="249"/>
                    <a:pt x="88" y="244"/>
                  </a:cubicBezTo>
                  <a:cubicBezTo>
                    <a:pt x="88" y="243"/>
                    <a:pt x="88" y="243"/>
                    <a:pt x="88" y="243"/>
                  </a:cubicBezTo>
                  <a:cubicBezTo>
                    <a:pt x="88" y="243"/>
                    <a:pt x="88" y="243"/>
                    <a:pt x="88" y="243"/>
                  </a:cubicBezTo>
                  <a:cubicBezTo>
                    <a:pt x="88" y="242"/>
                    <a:pt x="88" y="242"/>
                    <a:pt x="88" y="242"/>
                  </a:cubicBezTo>
                  <a:cubicBezTo>
                    <a:pt x="88" y="242"/>
                    <a:pt x="88" y="242"/>
                    <a:pt x="88" y="242"/>
                  </a:cubicBezTo>
                  <a:cubicBezTo>
                    <a:pt x="88" y="241"/>
                    <a:pt x="88" y="241"/>
                    <a:pt x="88" y="241"/>
                  </a:cubicBezTo>
                  <a:cubicBezTo>
                    <a:pt x="87" y="241"/>
                    <a:pt x="87" y="241"/>
                    <a:pt x="87" y="241"/>
                  </a:cubicBezTo>
                  <a:cubicBezTo>
                    <a:pt x="87" y="240"/>
                    <a:pt x="87" y="240"/>
                    <a:pt x="87" y="240"/>
                  </a:cubicBezTo>
                  <a:cubicBezTo>
                    <a:pt x="87" y="240"/>
                    <a:pt x="87" y="240"/>
                    <a:pt x="87" y="240"/>
                  </a:cubicBezTo>
                  <a:cubicBezTo>
                    <a:pt x="87" y="239"/>
                    <a:pt x="87" y="238"/>
                    <a:pt x="86" y="237"/>
                  </a:cubicBezTo>
                  <a:cubicBezTo>
                    <a:pt x="86" y="237"/>
                    <a:pt x="86" y="237"/>
                    <a:pt x="86" y="237"/>
                  </a:cubicBezTo>
                  <a:cubicBezTo>
                    <a:pt x="86" y="237"/>
                    <a:pt x="86" y="237"/>
                    <a:pt x="86" y="237"/>
                  </a:cubicBezTo>
                  <a:cubicBezTo>
                    <a:pt x="86" y="237"/>
                    <a:pt x="85" y="237"/>
                    <a:pt x="84" y="237"/>
                  </a:cubicBezTo>
                  <a:cubicBezTo>
                    <a:pt x="84" y="237"/>
                    <a:pt x="84" y="237"/>
                    <a:pt x="84" y="236"/>
                  </a:cubicBezTo>
                  <a:cubicBezTo>
                    <a:pt x="84" y="236"/>
                    <a:pt x="84" y="236"/>
                    <a:pt x="84" y="236"/>
                  </a:cubicBezTo>
                  <a:cubicBezTo>
                    <a:pt x="84" y="236"/>
                    <a:pt x="84" y="236"/>
                    <a:pt x="84" y="236"/>
                  </a:cubicBezTo>
                  <a:cubicBezTo>
                    <a:pt x="83" y="236"/>
                    <a:pt x="83" y="236"/>
                    <a:pt x="83" y="236"/>
                  </a:cubicBezTo>
                  <a:cubicBezTo>
                    <a:pt x="83" y="236"/>
                    <a:pt x="83" y="236"/>
                    <a:pt x="83" y="236"/>
                  </a:cubicBezTo>
                  <a:cubicBezTo>
                    <a:pt x="83" y="236"/>
                    <a:pt x="82" y="236"/>
                    <a:pt x="82" y="236"/>
                  </a:cubicBezTo>
                  <a:cubicBezTo>
                    <a:pt x="82" y="236"/>
                    <a:pt x="82" y="235"/>
                    <a:pt x="82" y="235"/>
                  </a:cubicBezTo>
                  <a:cubicBezTo>
                    <a:pt x="81" y="235"/>
                    <a:pt x="81" y="235"/>
                    <a:pt x="81" y="235"/>
                  </a:cubicBezTo>
                  <a:cubicBezTo>
                    <a:pt x="81" y="235"/>
                    <a:pt x="81" y="235"/>
                    <a:pt x="81" y="235"/>
                  </a:cubicBezTo>
                  <a:cubicBezTo>
                    <a:pt x="80" y="235"/>
                    <a:pt x="80" y="235"/>
                    <a:pt x="79" y="235"/>
                  </a:cubicBezTo>
                  <a:cubicBezTo>
                    <a:pt x="79" y="235"/>
                    <a:pt x="79" y="234"/>
                    <a:pt x="79" y="234"/>
                  </a:cubicBezTo>
                  <a:cubicBezTo>
                    <a:pt x="79" y="234"/>
                    <a:pt x="79" y="234"/>
                    <a:pt x="79" y="234"/>
                  </a:cubicBezTo>
                  <a:cubicBezTo>
                    <a:pt x="79" y="234"/>
                    <a:pt x="79" y="234"/>
                    <a:pt x="79" y="234"/>
                  </a:cubicBezTo>
                  <a:cubicBezTo>
                    <a:pt x="78" y="234"/>
                    <a:pt x="78" y="234"/>
                    <a:pt x="78" y="234"/>
                  </a:cubicBezTo>
                  <a:cubicBezTo>
                    <a:pt x="78" y="234"/>
                    <a:pt x="78" y="234"/>
                    <a:pt x="78" y="234"/>
                  </a:cubicBezTo>
                  <a:cubicBezTo>
                    <a:pt x="77" y="233"/>
                    <a:pt x="77" y="233"/>
                    <a:pt x="76" y="233"/>
                  </a:cubicBezTo>
                  <a:cubicBezTo>
                    <a:pt x="76" y="233"/>
                    <a:pt x="76" y="233"/>
                    <a:pt x="76" y="233"/>
                  </a:cubicBezTo>
                  <a:cubicBezTo>
                    <a:pt x="76" y="233"/>
                    <a:pt x="76" y="233"/>
                    <a:pt x="75" y="233"/>
                  </a:cubicBezTo>
                  <a:cubicBezTo>
                    <a:pt x="75" y="233"/>
                    <a:pt x="75" y="233"/>
                    <a:pt x="75" y="233"/>
                  </a:cubicBezTo>
                  <a:cubicBezTo>
                    <a:pt x="75" y="232"/>
                    <a:pt x="74" y="232"/>
                    <a:pt x="74" y="232"/>
                  </a:cubicBezTo>
                  <a:cubicBezTo>
                    <a:pt x="74" y="232"/>
                    <a:pt x="74" y="232"/>
                    <a:pt x="74" y="232"/>
                  </a:cubicBezTo>
                  <a:cubicBezTo>
                    <a:pt x="74" y="232"/>
                    <a:pt x="73" y="232"/>
                    <a:pt x="73" y="232"/>
                  </a:cubicBezTo>
                  <a:cubicBezTo>
                    <a:pt x="73" y="232"/>
                    <a:pt x="73" y="232"/>
                    <a:pt x="73" y="232"/>
                  </a:cubicBezTo>
                  <a:cubicBezTo>
                    <a:pt x="72" y="231"/>
                    <a:pt x="72" y="231"/>
                    <a:pt x="71" y="231"/>
                  </a:cubicBezTo>
                  <a:cubicBezTo>
                    <a:pt x="71" y="231"/>
                    <a:pt x="71" y="231"/>
                    <a:pt x="71" y="231"/>
                  </a:cubicBezTo>
                  <a:cubicBezTo>
                    <a:pt x="71" y="231"/>
                    <a:pt x="71" y="231"/>
                    <a:pt x="70" y="231"/>
                  </a:cubicBezTo>
                  <a:cubicBezTo>
                    <a:pt x="70" y="231"/>
                    <a:pt x="70" y="231"/>
                    <a:pt x="70" y="230"/>
                  </a:cubicBezTo>
                  <a:cubicBezTo>
                    <a:pt x="70" y="230"/>
                    <a:pt x="70" y="230"/>
                    <a:pt x="70" y="230"/>
                  </a:cubicBezTo>
                  <a:cubicBezTo>
                    <a:pt x="70" y="230"/>
                    <a:pt x="70" y="230"/>
                    <a:pt x="70" y="230"/>
                  </a:cubicBezTo>
                  <a:cubicBezTo>
                    <a:pt x="69" y="230"/>
                    <a:pt x="69" y="230"/>
                    <a:pt x="69" y="230"/>
                  </a:cubicBezTo>
                  <a:cubicBezTo>
                    <a:pt x="69" y="230"/>
                    <a:pt x="69" y="230"/>
                    <a:pt x="69" y="230"/>
                  </a:cubicBezTo>
                  <a:cubicBezTo>
                    <a:pt x="68" y="230"/>
                    <a:pt x="68" y="230"/>
                    <a:pt x="67" y="229"/>
                  </a:cubicBezTo>
                  <a:cubicBezTo>
                    <a:pt x="67" y="229"/>
                    <a:pt x="67" y="229"/>
                    <a:pt x="67" y="229"/>
                  </a:cubicBezTo>
                  <a:cubicBezTo>
                    <a:pt x="67" y="229"/>
                    <a:pt x="67" y="229"/>
                    <a:pt x="66" y="229"/>
                  </a:cubicBezTo>
                  <a:cubicBezTo>
                    <a:pt x="66" y="229"/>
                    <a:pt x="66" y="229"/>
                    <a:pt x="66" y="229"/>
                  </a:cubicBezTo>
                  <a:cubicBezTo>
                    <a:pt x="66" y="229"/>
                    <a:pt x="65" y="228"/>
                    <a:pt x="65" y="228"/>
                  </a:cubicBezTo>
                  <a:cubicBezTo>
                    <a:pt x="65" y="228"/>
                    <a:pt x="65" y="228"/>
                    <a:pt x="65" y="228"/>
                  </a:cubicBezTo>
                  <a:cubicBezTo>
                    <a:pt x="64" y="228"/>
                    <a:pt x="64" y="228"/>
                    <a:pt x="63" y="228"/>
                  </a:cubicBezTo>
                  <a:cubicBezTo>
                    <a:pt x="63" y="227"/>
                    <a:pt x="63" y="227"/>
                    <a:pt x="63" y="227"/>
                  </a:cubicBezTo>
                  <a:cubicBezTo>
                    <a:pt x="63" y="226"/>
                    <a:pt x="64" y="225"/>
                    <a:pt x="64" y="224"/>
                  </a:cubicBezTo>
                  <a:cubicBezTo>
                    <a:pt x="64" y="224"/>
                    <a:pt x="64" y="224"/>
                    <a:pt x="64" y="224"/>
                  </a:cubicBezTo>
                  <a:cubicBezTo>
                    <a:pt x="64" y="224"/>
                    <a:pt x="64" y="224"/>
                    <a:pt x="64" y="223"/>
                  </a:cubicBezTo>
                  <a:cubicBezTo>
                    <a:pt x="65" y="223"/>
                    <a:pt x="65" y="223"/>
                    <a:pt x="65" y="223"/>
                  </a:cubicBezTo>
                  <a:cubicBezTo>
                    <a:pt x="65" y="223"/>
                    <a:pt x="65" y="223"/>
                    <a:pt x="65" y="223"/>
                  </a:cubicBezTo>
                  <a:cubicBezTo>
                    <a:pt x="65" y="223"/>
                    <a:pt x="65" y="223"/>
                    <a:pt x="65" y="222"/>
                  </a:cubicBezTo>
                  <a:cubicBezTo>
                    <a:pt x="65" y="222"/>
                    <a:pt x="65" y="222"/>
                    <a:pt x="65" y="222"/>
                  </a:cubicBezTo>
                  <a:cubicBezTo>
                    <a:pt x="66" y="222"/>
                    <a:pt x="66" y="222"/>
                    <a:pt x="66" y="222"/>
                  </a:cubicBezTo>
                  <a:cubicBezTo>
                    <a:pt x="66" y="221"/>
                    <a:pt x="66" y="221"/>
                    <a:pt x="66" y="220"/>
                  </a:cubicBezTo>
                  <a:cubicBezTo>
                    <a:pt x="66" y="220"/>
                    <a:pt x="67" y="220"/>
                    <a:pt x="67" y="220"/>
                  </a:cubicBezTo>
                  <a:cubicBezTo>
                    <a:pt x="67" y="219"/>
                    <a:pt x="67" y="219"/>
                    <a:pt x="67" y="219"/>
                  </a:cubicBezTo>
                  <a:cubicBezTo>
                    <a:pt x="67" y="218"/>
                    <a:pt x="68" y="218"/>
                    <a:pt x="68" y="218"/>
                  </a:cubicBezTo>
                  <a:cubicBezTo>
                    <a:pt x="68" y="218"/>
                    <a:pt x="68" y="217"/>
                    <a:pt x="69" y="216"/>
                  </a:cubicBezTo>
                  <a:cubicBezTo>
                    <a:pt x="69" y="216"/>
                    <a:pt x="69" y="216"/>
                    <a:pt x="69" y="216"/>
                  </a:cubicBezTo>
                  <a:cubicBezTo>
                    <a:pt x="70" y="215"/>
                    <a:pt x="70" y="214"/>
                    <a:pt x="70" y="214"/>
                  </a:cubicBezTo>
                  <a:cubicBezTo>
                    <a:pt x="70" y="214"/>
                    <a:pt x="70" y="213"/>
                    <a:pt x="71" y="213"/>
                  </a:cubicBezTo>
                  <a:cubicBezTo>
                    <a:pt x="71" y="213"/>
                    <a:pt x="71" y="212"/>
                    <a:pt x="71" y="212"/>
                  </a:cubicBezTo>
                  <a:cubicBezTo>
                    <a:pt x="71" y="212"/>
                    <a:pt x="72" y="212"/>
                    <a:pt x="72" y="212"/>
                  </a:cubicBezTo>
                  <a:cubicBezTo>
                    <a:pt x="72" y="211"/>
                    <a:pt x="72" y="210"/>
                    <a:pt x="72" y="209"/>
                  </a:cubicBezTo>
                  <a:cubicBezTo>
                    <a:pt x="71" y="209"/>
                    <a:pt x="71" y="208"/>
                    <a:pt x="70" y="207"/>
                  </a:cubicBezTo>
                  <a:cubicBezTo>
                    <a:pt x="67" y="204"/>
                    <a:pt x="65" y="202"/>
                    <a:pt x="63" y="200"/>
                  </a:cubicBezTo>
                  <a:cubicBezTo>
                    <a:pt x="62" y="199"/>
                    <a:pt x="60" y="198"/>
                    <a:pt x="60" y="196"/>
                  </a:cubicBezTo>
                  <a:cubicBezTo>
                    <a:pt x="60" y="195"/>
                    <a:pt x="60" y="193"/>
                    <a:pt x="60" y="192"/>
                  </a:cubicBezTo>
                  <a:cubicBezTo>
                    <a:pt x="60" y="192"/>
                    <a:pt x="60" y="192"/>
                    <a:pt x="61" y="192"/>
                  </a:cubicBezTo>
                  <a:cubicBezTo>
                    <a:pt x="61" y="191"/>
                    <a:pt x="61" y="191"/>
                    <a:pt x="61" y="190"/>
                  </a:cubicBezTo>
                  <a:cubicBezTo>
                    <a:pt x="62" y="186"/>
                    <a:pt x="62" y="182"/>
                    <a:pt x="63" y="178"/>
                  </a:cubicBezTo>
                  <a:cubicBezTo>
                    <a:pt x="63" y="177"/>
                    <a:pt x="63" y="177"/>
                    <a:pt x="63" y="176"/>
                  </a:cubicBezTo>
                  <a:cubicBezTo>
                    <a:pt x="63" y="176"/>
                    <a:pt x="63" y="176"/>
                    <a:pt x="63" y="176"/>
                  </a:cubicBezTo>
                  <a:cubicBezTo>
                    <a:pt x="63" y="176"/>
                    <a:pt x="63" y="175"/>
                    <a:pt x="63" y="175"/>
                  </a:cubicBezTo>
                  <a:cubicBezTo>
                    <a:pt x="63" y="175"/>
                    <a:pt x="64" y="175"/>
                    <a:pt x="64" y="175"/>
                  </a:cubicBezTo>
                  <a:cubicBezTo>
                    <a:pt x="64" y="175"/>
                    <a:pt x="64" y="174"/>
                    <a:pt x="64" y="174"/>
                  </a:cubicBezTo>
                  <a:cubicBezTo>
                    <a:pt x="64" y="174"/>
                    <a:pt x="64" y="174"/>
                    <a:pt x="64" y="174"/>
                  </a:cubicBezTo>
                  <a:cubicBezTo>
                    <a:pt x="64" y="174"/>
                    <a:pt x="64" y="173"/>
                    <a:pt x="64" y="173"/>
                  </a:cubicBezTo>
                  <a:cubicBezTo>
                    <a:pt x="64" y="173"/>
                    <a:pt x="64" y="173"/>
                    <a:pt x="64" y="173"/>
                  </a:cubicBezTo>
                  <a:cubicBezTo>
                    <a:pt x="64" y="173"/>
                    <a:pt x="64" y="173"/>
                    <a:pt x="64" y="172"/>
                  </a:cubicBezTo>
                  <a:cubicBezTo>
                    <a:pt x="65" y="172"/>
                    <a:pt x="65" y="172"/>
                    <a:pt x="65" y="172"/>
                  </a:cubicBezTo>
                  <a:cubicBezTo>
                    <a:pt x="65" y="172"/>
                    <a:pt x="65" y="172"/>
                    <a:pt x="65" y="171"/>
                  </a:cubicBezTo>
                  <a:cubicBezTo>
                    <a:pt x="65" y="171"/>
                    <a:pt x="65" y="171"/>
                    <a:pt x="65" y="171"/>
                  </a:cubicBezTo>
                  <a:cubicBezTo>
                    <a:pt x="65" y="171"/>
                    <a:pt x="65" y="171"/>
                    <a:pt x="65" y="171"/>
                  </a:cubicBezTo>
                  <a:cubicBezTo>
                    <a:pt x="65" y="171"/>
                    <a:pt x="65" y="171"/>
                    <a:pt x="65" y="171"/>
                  </a:cubicBezTo>
                  <a:cubicBezTo>
                    <a:pt x="65" y="170"/>
                    <a:pt x="65" y="170"/>
                    <a:pt x="65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6" y="169"/>
                    <a:pt x="66" y="168"/>
                    <a:pt x="66" y="168"/>
                  </a:cubicBezTo>
                  <a:cubicBezTo>
                    <a:pt x="66" y="168"/>
                    <a:pt x="66" y="168"/>
                    <a:pt x="67" y="168"/>
                  </a:cubicBezTo>
                  <a:cubicBezTo>
                    <a:pt x="67" y="168"/>
                    <a:pt x="67" y="167"/>
                    <a:pt x="67" y="167"/>
                  </a:cubicBezTo>
                  <a:cubicBezTo>
                    <a:pt x="67" y="167"/>
                    <a:pt x="67" y="167"/>
                    <a:pt x="67" y="167"/>
                  </a:cubicBezTo>
                  <a:cubicBezTo>
                    <a:pt x="67" y="167"/>
                    <a:pt x="67" y="166"/>
                    <a:pt x="67" y="166"/>
                  </a:cubicBezTo>
                  <a:cubicBezTo>
                    <a:pt x="67" y="166"/>
                    <a:pt x="67" y="166"/>
                    <a:pt x="67" y="166"/>
                  </a:cubicBezTo>
                  <a:cubicBezTo>
                    <a:pt x="67" y="166"/>
                    <a:pt x="67" y="166"/>
                    <a:pt x="67" y="165"/>
                  </a:cubicBezTo>
                  <a:cubicBezTo>
                    <a:pt x="67" y="165"/>
                    <a:pt x="67" y="165"/>
                    <a:pt x="68" y="165"/>
                  </a:cubicBezTo>
                  <a:cubicBezTo>
                    <a:pt x="68" y="165"/>
                    <a:pt x="68" y="165"/>
                    <a:pt x="68" y="164"/>
                  </a:cubicBezTo>
                  <a:cubicBezTo>
                    <a:pt x="68" y="164"/>
                    <a:pt x="68" y="164"/>
                    <a:pt x="68" y="164"/>
                  </a:cubicBezTo>
                  <a:cubicBezTo>
                    <a:pt x="68" y="164"/>
                    <a:pt x="68" y="164"/>
                    <a:pt x="68" y="164"/>
                  </a:cubicBezTo>
                  <a:cubicBezTo>
                    <a:pt x="68" y="164"/>
                    <a:pt x="68" y="164"/>
                    <a:pt x="68" y="164"/>
                  </a:cubicBezTo>
                  <a:cubicBezTo>
                    <a:pt x="68" y="163"/>
                    <a:pt x="68" y="163"/>
                    <a:pt x="68" y="163"/>
                  </a:cubicBezTo>
                  <a:cubicBezTo>
                    <a:pt x="68" y="163"/>
                    <a:pt x="69" y="163"/>
                    <a:pt x="69" y="163"/>
                  </a:cubicBezTo>
                  <a:cubicBezTo>
                    <a:pt x="69" y="162"/>
                    <a:pt x="69" y="161"/>
                    <a:pt x="69" y="161"/>
                  </a:cubicBezTo>
                  <a:cubicBezTo>
                    <a:pt x="69" y="161"/>
                    <a:pt x="69" y="161"/>
                    <a:pt x="69" y="161"/>
                  </a:cubicBezTo>
                  <a:cubicBezTo>
                    <a:pt x="69" y="161"/>
                    <a:pt x="69" y="160"/>
                    <a:pt x="69" y="160"/>
                  </a:cubicBezTo>
                  <a:cubicBezTo>
                    <a:pt x="69" y="160"/>
                    <a:pt x="70" y="160"/>
                    <a:pt x="70" y="160"/>
                  </a:cubicBezTo>
                  <a:cubicBezTo>
                    <a:pt x="70" y="160"/>
                    <a:pt x="70" y="159"/>
                    <a:pt x="70" y="159"/>
                  </a:cubicBezTo>
                  <a:cubicBezTo>
                    <a:pt x="70" y="159"/>
                    <a:pt x="70" y="159"/>
                    <a:pt x="70" y="159"/>
                  </a:cubicBezTo>
                  <a:cubicBezTo>
                    <a:pt x="70" y="159"/>
                    <a:pt x="70" y="159"/>
                    <a:pt x="70" y="158"/>
                  </a:cubicBezTo>
                  <a:cubicBezTo>
                    <a:pt x="70" y="158"/>
                    <a:pt x="70" y="158"/>
                    <a:pt x="70" y="158"/>
                  </a:cubicBezTo>
                  <a:cubicBezTo>
                    <a:pt x="70" y="158"/>
                    <a:pt x="70" y="158"/>
                    <a:pt x="70" y="157"/>
                  </a:cubicBezTo>
                  <a:cubicBezTo>
                    <a:pt x="70" y="157"/>
                    <a:pt x="71" y="157"/>
                    <a:pt x="71" y="157"/>
                  </a:cubicBezTo>
                  <a:cubicBezTo>
                    <a:pt x="71" y="157"/>
                    <a:pt x="71" y="156"/>
                    <a:pt x="71" y="156"/>
                  </a:cubicBezTo>
                  <a:cubicBezTo>
                    <a:pt x="71" y="156"/>
                    <a:pt x="71" y="156"/>
                    <a:pt x="71" y="156"/>
                  </a:cubicBezTo>
                  <a:cubicBezTo>
                    <a:pt x="71" y="155"/>
                    <a:pt x="71" y="155"/>
                    <a:pt x="71" y="155"/>
                  </a:cubicBezTo>
                  <a:cubicBezTo>
                    <a:pt x="72" y="155"/>
                    <a:pt x="72" y="155"/>
                    <a:pt x="72" y="155"/>
                  </a:cubicBezTo>
                  <a:cubicBezTo>
                    <a:pt x="72" y="155"/>
                    <a:pt x="72" y="154"/>
                    <a:pt x="72" y="154"/>
                  </a:cubicBezTo>
                  <a:cubicBezTo>
                    <a:pt x="72" y="154"/>
                    <a:pt x="72" y="154"/>
                    <a:pt x="72" y="154"/>
                  </a:cubicBezTo>
                  <a:cubicBezTo>
                    <a:pt x="72" y="154"/>
                    <a:pt x="72" y="153"/>
                    <a:pt x="72" y="153"/>
                  </a:cubicBezTo>
                  <a:cubicBezTo>
                    <a:pt x="72" y="153"/>
                    <a:pt x="72" y="153"/>
                    <a:pt x="72" y="153"/>
                  </a:cubicBezTo>
                  <a:cubicBezTo>
                    <a:pt x="71" y="146"/>
                    <a:pt x="70" y="138"/>
                    <a:pt x="69" y="131"/>
                  </a:cubicBezTo>
                  <a:cubicBezTo>
                    <a:pt x="68" y="131"/>
                    <a:pt x="67" y="130"/>
                    <a:pt x="67" y="130"/>
                  </a:cubicBezTo>
                  <a:cubicBezTo>
                    <a:pt x="66" y="129"/>
                    <a:pt x="66" y="129"/>
                    <a:pt x="66" y="129"/>
                  </a:cubicBezTo>
                  <a:cubicBezTo>
                    <a:pt x="66" y="129"/>
                    <a:pt x="66" y="129"/>
                    <a:pt x="65" y="129"/>
                  </a:cubicBezTo>
                  <a:cubicBezTo>
                    <a:pt x="65" y="129"/>
                    <a:pt x="65" y="128"/>
                    <a:pt x="65" y="128"/>
                  </a:cubicBezTo>
                  <a:cubicBezTo>
                    <a:pt x="65" y="128"/>
                    <a:pt x="64" y="128"/>
                    <a:pt x="64" y="128"/>
                  </a:cubicBezTo>
                  <a:cubicBezTo>
                    <a:pt x="64" y="128"/>
                    <a:pt x="63" y="127"/>
                    <a:pt x="63" y="127"/>
                  </a:cubicBezTo>
                  <a:cubicBezTo>
                    <a:pt x="63" y="127"/>
                    <a:pt x="63" y="127"/>
                    <a:pt x="62" y="127"/>
                  </a:cubicBezTo>
                  <a:cubicBezTo>
                    <a:pt x="62" y="126"/>
                    <a:pt x="62" y="126"/>
                    <a:pt x="62" y="126"/>
                  </a:cubicBezTo>
                  <a:cubicBezTo>
                    <a:pt x="61" y="126"/>
                    <a:pt x="61" y="126"/>
                    <a:pt x="61" y="126"/>
                  </a:cubicBezTo>
                  <a:cubicBezTo>
                    <a:pt x="61" y="125"/>
                    <a:pt x="60" y="125"/>
                    <a:pt x="60" y="124"/>
                  </a:cubicBezTo>
                  <a:cubicBezTo>
                    <a:pt x="60" y="124"/>
                    <a:pt x="60" y="124"/>
                    <a:pt x="60" y="124"/>
                  </a:cubicBezTo>
                  <a:cubicBezTo>
                    <a:pt x="59" y="124"/>
                    <a:pt x="59" y="124"/>
                    <a:pt x="58" y="123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58" y="123"/>
                    <a:pt x="58" y="123"/>
                    <a:pt x="57" y="122"/>
                  </a:cubicBezTo>
                  <a:cubicBezTo>
                    <a:pt x="57" y="122"/>
                    <a:pt x="57" y="122"/>
                    <a:pt x="56" y="122"/>
                  </a:cubicBezTo>
                  <a:cubicBezTo>
                    <a:pt x="56" y="122"/>
                    <a:pt x="56" y="121"/>
                    <a:pt x="55" y="121"/>
                  </a:cubicBezTo>
                  <a:cubicBezTo>
                    <a:pt x="55" y="121"/>
                    <a:pt x="55" y="121"/>
                    <a:pt x="55" y="121"/>
                  </a:cubicBezTo>
                  <a:cubicBezTo>
                    <a:pt x="54" y="120"/>
                    <a:pt x="54" y="120"/>
                    <a:pt x="54" y="120"/>
                  </a:cubicBezTo>
                  <a:cubicBezTo>
                    <a:pt x="54" y="120"/>
                    <a:pt x="53" y="120"/>
                    <a:pt x="53" y="120"/>
                  </a:cubicBezTo>
                  <a:cubicBezTo>
                    <a:pt x="53" y="119"/>
                    <a:pt x="53" y="119"/>
                    <a:pt x="53" y="119"/>
                  </a:cubicBezTo>
                  <a:cubicBezTo>
                    <a:pt x="52" y="119"/>
                    <a:pt x="52" y="119"/>
                    <a:pt x="52" y="119"/>
                  </a:cubicBezTo>
                  <a:cubicBezTo>
                    <a:pt x="51" y="118"/>
                    <a:pt x="51" y="118"/>
                    <a:pt x="51" y="117"/>
                  </a:cubicBezTo>
                  <a:cubicBezTo>
                    <a:pt x="50" y="117"/>
                    <a:pt x="50" y="117"/>
                    <a:pt x="50" y="117"/>
                  </a:cubicBezTo>
                  <a:cubicBezTo>
                    <a:pt x="50" y="117"/>
                    <a:pt x="50" y="116"/>
                    <a:pt x="49" y="116"/>
                  </a:cubicBezTo>
                  <a:cubicBezTo>
                    <a:pt x="49" y="116"/>
                    <a:pt x="49" y="116"/>
                    <a:pt x="49" y="116"/>
                  </a:cubicBezTo>
                  <a:cubicBezTo>
                    <a:pt x="48" y="115"/>
                    <a:pt x="47" y="114"/>
                    <a:pt x="46" y="113"/>
                  </a:cubicBezTo>
                  <a:cubicBezTo>
                    <a:pt x="45" y="113"/>
                    <a:pt x="45" y="113"/>
                    <a:pt x="45" y="113"/>
                  </a:cubicBezTo>
                  <a:cubicBezTo>
                    <a:pt x="44" y="111"/>
                    <a:pt x="43" y="110"/>
                    <a:pt x="41" y="109"/>
                  </a:cubicBezTo>
                  <a:cubicBezTo>
                    <a:pt x="40" y="108"/>
                    <a:pt x="39" y="106"/>
                    <a:pt x="37" y="105"/>
                  </a:cubicBezTo>
                  <a:cubicBezTo>
                    <a:pt x="37" y="105"/>
                    <a:pt x="36" y="104"/>
                    <a:pt x="35" y="103"/>
                  </a:cubicBezTo>
                  <a:cubicBezTo>
                    <a:pt x="35" y="103"/>
                    <a:pt x="35" y="103"/>
                    <a:pt x="35" y="103"/>
                  </a:cubicBezTo>
                  <a:cubicBezTo>
                    <a:pt x="33" y="102"/>
                    <a:pt x="32" y="100"/>
                    <a:pt x="30" y="98"/>
                  </a:cubicBezTo>
                  <a:cubicBezTo>
                    <a:pt x="30" y="98"/>
                    <a:pt x="30" y="98"/>
                    <a:pt x="29" y="98"/>
                  </a:cubicBezTo>
                  <a:cubicBezTo>
                    <a:pt x="29" y="98"/>
                    <a:pt x="29" y="98"/>
                    <a:pt x="29" y="98"/>
                  </a:cubicBezTo>
                  <a:cubicBezTo>
                    <a:pt x="29" y="98"/>
                    <a:pt x="29" y="97"/>
                    <a:pt x="28" y="97"/>
                  </a:cubicBezTo>
                  <a:cubicBezTo>
                    <a:pt x="27" y="96"/>
                    <a:pt x="26" y="95"/>
                    <a:pt x="25" y="94"/>
                  </a:cubicBezTo>
                  <a:cubicBezTo>
                    <a:pt x="25" y="94"/>
                    <a:pt x="25" y="94"/>
                    <a:pt x="25" y="94"/>
                  </a:cubicBezTo>
                  <a:cubicBezTo>
                    <a:pt x="24" y="93"/>
                    <a:pt x="24" y="93"/>
                    <a:pt x="24" y="93"/>
                  </a:cubicBezTo>
                  <a:cubicBezTo>
                    <a:pt x="23" y="92"/>
                    <a:pt x="22" y="91"/>
                    <a:pt x="21" y="91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21" y="89"/>
                    <a:pt x="21" y="89"/>
                    <a:pt x="21" y="88"/>
                  </a:cubicBezTo>
                  <a:cubicBezTo>
                    <a:pt x="21" y="88"/>
                    <a:pt x="21" y="88"/>
                    <a:pt x="21" y="88"/>
                  </a:cubicBezTo>
                  <a:cubicBezTo>
                    <a:pt x="21" y="88"/>
                    <a:pt x="21" y="88"/>
                    <a:pt x="21" y="87"/>
                  </a:cubicBezTo>
                  <a:cubicBezTo>
                    <a:pt x="21" y="87"/>
                    <a:pt x="20" y="87"/>
                    <a:pt x="20" y="87"/>
                  </a:cubicBezTo>
                  <a:cubicBezTo>
                    <a:pt x="20" y="87"/>
                    <a:pt x="20" y="87"/>
                    <a:pt x="20" y="86"/>
                  </a:cubicBezTo>
                  <a:cubicBezTo>
                    <a:pt x="20" y="86"/>
                    <a:pt x="20" y="86"/>
                    <a:pt x="20" y="86"/>
                  </a:cubicBezTo>
                  <a:cubicBezTo>
                    <a:pt x="20" y="86"/>
                    <a:pt x="20" y="86"/>
                    <a:pt x="20" y="86"/>
                  </a:cubicBezTo>
                  <a:cubicBezTo>
                    <a:pt x="20" y="86"/>
                    <a:pt x="20" y="86"/>
                    <a:pt x="20" y="86"/>
                  </a:cubicBezTo>
                  <a:cubicBezTo>
                    <a:pt x="19" y="85"/>
                    <a:pt x="19" y="84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8" y="82"/>
                    <a:pt x="18" y="81"/>
                    <a:pt x="18" y="80"/>
                  </a:cubicBezTo>
                  <a:cubicBezTo>
                    <a:pt x="18" y="80"/>
                    <a:pt x="18" y="80"/>
                    <a:pt x="18" y="80"/>
                  </a:cubicBezTo>
                  <a:cubicBezTo>
                    <a:pt x="18" y="80"/>
                    <a:pt x="18" y="80"/>
                    <a:pt x="18" y="80"/>
                  </a:cubicBezTo>
                  <a:cubicBezTo>
                    <a:pt x="18" y="80"/>
                    <a:pt x="18" y="80"/>
                    <a:pt x="18" y="80"/>
                  </a:cubicBezTo>
                  <a:cubicBezTo>
                    <a:pt x="18" y="79"/>
                    <a:pt x="18" y="79"/>
                    <a:pt x="18" y="79"/>
                  </a:cubicBezTo>
                  <a:cubicBezTo>
                    <a:pt x="17" y="79"/>
                    <a:pt x="17" y="79"/>
                    <a:pt x="17" y="79"/>
                  </a:cubicBezTo>
                  <a:cubicBezTo>
                    <a:pt x="17" y="78"/>
                    <a:pt x="17" y="77"/>
                    <a:pt x="17" y="76"/>
                  </a:cubicBezTo>
                  <a:cubicBezTo>
                    <a:pt x="11" y="68"/>
                    <a:pt x="6" y="61"/>
                    <a:pt x="0" y="54"/>
                  </a:cubicBezTo>
                  <a:cubicBezTo>
                    <a:pt x="1" y="51"/>
                    <a:pt x="2" y="48"/>
                    <a:pt x="3" y="45"/>
                  </a:cubicBezTo>
                  <a:cubicBezTo>
                    <a:pt x="3" y="45"/>
                    <a:pt x="3" y="44"/>
                    <a:pt x="3" y="43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3" y="43"/>
                    <a:pt x="3" y="42"/>
                    <a:pt x="3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1"/>
                    <a:pt x="3" y="41"/>
                    <a:pt x="3" y="40"/>
                  </a:cubicBezTo>
                  <a:cubicBezTo>
                    <a:pt x="3" y="40"/>
                    <a:pt x="3" y="40"/>
                    <a:pt x="4" y="40"/>
                  </a:cubicBezTo>
                  <a:cubicBezTo>
                    <a:pt x="4" y="40"/>
                    <a:pt x="4" y="39"/>
                    <a:pt x="4" y="38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4" y="38"/>
                    <a:pt x="4" y="37"/>
                    <a:pt x="4" y="37"/>
                  </a:cubicBezTo>
                  <a:cubicBezTo>
                    <a:pt x="4" y="35"/>
                    <a:pt x="5" y="34"/>
                    <a:pt x="5" y="32"/>
                  </a:cubicBezTo>
                  <a:cubicBezTo>
                    <a:pt x="7" y="32"/>
                    <a:pt x="8" y="31"/>
                    <a:pt x="10" y="31"/>
                  </a:cubicBezTo>
                  <a:cubicBezTo>
                    <a:pt x="11" y="31"/>
                    <a:pt x="12" y="31"/>
                    <a:pt x="13" y="30"/>
                  </a:cubicBezTo>
                  <a:cubicBezTo>
                    <a:pt x="14" y="30"/>
                    <a:pt x="17" y="29"/>
                    <a:pt x="18" y="29"/>
                  </a:cubicBezTo>
                  <a:cubicBezTo>
                    <a:pt x="19" y="29"/>
                    <a:pt x="19" y="29"/>
                    <a:pt x="20" y="29"/>
                  </a:cubicBezTo>
                  <a:cubicBezTo>
                    <a:pt x="20" y="29"/>
                    <a:pt x="20" y="28"/>
                    <a:pt x="20" y="28"/>
                  </a:cubicBezTo>
                  <a:cubicBezTo>
                    <a:pt x="29" y="28"/>
                    <a:pt x="38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8" y="28"/>
                    <a:pt x="48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1" y="26"/>
                    <a:pt x="51" y="26"/>
                    <a:pt x="51" y="26"/>
                  </a:cubicBezTo>
                  <a:cubicBezTo>
                    <a:pt x="51" y="26"/>
                    <a:pt x="51" y="26"/>
                    <a:pt x="51" y="26"/>
                  </a:cubicBezTo>
                  <a:cubicBezTo>
                    <a:pt x="51" y="26"/>
                    <a:pt x="51" y="26"/>
                    <a:pt x="51" y="26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52" y="25"/>
                    <a:pt x="53" y="25"/>
                    <a:pt x="53" y="25"/>
                  </a:cubicBezTo>
                  <a:cubicBezTo>
                    <a:pt x="53" y="25"/>
                    <a:pt x="53" y="25"/>
                    <a:pt x="53" y="25"/>
                  </a:cubicBezTo>
                  <a:cubicBezTo>
                    <a:pt x="53" y="25"/>
                    <a:pt x="53" y="25"/>
                    <a:pt x="54" y="25"/>
                  </a:cubicBezTo>
                  <a:cubicBezTo>
                    <a:pt x="54" y="25"/>
                    <a:pt x="54" y="25"/>
                    <a:pt x="54" y="24"/>
                  </a:cubicBezTo>
                  <a:cubicBezTo>
                    <a:pt x="54" y="24"/>
                    <a:pt x="55" y="24"/>
                    <a:pt x="55" y="24"/>
                  </a:cubicBezTo>
                  <a:cubicBezTo>
                    <a:pt x="55" y="24"/>
                    <a:pt x="55" y="24"/>
                    <a:pt x="55" y="23"/>
                  </a:cubicBezTo>
                  <a:cubicBezTo>
                    <a:pt x="56" y="23"/>
                    <a:pt x="56" y="23"/>
                    <a:pt x="57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7" y="23"/>
                    <a:pt x="57" y="22"/>
                    <a:pt x="57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9" y="22"/>
                    <a:pt x="59" y="22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59" y="22"/>
                    <a:pt x="59" y="22"/>
                    <a:pt x="60" y="22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60" y="21"/>
                    <a:pt x="60" y="21"/>
                    <a:pt x="61" y="21"/>
                  </a:cubicBezTo>
                  <a:cubicBezTo>
                    <a:pt x="61" y="21"/>
                    <a:pt x="61" y="21"/>
                    <a:pt x="61" y="21"/>
                  </a:cubicBezTo>
                  <a:cubicBezTo>
                    <a:pt x="61" y="21"/>
                    <a:pt x="61" y="21"/>
                    <a:pt x="61" y="21"/>
                  </a:cubicBezTo>
                  <a:cubicBezTo>
                    <a:pt x="61" y="20"/>
                    <a:pt x="61" y="20"/>
                    <a:pt x="61" y="20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2" y="20"/>
                    <a:pt x="62" y="20"/>
                    <a:pt x="63" y="20"/>
                  </a:cubicBezTo>
                  <a:cubicBezTo>
                    <a:pt x="63" y="20"/>
                    <a:pt x="63" y="20"/>
                    <a:pt x="63" y="20"/>
                  </a:cubicBezTo>
                  <a:cubicBezTo>
                    <a:pt x="63" y="20"/>
                    <a:pt x="63" y="20"/>
                    <a:pt x="63" y="20"/>
                  </a:cubicBezTo>
                  <a:cubicBezTo>
                    <a:pt x="63" y="19"/>
                    <a:pt x="63" y="19"/>
                    <a:pt x="63" y="19"/>
                  </a:cubicBezTo>
                  <a:cubicBezTo>
                    <a:pt x="64" y="19"/>
                    <a:pt x="64" y="19"/>
                    <a:pt x="64" y="19"/>
                  </a:cubicBezTo>
                  <a:cubicBezTo>
                    <a:pt x="64" y="19"/>
                    <a:pt x="64" y="19"/>
                    <a:pt x="64" y="19"/>
                  </a:cubicBezTo>
                  <a:cubicBezTo>
                    <a:pt x="65" y="18"/>
                    <a:pt x="66" y="18"/>
                    <a:pt x="67" y="18"/>
                  </a:cubicBezTo>
                  <a:cubicBezTo>
                    <a:pt x="67" y="18"/>
                    <a:pt x="67" y="18"/>
                    <a:pt x="67" y="17"/>
                  </a:cubicBezTo>
                  <a:cubicBezTo>
                    <a:pt x="67" y="17"/>
                    <a:pt x="67" y="17"/>
                    <a:pt x="68" y="17"/>
                  </a:cubicBezTo>
                  <a:cubicBezTo>
                    <a:pt x="69" y="17"/>
                    <a:pt x="69" y="16"/>
                    <a:pt x="71" y="16"/>
                  </a:cubicBezTo>
                  <a:cubicBezTo>
                    <a:pt x="72" y="17"/>
                    <a:pt x="74" y="18"/>
                    <a:pt x="76" y="19"/>
                  </a:cubicBezTo>
                  <a:cubicBezTo>
                    <a:pt x="76" y="19"/>
                    <a:pt x="76" y="19"/>
                    <a:pt x="77" y="19"/>
                  </a:cubicBezTo>
                  <a:cubicBezTo>
                    <a:pt x="77" y="19"/>
                    <a:pt x="77" y="19"/>
                    <a:pt x="77" y="20"/>
                  </a:cubicBezTo>
                  <a:cubicBezTo>
                    <a:pt x="77" y="20"/>
                    <a:pt x="77" y="20"/>
                    <a:pt x="78" y="20"/>
                  </a:cubicBezTo>
                  <a:cubicBezTo>
                    <a:pt x="78" y="20"/>
                    <a:pt x="78" y="20"/>
                    <a:pt x="78" y="20"/>
                  </a:cubicBezTo>
                  <a:cubicBezTo>
                    <a:pt x="78" y="20"/>
                    <a:pt x="78" y="20"/>
                    <a:pt x="78" y="20"/>
                  </a:cubicBezTo>
                  <a:cubicBezTo>
                    <a:pt x="78" y="20"/>
                    <a:pt x="78" y="20"/>
                    <a:pt x="78" y="20"/>
                  </a:cubicBezTo>
                  <a:cubicBezTo>
                    <a:pt x="79" y="20"/>
                    <a:pt x="79" y="20"/>
                    <a:pt x="79" y="20"/>
                  </a:cubicBezTo>
                  <a:cubicBezTo>
                    <a:pt x="79" y="20"/>
                    <a:pt x="79" y="20"/>
                    <a:pt x="79" y="21"/>
                  </a:cubicBezTo>
                  <a:cubicBezTo>
                    <a:pt x="79" y="21"/>
                    <a:pt x="80" y="21"/>
                    <a:pt x="80" y="21"/>
                  </a:cubicBezTo>
                  <a:cubicBezTo>
                    <a:pt x="80" y="21"/>
                    <a:pt x="80" y="21"/>
                    <a:pt x="80" y="21"/>
                  </a:cubicBezTo>
                  <a:cubicBezTo>
                    <a:pt x="80" y="21"/>
                    <a:pt x="81" y="21"/>
                    <a:pt x="81" y="21"/>
                  </a:cubicBezTo>
                  <a:cubicBezTo>
                    <a:pt x="81" y="21"/>
                    <a:pt x="81" y="22"/>
                    <a:pt x="81" y="22"/>
                  </a:cubicBezTo>
                  <a:cubicBezTo>
                    <a:pt x="81" y="22"/>
                    <a:pt x="81" y="22"/>
                    <a:pt x="82" y="22"/>
                  </a:cubicBezTo>
                  <a:cubicBezTo>
                    <a:pt x="82" y="22"/>
                    <a:pt x="82" y="22"/>
                    <a:pt x="82" y="22"/>
                  </a:cubicBezTo>
                  <a:cubicBezTo>
                    <a:pt x="82" y="22"/>
                    <a:pt x="82" y="22"/>
                    <a:pt x="82" y="22"/>
                  </a:cubicBezTo>
                  <a:cubicBezTo>
                    <a:pt x="82" y="22"/>
                    <a:pt x="82" y="22"/>
                    <a:pt x="82" y="22"/>
                  </a:cubicBezTo>
                  <a:cubicBezTo>
                    <a:pt x="82" y="22"/>
                    <a:pt x="83" y="22"/>
                    <a:pt x="83" y="22"/>
                  </a:cubicBezTo>
                  <a:cubicBezTo>
                    <a:pt x="83" y="23"/>
                    <a:pt x="83" y="23"/>
                    <a:pt x="83" y="23"/>
                  </a:cubicBezTo>
                  <a:cubicBezTo>
                    <a:pt x="84" y="23"/>
                    <a:pt x="84" y="23"/>
                    <a:pt x="84" y="23"/>
                  </a:cubicBezTo>
                  <a:cubicBezTo>
                    <a:pt x="84" y="23"/>
                    <a:pt x="84" y="23"/>
                    <a:pt x="84" y="23"/>
                  </a:cubicBezTo>
                  <a:cubicBezTo>
                    <a:pt x="84" y="23"/>
                    <a:pt x="84" y="23"/>
                    <a:pt x="85" y="23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86" y="24"/>
                    <a:pt x="86" y="25"/>
                    <a:pt x="86" y="25"/>
                  </a:cubicBezTo>
                  <a:cubicBezTo>
                    <a:pt x="87" y="25"/>
                    <a:pt x="87" y="25"/>
                    <a:pt x="87" y="25"/>
                  </a:cubicBezTo>
                  <a:cubicBezTo>
                    <a:pt x="87" y="25"/>
                    <a:pt x="87" y="25"/>
                    <a:pt x="87" y="25"/>
                  </a:cubicBezTo>
                  <a:cubicBezTo>
                    <a:pt x="87" y="25"/>
                    <a:pt x="88" y="25"/>
                    <a:pt x="88" y="25"/>
                  </a:cubicBezTo>
                  <a:cubicBezTo>
                    <a:pt x="88" y="25"/>
                    <a:pt x="88" y="25"/>
                    <a:pt x="88" y="26"/>
                  </a:cubicBezTo>
                  <a:cubicBezTo>
                    <a:pt x="88" y="26"/>
                    <a:pt x="88" y="26"/>
                    <a:pt x="89" y="26"/>
                  </a:cubicBezTo>
                  <a:cubicBezTo>
                    <a:pt x="89" y="26"/>
                    <a:pt x="89" y="26"/>
                    <a:pt x="89" y="26"/>
                  </a:cubicBezTo>
                  <a:cubicBezTo>
                    <a:pt x="89" y="26"/>
                    <a:pt x="89" y="26"/>
                    <a:pt x="89" y="26"/>
                  </a:cubicBezTo>
                  <a:cubicBezTo>
                    <a:pt x="89" y="26"/>
                    <a:pt x="89" y="26"/>
                    <a:pt x="90" y="27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1" y="27"/>
                    <a:pt x="91" y="27"/>
                    <a:pt x="91" y="27"/>
                  </a:cubicBezTo>
                  <a:cubicBezTo>
                    <a:pt x="91" y="27"/>
                    <a:pt x="91" y="27"/>
                    <a:pt x="91" y="27"/>
                  </a:cubicBezTo>
                  <a:cubicBezTo>
                    <a:pt x="91" y="27"/>
                    <a:pt x="91" y="27"/>
                    <a:pt x="92" y="27"/>
                  </a:cubicBezTo>
                  <a:cubicBezTo>
                    <a:pt x="92" y="27"/>
                    <a:pt x="92" y="27"/>
                    <a:pt x="92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93" y="28"/>
                    <a:pt x="95" y="29"/>
                    <a:pt x="96" y="29"/>
                  </a:cubicBezTo>
                  <a:cubicBezTo>
                    <a:pt x="102" y="26"/>
                    <a:pt x="108" y="22"/>
                    <a:pt x="115" y="18"/>
                  </a:cubicBezTo>
                  <a:cubicBezTo>
                    <a:pt x="123" y="17"/>
                    <a:pt x="131" y="17"/>
                    <a:pt x="139" y="16"/>
                  </a:cubicBezTo>
                  <a:cubicBezTo>
                    <a:pt x="139" y="16"/>
                    <a:pt x="139" y="15"/>
                    <a:pt x="139" y="15"/>
                  </a:cubicBezTo>
                  <a:cubicBezTo>
                    <a:pt x="140" y="15"/>
                    <a:pt x="141" y="15"/>
                    <a:pt x="142" y="15"/>
                  </a:cubicBezTo>
                  <a:cubicBezTo>
                    <a:pt x="142" y="15"/>
                    <a:pt x="142" y="15"/>
                    <a:pt x="142" y="15"/>
                  </a:cubicBezTo>
                  <a:cubicBezTo>
                    <a:pt x="143" y="15"/>
                    <a:pt x="144" y="15"/>
                    <a:pt x="145" y="15"/>
                  </a:cubicBezTo>
                  <a:cubicBezTo>
                    <a:pt x="145" y="15"/>
                    <a:pt x="145" y="15"/>
                    <a:pt x="145" y="15"/>
                  </a:cubicBezTo>
                  <a:cubicBezTo>
                    <a:pt x="146" y="15"/>
                    <a:pt x="147" y="15"/>
                    <a:pt x="148" y="15"/>
                  </a:cubicBezTo>
                  <a:cubicBezTo>
                    <a:pt x="148" y="15"/>
                    <a:pt x="148" y="14"/>
                    <a:pt x="148" y="14"/>
                  </a:cubicBezTo>
                  <a:cubicBezTo>
                    <a:pt x="149" y="14"/>
                    <a:pt x="150" y="14"/>
                    <a:pt x="151" y="14"/>
                  </a:cubicBezTo>
                  <a:cubicBezTo>
                    <a:pt x="151" y="14"/>
                    <a:pt x="151" y="14"/>
                    <a:pt x="151" y="14"/>
                  </a:cubicBezTo>
                  <a:cubicBezTo>
                    <a:pt x="153" y="14"/>
                    <a:pt x="154" y="14"/>
                    <a:pt x="155" y="14"/>
                  </a:cubicBezTo>
                  <a:cubicBezTo>
                    <a:pt x="155" y="14"/>
                    <a:pt x="155" y="14"/>
                    <a:pt x="155" y="14"/>
                  </a:cubicBezTo>
                  <a:cubicBezTo>
                    <a:pt x="156" y="14"/>
                    <a:pt x="156" y="14"/>
                    <a:pt x="156" y="14"/>
                  </a:cubicBezTo>
                  <a:cubicBezTo>
                    <a:pt x="156" y="14"/>
                    <a:pt x="156" y="14"/>
                    <a:pt x="156" y="15"/>
                  </a:cubicBezTo>
                  <a:cubicBezTo>
                    <a:pt x="157" y="15"/>
                    <a:pt x="157" y="15"/>
                    <a:pt x="158" y="15"/>
                  </a:cubicBezTo>
                  <a:cubicBezTo>
                    <a:pt x="158" y="15"/>
                    <a:pt x="158" y="15"/>
                    <a:pt x="158" y="15"/>
                  </a:cubicBezTo>
                  <a:cubicBezTo>
                    <a:pt x="158" y="15"/>
                    <a:pt x="158" y="15"/>
                    <a:pt x="159" y="15"/>
                  </a:cubicBezTo>
                  <a:cubicBezTo>
                    <a:pt x="159" y="15"/>
                    <a:pt x="159" y="16"/>
                    <a:pt x="159" y="16"/>
                  </a:cubicBezTo>
                  <a:cubicBezTo>
                    <a:pt x="159" y="16"/>
                    <a:pt x="159" y="16"/>
                    <a:pt x="159" y="16"/>
                  </a:cubicBezTo>
                  <a:cubicBezTo>
                    <a:pt x="159" y="16"/>
                    <a:pt x="159" y="16"/>
                    <a:pt x="159" y="16"/>
                  </a:cubicBezTo>
                  <a:cubicBezTo>
                    <a:pt x="159" y="16"/>
                    <a:pt x="160" y="16"/>
                    <a:pt x="160" y="16"/>
                  </a:cubicBezTo>
                  <a:cubicBezTo>
                    <a:pt x="160" y="16"/>
                    <a:pt x="160" y="16"/>
                    <a:pt x="160" y="16"/>
                  </a:cubicBezTo>
                  <a:cubicBezTo>
                    <a:pt x="160" y="16"/>
                    <a:pt x="160" y="16"/>
                    <a:pt x="161" y="16"/>
                  </a:cubicBezTo>
                  <a:cubicBezTo>
                    <a:pt x="161" y="17"/>
                    <a:pt x="161" y="17"/>
                    <a:pt x="161" y="17"/>
                  </a:cubicBezTo>
                  <a:cubicBezTo>
                    <a:pt x="161" y="17"/>
                    <a:pt x="161" y="17"/>
                    <a:pt x="161" y="17"/>
                  </a:cubicBezTo>
                  <a:cubicBezTo>
                    <a:pt x="161" y="17"/>
                    <a:pt x="161" y="17"/>
                    <a:pt x="161" y="17"/>
                  </a:cubicBezTo>
                  <a:cubicBezTo>
                    <a:pt x="162" y="17"/>
                    <a:pt x="162" y="17"/>
                    <a:pt x="162" y="17"/>
                  </a:cubicBezTo>
                  <a:cubicBezTo>
                    <a:pt x="162" y="17"/>
                    <a:pt x="162" y="17"/>
                    <a:pt x="162" y="17"/>
                  </a:cubicBezTo>
                  <a:cubicBezTo>
                    <a:pt x="162" y="17"/>
                    <a:pt x="162" y="17"/>
                    <a:pt x="163" y="17"/>
                  </a:cubicBezTo>
                  <a:cubicBezTo>
                    <a:pt x="163" y="18"/>
                    <a:pt x="163" y="18"/>
                    <a:pt x="163" y="18"/>
                  </a:cubicBezTo>
                  <a:cubicBezTo>
                    <a:pt x="163" y="18"/>
                    <a:pt x="164" y="18"/>
                    <a:pt x="164" y="18"/>
                  </a:cubicBezTo>
                  <a:cubicBezTo>
                    <a:pt x="164" y="18"/>
                    <a:pt x="164" y="18"/>
                    <a:pt x="164" y="19"/>
                  </a:cubicBezTo>
                  <a:cubicBezTo>
                    <a:pt x="164" y="19"/>
                    <a:pt x="164" y="19"/>
                    <a:pt x="164" y="19"/>
                  </a:cubicBezTo>
                  <a:cubicBezTo>
                    <a:pt x="164" y="19"/>
                    <a:pt x="164" y="19"/>
                    <a:pt x="164" y="19"/>
                  </a:cubicBezTo>
                  <a:cubicBezTo>
                    <a:pt x="165" y="19"/>
                    <a:pt x="165" y="19"/>
                    <a:pt x="165" y="19"/>
                  </a:cubicBezTo>
                  <a:cubicBezTo>
                    <a:pt x="165" y="19"/>
                    <a:pt x="165" y="19"/>
                    <a:pt x="165" y="19"/>
                  </a:cubicBezTo>
                  <a:cubicBezTo>
                    <a:pt x="165" y="19"/>
                    <a:pt x="166" y="19"/>
                    <a:pt x="166" y="19"/>
                  </a:cubicBezTo>
                  <a:cubicBezTo>
                    <a:pt x="166" y="19"/>
                    <a:pt x="166" y="19"/>
                    <a:pt x="166" y="20"/>
                  </a:cubicBezTo>
                  <a:cubicBezTo>
                    <a:pt x="166" y="20"/>
                    <a:pt x="166" y="20"/>
                    <a:pt x="167" y="20"/>
                  </a:cubicBezTo>
                  <a:cubicBezTo>
                    <a:pt x="167" y="20"/>
                    <a:pt x="167" y="20"/>
                    <a:pt x="167" y="20"/>
                  </a:cubicBezTo>
                  <a:cubicBezTo>
                    <a:pt x="167" y="20"/>
                    <a:pt x="167" y="20"/>
                    <a:pt x="167" y="20"/>
                  </a:cubicBezTo>
                  <a:cubicBezTo>
                    <a:pt x="167" y="20"/>
                    <a:pt x="167" y="20"/>
                    <a:pt x="167" y="20"/>
                  </a:cubicBezTo>
                  <a:cubicBezTo>
                    <a:pt x="167" y="20"/>
                    <a:pt x="168" y="20"/>
                    <a:pt x="168" y="20"/>
                  </a:cubicBezTo>
                  <a:cubicBezTo>
                    <a:pt x="168" y="20"/>
                    <a:pt x="168" y="20"/>
                    <a:pt x="168" y="21"/>
                  </a:cubicBezTo>
                  <a:cubicBezTo>
                    <a:pt x="168" y="21"/>
                    <a:pt x="168" y="21"/>
                    <a:pt x="169" y="21"/>
                  </a:cubicBezTo>
                  <a:cubicBezTo>
                    <a:pt x="169" y="21"/>
                    <a:pt x="169" y="21"/>
                    <a:pt x="169" y="21"/>
                  </a:cubicBezTo>
                  <a:cubicBezTo>
                    <a:pt x="169" y="21"/>
                    <a:pt x="169" y="21"/>
                    <a:pt x="169" y="21"/>
                  </a:cubicBezTo>
                  <a:cubicBezTo>
                    <a:pt x="169" y="21"/>
                    <a:pt x="170" y="21"/>
                    <a:pt x="170" y="22"/>
                  </a:cubicBezTo>
                  <a:cubicBezTo>
                    <a:pt x="170" y="22"/>
                    <a:pt x="171" y="22"/>
                    <a:pt x="172" y="22"/>
                  </a:cubicBezTo>
                  <a:cubicBezTo>
                    <a:pt x="172" y="22"/>
                    <a:pt x="172" y="23"/>
                    <a:pt x="172" y="23"/>
                  </a:cubicBezTo>
                  <a:cubicBezTo>
                    <a:pt x="172" y="23"/>
                    <a:pt x="172" y="23"/>
                    <a:pt x="172" y="23"/>
                  </a:cubicBezTo>
                  <a:cubicBezTo>
                    <a:pt x="172" y="23"/>
                    <a:pt x="172" y="23"/>
                    <a:pt x="172" y="23"/>
                  </a:cubicBezTo>
                  <a:cubicBezTo>
                    <a:pt x="173" y="23"/>
                    <a:pt x="173" y="23"/>
                    <a:pt x="173" y="23"/>
                  </a:cubicBezTo>
                  <a:cubicBezTo>
                    <a:pt x="173" y="23"/>
                    <a:pt x="173" y="23"/>
                    <a:pt x="173" y="23"/>
                  </a:cubicBezTo>
                  <a:cubicBezTo>
                    <a:pt x="173" y="23"/>
                    <a:pt x="174" y="23"/>
                    <a:pt x="174" y="23"/>
                  </a:cubicBezTo>
                  <a:cubicBezTo>
                    <a:pt x="174" y="24"/>
                    <a:pt x="174" y="24"/>
                    <a:pt x="174" y="24"/>
                  </a:cubicBezTo>
                  <a:cubicBezTo>
                    <a:pt x="174" y="24"/>
                    <a:pt x="174" y="24"/>
                    <a:pt x="175" y="24"/>
                  </a:cubicBezTo>
                  <a:cubicBezTo>
                    <a:pt x="175" y="24"/>
                    <a:pt x="175" y="24"/>
                    <a:pt x="175" y="24"/>
                  </a:cubicBezTo>
                  <a:cubicBezTo>
                    <a:pt x="175" y="24"/>
                    <a:pt x="175" y="24"/>
                    <a:pt x="175" y="24"/>
                  </a:cubicBezTo>
                  <a:cubicBezTo>
                    <a:pt x="175" y="24"/>
                    <a:pt x="175" y="24"/>
                    <a:pt x="175" y="24"/>
                  </a:cubicBezTo>
                  <a:cubicBezTo>
                    <a:pt x="176" y="24"/>
                    <a:pt x="176" y="24"/>
                    <a:pt x="176" y="24"/>
                  </a:cubicBezTo>
                  <a:cubicBezTo>
                    <a:pt x="176" y="25"/>
                    <a:pt x="176" y="25"/>
                    <a:pt x="176" y="25"/>
                  </a:cubicBezTo>
                  <a:cubicBezTo>
                    <a:pt x="178" y="26"/>
                    <a:pt x="180" y="27"/>
                    <a:pt x="182" y="28"/>
                  </a:cubicBezTo>
                  <a:cubicBezTo>
                    <a:pt x="182" y="28"/>
                    <a:pt x="182" y="28"/>
                    <a:pt x="182" y="28"/>
                  </a:cubicBezTo>
                  <a:cubicBezTo>
                    <a:pt x="182" y="28"/>
                    <a:pt x="182" y="28"/>
                    <a:pt x="183" y="28"/>
                  </a:cubicBezTo>
                  <a:cubicBezTo>
                    <a:pt x="183" y="28"/>
                    <a:pt x="183" y="28"/>
                    <a:pt x="183" y="29"/>
                  </a:cubicBezTo>
                  <a:cubicBezTo>
                    <a:pt x="183" y="29"/>
                    <a:pt x="183" y="29"/>
                    <a:pt x="184" y="29"/>
                  </a:cubicBezTo>
                  <a:cubicBezTo>
                    <a:pt x="184" y="29"/>
                    <a:pt x="184" y="29"/>
                    <a:pt x="184" y="29"/>
                  </a:cubicBezTo>
                  <a:cubicBezTo>
                    <a:pt x="184" y="29"/>
                    <a:pt x="184" y="29"/>
                    <a:pt x="184" y="29"/>
                  </a:cubicBezTo>
                  <a:cubicBezTo>
                    <a:pt x="184" y="29"/>
                    <a:pt x="184" y="29"/>
                    <a:pt x="184" y="29"/>
                  </a:cubicBezTo>
                  <a:cubicBezTo>
                    <a:pt x="185" y="29"/>
                    <a:pt x="185" y="29"/>
                    <a:pt x="185" y="29"/>
                  </a:cubicBezTo>
                  <a:cubicBezTo>
                    <a:pt x="185" y="29"/>
                    <a:pt x="185" y="30"/>
                    <a:pt x="185" y="30"/>
                  </a:cubicBezTo>
                  <a:cubicBezTo>
                    <a:pt x="185" y="30"/>
                    <a:pt x="186" y="30"/>
                    <a:pt x="186" y="30"/>
                  </a:cubicBezTo>
                  <a:cubicBezTo>
                    <a:pt x="186" y="30"/>
                    <a:pt x="186" y="30"/>
                    <a:pt x="186" y="30"/>
                  </a:cubicBezTo>
                  <a:cubicBezTo>
                    <a:pt x="186" y="30"/>
                    <a:pt x="186" y="30"/>
                    <a:pt x="186" y="30"/>
                  </a:cubicBezTo>
                  <a:cubicBezTo>
                    <a:pt x="186" y="30"/>
                    <a:pt x="186" y="30"/>
                    <a:pt x="186" y="30"/>
                  </a:cubicBezTo>
                  <a:cubicBezTo>
                    <a:pt x="187" y="31"/>
                    <a:pt x="187" y="31"/>
                    <a:pt x="188" y="31"/>
                  </a:cubicBezTo>
                  <a:cubicBezTo>
                    <a:pt x="188" y="31"/>
                    <a:pt x="188" y="31"/>
                    <a:pt x="188" y="31"/>
                  </a:cubicBezTo>
                  <a:cubicBezTo>
                    <a:pt x="188" y="31"/>
                    <a:pt x="188" y="31"/>
                    <a:pt x="189" y="31"/>
                  </a:cubicBezTo>
                  <a:cubicBezTo>
                    <a:pt x="189" y="31"/>
                    <a:pt x="189" y="31"/>
                    <a:pt x="189" y="31"/>
                  </a:cubicBezTo>
                  <a:cubicBezTo>
                    <a:pt x="189" y="31"/>
                    <a:pt x="189" y="31"/>
                    <a:pt x="189" y="31"/>
                  </a:cubicBezTo>
                  <a:cubicBezTo>
                    <a:pt x="189" y="32"/>
                    <a:pt x="189" y="32"/>
                    <a:pt x="189" y="32"/>
                  </a:cubicBezTo>
                  <a:cubicBezTo>
                    <a:pt x="190" y="32"/>
                    <a:pt x="190" y="32"/>
                    <a:pt x="191" y="32"/>
                  </a:cubicBezTo>
                  <a:cubicBezTo>
                    <a:pt x="191" y="32"/>
                    <a:pt x="191" y="32"/>
                    <a:pt x="191" y="32"/>
                  </a:cubicBezTo>
                  <a:cubicBezTo>
                    <a:pt x="191" y="32"/>
                    <a:pt x="192" y="32"/>
                    <a:pt x="193" y="31"/>
                  </a:cubicBezTo>
                  <a:cubicBezTo>
                    <a:pt x="193" y="31"/>
                    <a:pt x="193" y="31"/>
                    <a:pt x="193" y="31"/>
                  </a:cubicBezTo>
                  <a:cubicBezTo>
                    <a:pt x="193" y="31"/>
                    <a:pt x="193" y="31"/>
                    <a:pt x="193" y="31"/>
                  </a:cubicBezTo>
                  <a:cubicBezTo>
                    <a:pt x="193" y="31"/>
                    <a:pt x="193" y="31"/>
                    <a:pt x="193" y="31"/>
                  </a:cubicBezTo>
                  <a:cubicBezTo>
                    <a:pt x="194" y="31"/>
                    <a:pt x="194" y="31"/>
                    <a:pt x="195" y="31"/>
                  </a:cubicBezTo>
                  <a:cubicBezTo>
                    <a:pt x="195" y="31"/>
                    <a:pt x="195" y="31"/>
                    <a:pt x="195" y="30"/>
                  </a:cubicBezTo>
                  <a:cubicBezTo>
                    <a:pt x="195" y="30"/>
                    <a:pt x="195" y="30"/>
                    <a:pt x="196" y="30"/>
                  </a:cubicBezTo>
                  <a:cubicBezTo>
                    <a:pt x="196" y="30"/>
                    <a:pt x="196" y="30"/>
                    <a:pt x="196" y="30"/>
                  </a:cubicBezTo>
                  <a:cubicBezTo>
                    <a:pt x="196" y="30"/>
                    <a:pt x="196" y="30"/>
                    <a:pt x="196" y="30"/>
                  </a:cubicBezTo>
                  <a:cubicBezTo>
                    <a:pt x="196" y="30"/>
                    <a:pt x="196" y="30"/>
                    <a:pt x="196" y="30"/>
                  </a:cubicBezTo>
                  <a:cubicBezTo>
                    <a:pt x="197" y="30"/>
                    <a:pt x="197" y="30"/>
                    <a:pt x="197" y="30"/>
                  </a:cubicBezTo>
                  <a:cubicBezTo>
                    <a:pt x="197" y="30"/>
                    <a:pt x="197" y="29"/>
                    <a:pt x="197" y="29"/>
                  </a:cubicBezTo>
                  <a:cubicBezTo>
                    <a:pt x="198" y="29"/>
                    <a:pt x="198" y="29"/>
                    <a:pt x="198" y="29"/>
                  </a:cubicBezTo>
                  <a:cubicBezTo>
                    <a:pt x="198" y="29"/>
                    <a:pt x="198" y="29"/>
                    <a:pt x="198" y="29"/>
                  </a:cubicBezTo>
                  <a:cubicBezTo>
                    <a:pt x="199" y="29"/>
                    <a:pt x="199" y="29"/>
                    <a:pt x="200" y="29"/>
                  </a:cubicBezTo>
                  <a:cubicBezTo>
                    <a:pt x="200" y="29"/>
                    <a:pt x="200" y="28"/>
                    <a:pt x="200" y="28"/>
                  </a:cubicBezTo>
                  <a:cubicBezTo>
                    <a:pt x="200" y="28"/>
                    <a:pt x="201" y="28"/>
                    <a:pt x="201" y="28"/>
                  </a:cubicBezTo>
                  <a:cubicBezTo>
                    <a:pt x="201" y="28"/>
                    <a:pt x="201" y="28"/>
                    <a:pt x="201" y="28"/>
                  </a:cubicBezTo>
                  <a:cubicBezTo>
                    <a:pt x="202" y="28"/>
                    <a:pt x="202" y="28"/>
                    <a:pt x="203" y="28"/>
                  </a:cubicBezTo>
                  <a:cubicBezTo>
                    <a:pt x="203" y="27"/>
                    <a:pt x="203" y="27"/>
                    <a:pt x="203" y="27"/>
                  </a:cubicBezTo>
                  <a:cubicBezTo>
                    <a:pt x="203" y="27"/>
                    <a:pt x="203" y="27"/>
                    <a:pt x="204" y="27"/>
                  </a:cubicBezTo>
                  <a:cubicBezTo>
                    <a:pt x="204" y="27"/>
                    <a:pt x="204" y="27"/>
                    <a:pt x="204" y="27"/>
                  </a:cubicBezTo>
                  <a:cubicBezTo>
                    <a:pt x="204" y="27"/>
                    <a:pt x="205" y="27"/>
                    <a:pt x="206" y="27"/>
                  </a:cubicBezTo>
                  <a:cubicBezTo>
                    <a:pt x="206" y="26"/>
                    <a:pt x="206" y="26"/>
                    <a:pt x="206" y="26"/>
                  </a:cubicBezTo>
                  <a:cubicBezTo>
                    <a:pt x="206" y="26"/>
                    <a:pt x="206" y="26"/>
                    <a:pt x="206" y="26"/>
                  </a:cubicBezTo>
                  <a:cubicBezTo>
                    <a:pt x="206" y="26"/>
                    <a:pt x="206" y="26"/>
                    <a:pt x="206" y="26"/>
                  </a:cubicBezTo>
                  <a:cubicBezTo>
                    <a:pt x="207" y="26"/>
                    <a:pt x="208" y="26"/>
                    <a:pt x="209" y="26"/>
                  </a:cubicBezTo>
                  <a:cubicBezTo>
                    <a:pt x="209" y="25"/>
                    <a:pt x="209" y="25"/>
                    <a:pt x="209" y="25"/>
                  </a:cubicBezTo>
                  <a:cubicBezTo>
                    <a:pt x="209" y="25"/>
                    <a:pt x="209" y="25"/>
                    <a:pt x="209" y="25"/>
                  </a:cubicBezTo>
                  <a:cubicBezTo>
                    <a:pt x="209" y="25"/>
                    <a:pt x="209" y="25"/>
                    <a:pt x="209" y="25"/>
                  </a:cubicBezTo>
                  <a:cubicBezTo>
                    <a:pt x="210" y="25"/>
                    <a:pt x="210" y="25"/>
                    <a:pt x="210" y="25"/>
                  </a:cubicBezTo>
                  <a:cubicBezTo>
                    <a:pt x="211" y="24"/>
                    <a:pt x="212" y="24"/>
                    <a:pt x="213" y="24"/>
                  </a:cubicBezTo>
                  <a:cubicBezTo>
                    <a:pt x="215" y="16"/>
                    <a:pt x="217" y="8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1"/>
                    <a:pt x="220" y="1"/>
                  </a:cubicBezTo>
                  <a:cubicBezTo>
                    <a:pt x="222" y="2"/>
                    <a:pt x="223" y="3"/>
                    <a:pt x="224" y="5"/>
                  </a:cubicBezTo>
                  <a:cubicBezTo>
                    <a:pt x="225" y="6"/>
                    <a:pt x="227" y="7"/>
                    <a:pt x="228" y="9"/>
                  </a:cubicBezTo>
                  <a:cubicBezTo>
                    <a:pt x="228" y="9"/>
                    <a:pt x="228" y="9"/>
                    <a:pt x="228" y="9"/>
                  </a:cubicBezTo>
                  <a:cubicBezTo>
                    <a:pt x="229" y="10"/>
                    <a:pt x="230" y="11"/>
                    <a:pt x="231" y="12"/>
                  </a:cubicBezTo>
                  <a:cubicBezTo>
                    <a:pt x="231" y="12"/>
                    <a:pt x="232" y="13"/>
                    <a:pt x="232" y="13"/>
                  </a:cubicBezTo>
                  <a:cubicBezTo>
                    <a:pt x="232" y="13"/>
                    <a:pt x="232" y="13"/>
                    <a:pt x="233" y="13"/>
                  </a:cubicBezTo>
                  <a:cubicBezTo>
                    <a:pt x="233" y="14"/>
                    <a:pt x="233" y="14"/>
                    <a:pt x="233" y="14"/>
                  </a:cubicBezTo>
                  <a:cubicBezTo>
                    <a:pt x="234" y="14"/>
                    <a:pt x="234" y="15"/>
                    <a:pt x="234" y="15"/>
                  </a:cubicBezTo>
                  <a:cubicBezTo>
                    <a:pt x="235" y="15"/>
                    <a:pt x="235" y="15"/>
                    <a:pt x="235" y="15"/>
                  </a:cubicBezTo>
                  <a:cubicBezTo>
                    <a:pt x="235" y="15"/>
                    <a:pt x="235" y="15"/>
                    <a:pt x="235" y="15"/>
                  </a:cubicBezTo>
                  <a:cubicBezTo>
                    <a:pt x="236" y="16"/>
                    <a:pt x="236" y="16"/>
                    <a:pt x="236" y="16"/>
                  </a:cubicBezTo>
                  <a:cubicBezTo>
                    <a:pt x="236" y="16"/>
                    <a:pt x="236" y="16"/>
                    <a:pt x="236" y="16"/>
                  </a:cubicBezTo>
                  <a:cubicBezTo>
                    <a:pt x="237" y="16"/>
                    <a:pt x="237" y="17"/>
                    <a:pt x="237" y="17"/>
                  </a:cubicBezTo>
                  <a:cubicBezTo>
                    <a:pt x="237" y="17"/>
                    <a:pt x="238" y="17"/>
                    <a:pt x="238" y="17"/>
                  </a:cubicBezTo>
                  <a:cubicBezTo>
                    <a:pt x="238" y="17"/>
                    <a:pt x="238" y="18"/>
                    <a:pt x="239" y="18"/>
                  </a:cubicBezTo>
                  <a:cubicBezTo>
                    <a:pt x="239" y="18"/>
                    <a:pt x="239" y="18"/>
                    <a:pt x="239" y="18"/>
                  </a:cubicBezTo>
                  <a:cubicBezTo>
                    <a:pt x="239" y="18"/>
                    <a:pt x="240" y="19"/>
                    <a:pt x="240" y="19"/>
                  </a:cubicBezTo>
                  <a:cubicBezTo>
                    <a:pt x="240" y="19"/>
                    <a:pt x="240" y="19"/>
                    <a:pt x="240" y="19"/>
                  </a:cubicBezTo>
                  <a:cubicBezTo>
                    <a:pt x="240" y="19"/>
                    <a:pt x="241" y="19"/>
                    <a:pt x="241" y="20"/>
                  </a:cubicBezTo>
                  <a:cubicBezTo>
                    <a:pt x="241" y="20"/>
                    <a:pt x="241" y="20"/>
                    <a:pt x="242" y="20"/>
                  </a:cubicBezTo>
                  <a:cubicBezTo>
                    <a:pt x="242" y="20"/>
                    <a:pt x="242" y="21"/>
                    <a:pt x="242" y="21"/>
                  </a:cubicBezTo>
                  <a:cubicBezTo>
                    <a:pt x="243" y="21"/>
                    <a:pt x="243" y="21"/>
                    <a:pt x="243" y="21"/>
                  </a:cubicBezTo>
                  <a:cubicBezTo>
                    <a:pt x="243" y="21"/>
                    <a:pt x="243" y="21"/>
                    <a:pt x="243" y="22"/>
                  </a:cubicBezTo>
                  <a:cubicBezTo>
                    <a:pt x="244" y="22"/>
                    <a:pt x="244" y="22"/>
                    <a:pt x="244" y="22"/>
                  </a:cubicBezTo>
                  <a:cubicBezTo>
                    <a:pt x="244" y="22"/>
                    <a:pt x="244" y="22"/>
                    <a:pt x="245" y="22"/>
                  </a:cubicBezTo>
                  <a:cubicBezTo>
                    <a:pt x="245" y="22"/>
                    <a:pt x="245" y="23"/>
                    <a:pt x="246" y="23"/>
                  </a:cubicBezTo>
                  <a:cubicBezTo>
                    <a:pt x="246" y="23"/>
                    <a:pt x="246" y="23"/>
                    <a:pt x="246" y="24"/>
                  </a:cubicBezTo>
                  <a:cubicBezTo>
                    <a:pt x="247" y="24"/>
                    <a:pt x="247" y="24"/>
                    <a:pt x="247" y="24"/>
                  </a:cubicBezTo>
                  <a:cubicBezTo>
                    <a:pt x="247" y="24"/>
                    <a:pt x="247" y="24"/>
                    <a:pt x="247" y="24"/>
                  </a:cubicBezTo>
                  <a:cubicBezTo>
                    <a:pt x="248" y="24"/>
                    <a:pt x="248" y="24"/>
                    <a:pt x="248" y="24"/>
                  </a:cubicBezTo>
                  <a:cubicBezTo>
                    <a:pt x="248" y="25"/>
                    <a:pt x="249" y="25"/>
                    <a:pt x="249" y="26"/>
                  </a:cubicBezTo>
                  <a:cubicBezTo>
                    <a:pt x="249" y="26"/>
                    <a:pt x="249" y="26"/>
                    <a:pt x="249" y="26"/>
                  </a:cubicBezTo>
                  <a:cubicBezTo>
                    <a:pt x="250" y="26"/>
                    <a:pt x="250" y="26"/>
                    <a:pt x="250" y="27"/>
                  </a:cubicBezTo>
                  <a:cubicBezTo>
                    <a:pt x="250" y="27"/>
                    <a:pt x="251" y="27"/>
                    <a:pt x="251" y="27"/>
                  </a:cubicBezTo>
                  <a:cubicBezTo>
                    <a:pt x="251" y="27"/>
                    <a:pt x="251" y="27"/>
                    <a:pt x="251" y="27"/>
                  </a:cubicBezTo>
                  <a:cubicBezTo>
                    <a:pt x="251" y="27"/>
                    <a:pt x="252" y="27"/>
                    <a:pt x="252" y="27"/>
                  </a:cubicBezTo>
                  <a:cubicBezTo>
                    <a:pt x="252" y="28"/>
                    <a:pt x="252" y="28"/>
                    <a:pt x="253" y="28"/>
                  </a:cubicBezTo>
                  <a:cubicBezTo>
                    <a:pt x="253" y="28"/>
                    <a:pt x="253" y="28"/>
                    <a:pt x="253" y="28"/>
                  </a:cubicBezTo>
                  <a:cubicBezTo>
                    <a:pt x="254" y="29"/>
                    <a:pt x="254" y="29"/>
                    <a:pt x="254" y="29"/>
                  </a:cubicBezTo>
                  <a:cubicBezTo>
                    <a:pt x="254" y="29"/>
                    <a:pt x="254" y="29"/>
                    <a:pt x="255" y="29"/>
                  </a:cubicBezTo>
                  <a:cubicBezTo>
                    <a:pt x="255" y="30"/>
                    <a:pt x="255" y="30"/>
                    <a:pt x="255" y="30"/>
                  </a:cubicBezTo>
                  <a:cubicBezTo>
                    <a:pt x="255" y="30"/>
                    <a:pt x="256" y="30"/>
                    <a:pt x="256" y="30"/>
                  </a:cubicBezTo>
                  <a:cubicBezTo>
                    <a:pt x="256" y="30"/>
                    <a:pt x="256" y="31"/>
                    <a:pt x="256" y="31"/>
                  </a:cubicBezTo>
                  <a:cubicBezTo>
                    <a:pt x="257" y="31"/>
                    <a:pt x="257" y="31"/>
                    <a:pt x="257" y="31"/>
                  </a:cubicBezTo>
                  <a:cubicBezTo>
                    <a:pt x="257" y="31"/>
                    <a:pt x="258" y="32"/>
                    <a:pt x="258" y="32"/>
                  </a:cubicBezTo>
                  <a:cubicBezTo>
                    <a:pt x="258" y="32"/>
                    <a:pt x="258" y="32"/>
                    <a:pt x="259" y="32"/>
                  </a:cubicBezTo>
                  <a:cubicBezTo>
                    <a:pt x="259" y="32"/>
                    <a:pt x="259" y="33"/>
                    <a:pt x="259" y="33"/>
                  </a:cubicBezTo>
                  <a:cubicBezTo>
                    <a:pt x="259" y="33"/>
                    <a:pt x="259" y="33"/>
                    <a:pt x="260" y="33"/>
                  </a:cubicBezTo>
                  <a:cubicBezTo>
                    <a:pt x="260" y="33"/>
                    <a:pt x="260" y="34"/>
                    <a:pt x="260" y="34"/>
                  </a:cubicBezTo>
                  <a:cubicBezTo>
                    <a:pt x="261" y="34"/>
                    <a:pt x="261" y="34"/>
                    <a:pt x="261" y="34"/>
                  </a:cubicBezTo>
                  <a:cubicBezTo>
                    <a:pt x="261" y="34"/>
                    <a:pt x="261" y="35"/>
                    <a:pt x="262" y="35"/>
                  </a:cubicBezTo>
                  <a:cubicBezTo>
                    <a:pt x="262" y="35"/>
                    <a:pt x="262" y="35"/>
                    <a:pt x="262" y="35"/>
                  </a:cubicBezTo>
                  <a:cubicBezTo>
                    <a:pt x="262" y="36"/>
                    <a:pt x="262" y="37"/>
                    <a:pt x="262" y="37"/>
                  </a:cubicBezTo>
                  <a:cubicBezTo>
                    <a:pt x="263" y="38"/>
                    <a:pt x="262" y="42"/>
                    <a:pt x="263" y="43"/>
                  </a:cubicBezTo>
                  <a:cubicBezTo>
                    <a:pt x="263" y="43"/>
                    <a:pt x="263" y="43"/>
                    <a:pt x="263" y="43"/>
                  </a:cubicBezTo>
                  <a:cubicBezTo>
                    <a:pt x="263" y="44"/>
                    <a:pt x="263" y="45"/>
                    <a:pt x="263" y="46"/>
                  </a:cubicBezTo>
                  <a:cubicBezTo>
                    <a:pt x="263" y="46"/>
                    <a:pt x="263" y="46"/>
                    <a:pt x="263" y="46"/>
                  </a:cubicBezTo>
                  <a:cubicBezTo>
                    <a:pt x="263" y="48"/>
                    <a:pt x="263" y="49"/>
                    <a:pt x="263" y="50"/>
                  </a:cubicBezTo>
                  <a:cubicBezTo>
                    <a:pt x="264" y="52"/>
                    <a:pt x="264" y="56"/>
                    <a:pt x="264" y="59"/>
                  </a:cubicBezTo>
                  <a:cubicBezTo>
                    <a:pt x="266" y="60"/>
                    <a:pt x="267" y="61"/>
                    <a:pt x="268" y="63"/>
                  </a:cubicBezTo>
                  <a:cubicBezTo>
                    <a:pt x="269" y="64"/>
                    <a:pt x="271" y="65"/>
                    <a:pt x="272" y="66"/>
                  </a:cubicBezTo>
                  <a:cubicBezTo>
                    <a:pt x="272" y="66"/>
                    <a:pt x="272" y="67"/>
                    <a:pt x="272" y="67"/>
                  </a:cubicBezTo>
                  <a:cubicBezTo>
                    <a:pt x="272" y="67"/>
                    <a:pt x="272" y="67"/>
                    <a:pt x="273" y="67"/>
                  </a:cubicBezTo>
                  <a:cubicBezTo>
                    <a:pt x="273" y="68"/>
                    <a:pt x="274" y="69"/>
                    <a:pt x="274" y="69"/>
                  </a:cubicBezTo>
                  <a:cubicBezTo>
                    <a:pt x="275" y="70"/>
                    <a:pt x="276" y="71"/>
                    <a:pt x="277" y="72"/>
                  </a:cubicBezTo>
                  <a:cubicBezTo>
                    <a:pt x="277" y="72"/>
                    <a:pt x="277" y="72"/>
                    <a:pt x="277" y="73"/>
                  </a:cubicBezTo>
                  <a:cubicBezTo>
                    <a:pt x="279" y="74"/>
                    <a:pt x="281" y="76"/>
                    <a:pt x="283" y="78"/>
                  </a:cubicBezTo>
                  <a:cubicBezTo>
                    <a:pt x="283" y="78"/>
                    <a:pt x="283" y="78"/>
                    <a:pt x="283" y="78"/>
                  </a:cubicBezTo>
                  <a:cubicBezTo>
                    <a:pt x="285" y="80"/>
                    <a:pt x="286" y="82"/>
                    <a:pt x="288" y="84"/>
                  </a:cubicBezTo>
                  <a:cubicBezTo>
                    <a:pt x="288" y="84"/>
                    <a:pt x="288" y="84"/>
                    <a:pt x="288" y="84"/>
                  </a:cubicBezTo>
                  <a:cubicBezTo>
                    <a:pt x="290" y="86"/>
                    <a:pt x="292" y="88"/>
                    <a:pt x="294" y="89"/>
                  </a:cubicBezTo>
                  <a:cubicBezTo>
                    <a:pt x="294" y="89"/>
                    <a:pt x="294" y="90"/>
                    <a:pt x="294" y="90"/>
                  </a:cubicBezTo>
                  <a:cubicBezTo>
                    <a:pt x="294" y="90"/>
                    <a:pt x="294" y="90"/>
                    <a:pt x="294" y="90"/>
                  </a:cubicBezTo>
                  <a:cubicBezTo>
                    <a:pt x="294" y="90"/>
                    <a:pt x="295" y="91"/>
                    <a:pt x="295" y="91"/>
                  </a:cubicBezTo>
                  <a:cubicBezTo>
                    <a:pt x="297" y="93"/>
                    <a:pt x="298" y="95"/>
                    <a:pt x="300" y="96"/>
                  </a:cubicBezTo>
                  <a:cubicBezTo>
                    <a:pt x="300" y="96"/>
                    <a:pt x="300" y="97"/>
                    <a:pt x="300" y="97"/>
                  </a:cubicBezTo>
                  <a:cubicBezTo>
                    <a:pt x="301" y="98"/>
                    <a:pt x="302" y="99"/>
                    <a:pt x="304" y="100"/>
                  </a:cubicBezTo>
                  <a:cubicBezTo>
                    <a:pt x="304" y="101"/>
                    <a:pt x="305" y="102"/>
                    <a:pt x="306" y="102"/>
                  </a:cubicBezTo>
                  <a:cubicBezTo>
                    <a:pt x="306" y="103"/>
                    <a:pt x="306" y="103"/>
                    <a:pt x="307" y="103"/>
                  </a:cubicBezTo>
                  <a:cubicBezTo>
                    <a:pt x="307" y="103"/>
                    <a:pt x="307" y="104"/>
                    <a:pt x="307" y="104"/>
                  </a:cubicBezTo>
                  <a:cubicBezTo>
                    <a:pt x="307" y="104"/>
                    <a:pt x="307" y="104"/>
                    <a:pt x="307" y="104"/>
                  </a:cubicBezTo>
                  <a:cubicBezTo>
                    <a:pt x="307" y="104"/>
                    <a:pt x="307" y="104"/>
                    <a:pt x="307" y="105"/>
                  </a:cubicBezTo>
                  <a:cubicBezTo>
                    <a:pt x="309" y="106"/>
                    <a:pt x="310" y="106"/>
                    <a:pt x="311" y="109"/>
                  </a:cubicBezTo>
                  <a:cubicBezTo>
                    <a:pt x="311" y="110"/>
                    <a:pt x="311" y="113"/>
                    <a:pt x="311" y="115"/>
                  </a:cubicBezTo>
                  <a:cubicBezTo>
                    <a:pt x="311" y="119"/>
                    <a:pt x="311" y="124"/>
                    <a:pt x="312" y="128"/>
                  </a:cubicBezTo>
                  <a:cubicBezTo>
                    <a:pt x="318" y="134"/>
                    <a:pt x="323" y="139"/>
                    <a:pt x="329" y="145"/>
                  </a:cubicBezTo>
                  <a:cubicBezTo>
                    <a:pt x="329" y="146"/>
                    <a:pt x="328" y="147"/>
                    <a:pt x="327" y="148"/>
                  </a:cubicBezTo>
                  <a:cubicBezTo>
                    <a:pt x="327" y="148"/>
                    <a:pt x="327" y="149"/>
                    <a:pt x="327" y="149"/>
                  </a:cubicBezTo>
                  <a:cubicBezTo>
                    <a:pt x="327" y="149"/>
                    <a:pt x="327" y="149"/>
                    <a:pt x="327" y="149"/>
                  </a:cubicBezTo>
                  <a:cubicBezTo>
                    <a:pt x="326" y="149"/>
                    <a:pt x="326" y="150"/>
                    <a:pt x="326" y="150"/>
                  </a:cubicBezTo>
                  <a:cubicBezTo>
                    <a:pt x="326" y="150"/>
                    <a:pt x="326" y="151"/>
                    <a:pt x="326" y="151"/>
                  </a:cubicBezTo>
                  <a:cubicBezTo>
                    <a:pt x="325" y="151"/>
                    <a:pt x="325" y="151"/>
                    <a:pt x="325" y="151"/>
                  </a:cubicBezTo>
                  <a:cubicBezTo>
                    <a:pt x="325" y="152"/>
                    <a:pt x="325" y="152"/>
                    <a:pt x="325" y="152"/>
                  </a:cubicBezTo>
                  <a:cubicBezTo>
                    <a:pt x="325" y="152"/>
                    <a:pt x="325" y="152"/>
                    <a:pt x="325" y="152"/>
                  </a:cubicBezTo>
                  <a:cubicBezTo>
                    <a:pt x="325" y="152"/>
                    <a:pt x="324" y="153"/>
                    <a:pt x="324" y="153"/>
                  </a:cubicBezTo>
                  <a:cubicBezTo>
                    <a:pt x="324" y="153"/>
                    <a:pt x="324" y="153"/>
                    <a:pt x="324" y="154"/>
                  </a:cubicBezTo>
                  <a:cubicBezTo>
                    <a:pt x="324" y="154"/>
                    <a:pt x="324" y="154"/>
                    <a:pt x="324" y="154"/>
                  </a:cubicBezTo>
                  <a:cubicBezTo>
                    <a:pt x="323" y="154"/>
                    <a:pt x="323" y="154"/>
                    <a:pt x="323" y="155"/>
                  </a:cubicBezTo>
                  <a:cubicBezTo>
                    <a:pt x="323" y="155"/>
                    <a:pt x="323" y="155"/>
                    <a:pt x="323" y="156"/>
                  </a:cubicBezTo>
                  <a:cubicBezTo>
                    <a:pt x="322" y="156"/>
                    <a:pt x="322" y="156"/>
                    <a:pt x="322" y="156"/>
                  </a:cubicBezTo>
                  <a:cubicBezTo>
                    <a:pt x="322" y="156"/>
                    <a:pt x="322" y="157"/>
                    <a:pt x="322" y="157"/>
                  </a:cubicBezTo>
                  <a:cubicBezTo>
                    <a:pt x="322" y="157"/>
                    <a:pt x="321" y="157"/>
                    <a:pt x="321" y="157"/>
                  </a:cubicBezTo>
                  <a:cubicBezTo>
                    <a:pt x="321" y="158"/>
                    <a:pt x="321" y="158"/>
                    <a:pt x="321" y="158"/>
                  </a:cubicBezTo>
                  <a:cubicBezTo>
                    <a:pt x="321" y="158"/>
                    <a:pt x="321" y="158"/>
                    <a:pt x="320" y="158"/>
                  </a:cubicBezTo>
                  <a:cubicBezTo>
                    <a:pt x="320" y="159"/>
                    <a:pt x="320" y="159"/>
                    <a:pt x="320" y="159"/>
                  </a:cubicBezTo>
                  <a:cubicBezTo>
                    <a:pt x="320" y="159"/>
                    <a:pt x="320" y="159"/>
                    <a:pt x="320" y="159"/>
                  </a:cubicBezTo>
                  <a:cubicBezTo>
                    <a:pt x="320" y="160"/>
                    <a:pt x="320" y="160"/>
                    <a:pt x="320" y="160"/>
                  </a:cubicBezTo>
                  <a:cubicBezTo>
                    <a:pt x="319" y="160"/>
                    <a:pt x="319" y="160"/>
                    <a:pt x="319" y="161"/>
                  </a:cubicBezTo>
                  <a:cubicBezTo>
                    <a:pt x="318" y="164"/>
                    <a:pt x="317" y="168"/>
                    <a:pt x="317" y="171"/>
                  </a:cubicBezTo>
                  <a:cubicBezTo>
                    <a:pt x="314" y="180"/>
                    <a:pt x="312" y="190"/>
                    <a:pt x="309" y="198"/>
                  </a:cubicBezTo>
                  <a:cubicBezTo>
                    <a:pt x="309" y="200"/>
                    <a:pt x="309" y="201"/>
                    <a:pt x="309" y="202"/>
                  </a:cubicBezTo>
                  <a:cubicBezTo>
                    <a:pt x="307" y="207"/>
                    <a:pt x="306" y="212"/>
                    <a:pt x="304" y="217"/>
                  </a:cubicBezTo>
                  <a:cubicBezTo>
                    <a:pt x="304" y="217"/>
                    <a:pt x="304" y="218"/>
                    <a:pt x="304" y="218"/>
                  </a:cubicBezTo>
                  <a:cubicBezTo>
                    <a:pt x="304" y="218"/>
                    <a:pt x="304" y="218"/>
                    <a:pt x="304" y="218"/>
                  </a:cubicBezTo>
                  <a:cubicBezTo>
                    <a:pt x="304" y="219"/>
                    <a:pt x="304" y="219"/>
                    <a:pt x="304" y="219"/>
                  </a:cubicBezTo>
                  <a:cubicBezTo>
                    <a:pt x="304" y="219"/>
                    <a:pt x="304" y="219"/>
                    <a:pt x="304" y="219"/>
                  </a:cubicBezTo>
                  <a:cubicBezTo>
                    <a:pt x="304" y="220"/>
                    <a:pt x="304" y="220"/>
                    <a:pt x="304" y="221"/>
                  </a:cubicBezTo>
                  <a:cubicBezTo>
                    <a:pt x="304" y="221"/>
                    <a:pt x="303" y="221"/>
                    <a:pt x="303" y="221"/>
                  </a:cubicBezTo>
                  <a:cubicBezTo>
                    <a:pt x="303" y="221"/>
                    <a:pt x="303" y="222"/>
                    <a:pt x="303" y="222"/>
                  </a:cubicBezTo>
                  <a:cubicBezTo>
                    <a:pt x="303" y="222"/>
                    <a:pt x="303" y="222"/>
                    <a:pt x="303" y="222"/>
                  </a:cubicBezTo>
                  <a:cubicBezTo>
                    <a:pt x="303" y="223"/>
                    <a:pt x="303" y="224"/>
                    <a:pt x="303" y="225"/>
                  </a:cubicBezTo>
                  <a:cubicBezTo>
                    <a:pt x="302" y="225"/>
                    <a:pt x="302" y="225"/>
                    <a:pt x="302" y="225"/>
                  </a:cubicBezTo>
                  <a:cubicBezTo>
                    <a:pt x="301" y="225"/>
                    <a:pt x="300" y="226"/>
                    <a:pt x="299" y="226"/>
                  </a:cubicBezTo>
                  <a:cubicBezTo>
                    <a:pt x="299" y="226"/>
                    <a:pt x="299" y="227"/>
                    <a:pt x="299" y="227"/>
                  </a:cubicBezTo>
                  <a:cubicBezTo>
                    <a:pt x="299" y="227"/>
                    <a:pt x="299" y="227"/>
                    <a:pt x="298" y="227"/>
                  </a:cubicBezTo>
                  <a:cubicBezTo>
                    <a:pt x="298" y="227"/>
                    <a:pt x="298" y="227"/>
                    <a:pt x="298" y="228"/>
                  </a:cubicBezTo>
                  <a:cubicBezTo>
                    <a:pt x="298" y="228"/>
                    <a:pt x="298" y="228"/>
                    <a:pt x="297" y="228"/>
                  </a:cubicBezTo>
                  <a:cubicBezTo>
                    <a:pt x="297" y="228"/>
                    <a:pt x="297" y="228"/>
                    <a:pt x="297" y="228"/>
                  </a:cubicBezTo>
                  <a:cubicBezTo>
                    <a:pt x="297" y="228"/>
                    <a:pt x="297" y="228"/>
                    <a:pt x="296" y="228"/>
                  </a:cubicBezTo>
                  <a:cubicBezTo>
                    <a:pt x="296" y="229"/>
                    <a:pt x="296" y="229"/>
                    <a:pt x="296" y="229"/>
                  </a:cubicBezTo>
                  <a:cubicBezTo>
                    <a:pt x="296" y="229"/>
                    <a:pt x="295" y="229"/>
                    <a:pt x="295" y="229"/>
                  </a:cubicBezTo>
                  <a:cubicBezTo>
                    <a:pt x="295" y="229"/>
                    <a:pt x="295" y="230"/>
                    <a:pt x="295" y="230"/>
                  </a:cubicBezTo>
                  <a:cubicBezTo>
                    <a:pt x="295" y="230"/>
                    <a:pt x="294" y="230"/>
                    <a:pt x="294" y="230"/>
                  </a:cubicBezTo>
                  <a:cubicBezTo>
                    <a:pt x="294" y="230"/>
                    <a:pt x="294" y="230"/>
                    <a:pt x="294" y="230"/>
                  </a:cubicBezTo>
                  <a:cubicBezTo>
                    <a:pt x="293" y="231"/>
                    <a:pt x="293" y="231"/>
                    <a:pt x="292" y="231"/>
                  </a:cubicBezTo>
                  <a:cubicBezTo>
                    <a:pt x="292" y="231"/>
                    <a:pt x="292" y="231"/>
                    <a:pt x="292" y="231"/>
                  </a:cubicBezTo>
                  <a:cubicBezTo>
                    <a:pt x="292" y="231"/>
                    <a:pt x="292" y="231"/>
                    <a:pt x="291" y="232"/>
                  </a:cubicBezTo>
                  <a:cubicBezTo>
                    <a:pt x="291" y="232"/>
                    <a:pt x="291" y="232"/>
                    <a:pt x="291" y="232"/>
                  </a:cubicBezTo>
                  <a:cubicBezTo>
                    <a:pt x="291" y="232"/>
                    <a:pt x="291" y="232"/>
                    <a:pt x="290" y="232"/>
                  </a:cubicBezTo>
                  <a:cubicBezTo>
                    <a:pt x="290" y="232"/>
                    <a:pt x="290" y="232"/>
                    <a:pt x="290" y="233"/>
                  </a:cubicBezTo>
                  <a:cubicBezTo>
                    <a:pt x="290" y="233"/>
                    <a:pt x="290" y="233"/>
                    <a:pt x="290" y="233"/>
                  </a:cubicBezTo>
                  <a:cubicBezTo>
                    <a:pt x="290" y="233"/>
                    <a:pt x="289" y="233"/>
                    <a:pt x="289" y="233"/>
                  </a:cubicBezTo>
                  <a:cubicBezTo>
                    <a:pt x="289" y="233"/>
                    <a:pt x="288" y="233"/>
                    <a:pt x="288" y="234"/>
                  </a:cubicBezTo>
                  <a:cubicBezTo>
                    <a:pt x="288" y="234"/>
                    <a:pt x="288" y="234"/>
                    <a:pt x="288" y="234"/>
                  </a:cubicBezTo>
                  <a:cubicBezTo>
                    <a:pt x="287" y="234"/>
                    <a:pt x="287" y="235"/>
                    <a:pt x="286" y="235"/>
                  </a:cubicBezTo>
                  <a:cubicBezTo>
                    <a:pt x="286" y="235"/>
                    <a:pt x="286" y="235"/>
                    <a:pt x="286" y="235"/>
                  </a:cubicBezTo>
                  <a:cubicBezTo>
                    <a:pt x="285" y="235"/>
                    <a:pt x="285" y="236"/>
                    <a:pt x="284" y="236"/>
                  </a:cubicBezTo>
                  <a:cubicBezTo>
                    <a:pt x="284" y="236"/>
                    <a:pt x="284" y="236"/>
                    <a:pt x="284" y="236"/>
                  </a:cubicBezTo>
                  <a:cubicBezTo>
                    <a:pt x="284" y="237"/>
                    <a:pt x="283" y="237"/>
                    <a:pt x="283" y="237"/>
                  </a:cubicBezTo>
                  <a:cubicBezTo>
                    <a:pt x="283" y="237"/>
                    <a:pt x="282" y="237"/>
                    <a:pt x="282" y="237"/>
                  </a:cubicBezTo>
                  <a:cubicBezTo>
                    <a:pt x="282" y="238"/>
                    <a:pt x="281" y="238"/>
                    <a:pt x="280" y="238"/>
                  </a:cubicBezTo>
                  <a:cubicBezTo>
                    <a:pt x="280" y="238"/>
                    <a:pt x="280" y="239"/>
                    <a:pt x="280" y="239"/>
                  </a:cubicBezTo>
                  <a:cubicBezTo>
                    <a:pt x="280" y="239"/>
                    <a:pt x="279" y="239"/>
                    <a:pt x="279" y="239"/>
                  </a:cubicBezTo>
                  <a:cubicBezTo>
                    <a:pt x="279" y="239"/>
                    <a:pt x="279" y="239"/>
                    <a:pt x="279" y="239"/>
                  </a:cubicBezTo>
                  <a:cubicBezTo>
                    <a:pt x="279" y="239"/>
                    <a:pt x="279" y="239"/>
                    <a:pt x="278" y="239"/>
                  </a:cubicBezTo>
                  <a:cubicBezTo>
                    <a:pt x="278" y="239"/>
                    <a:pt x="278" y="239"/>
                    <a:pt x="278" y="240"/>
                  </a:cubicBezTo>
                  <a:cubicBezTo>
                    <a:pt x="278" y="240"/>
                    <a:pt x="278" y="240"/>
                    <a:pt x="278" y="240"/>
                  </a:cubicBezTo>
                  <a:cubicBezTo>
                    <a:pt x="278" y="240"/>
                    <a:pt x="278" y="240"/>
                    <a:pt x="278" y="240"/>
                  </a:cubicBezTo>
                  <a:cubicBezTo>
                    <a:pt x="278" y="240"/>
                    <a:pt x="277" y="240"/>
                    <a:pt x="277" y="240"/>
                  </a:cubicBezTo>
                  <a:cubicBezTo>
                    <a:pt x="277" y="240"/>
                    <a:pt x="277" y="240"/>
                    <a:pt x="277" y="241"/>
                  </a:cubicBezTo>
                  <a:cubicBezTo>
                    <a:pt x="275" y="241"/>
                    <a:pt x="273" y="242"/>
                    <a:pt x="271" y="243"/>
                  </a:cubicBezTo>
                  <a:cubicBezTo>
                    <a:pt x="271" y="243"/>
                    <a:pt x="271" y="244"/>
                    <a:pt x="271" y="244"/>
                  </a:cubicBezTo>
                  <a:cubicBezTo>
                    <a:pt x="270" y="244"/>
                    <a:pt x="269" y="244"/>
                    <a:pt x="269" y="244"/>
                  </a:cubicBezTo>
                  <a:cubicBezTo>
                    <a:pt x="269" y="245"/>
                    <a:pt x="269" y="245"/>
                    <a:pt x="269" y="245"/>
                  </a:cubicBezTo>
                  <a:cubicBezTo>
                    <a:pt x="268" y="245"/>
                    <a:pt x="268" y="245"/>
                    <a:pt x="268" y="245"/>
                  </a:cubicBezTo>
                  <a:cubicBezTo>
                    <a:pt x="268" y="245"/>
                    <a:pt x="268" y="245"/>
                    <a:pt x="268" y="245"/>
                  </a:cubicBezTo>
                  <a:cubicBezTo>
                    <a:pt x="268" y="245"/>
                    <a:pt x="268" y="245"/>
                    <a:pt x="267" y="245"/>
                  </a:cubicBezTo>
                  <a:cubicBezTo>
                    <a:pt x="267" y="245"/>
                    <a:pt x="267" y="245"/>
                    <a:pt x="267" y="245"/>
                  </a:cubicBezTo>
                  <a:cubicBezTo>
                    <a:pt x="267" y="246"/>
                    <a:pt x="266" y="246"/>
                    <a:pt x="265" y="246"/>
                  </a:cubicBezTo>
                  <a:cubicBezTo>
                    <a:pt x="265" y="246"/>
                    <a:pt x="265" y="246"/>
                    <a:pt x="265" y="247"/>
                  </a:cubicBezTo>
                  <a:cubicBezTo>
                    <a:pt x="265" y="247"/>
                    <a:pt x="264" y="247"/>
                    <a:pt x="264" y="247"/>
                  </a:cubicBezTo>
                  <a:cubicBezTo>
                    <a:pt x="264" y="247"/>
                    <a:pt x="264" y="247"/>
                    <a:pt x="264" y="247"/>
                  </a:cubicBezTo>
                  <a:cubicBezTo>
                    <a:pt x="263" y="247"/>
                    <a:pt x="263" y="247"/>
                    <a:pt x="262" y="248"/>
                  </a:cubicBezTo>
                  <a:cubicBezTo>
                    <a:pt x="262" y="248"/>
                    <a:pt x="262" y="248"/>
                    <a:pt x="262" y="248"/>
                  </a:cubicBezTo>
                  <a:cubicBezTo>
                    <a:pt x="262" y="248"/>
                    <a:pt x="261" y="248"/>
                    <a:pt x="261" y="248"/>
                  </a:cubicBezTo>
                  <a:cubicBezTo>
                    <a:pt x="261" y="249"/>
                    <a:pt x="260" y="249"/>
                    <a:pt x="260" y="249"/>
                  </a:cubicBezTo>
                  <a:cubicBezTo>
                    <a:pt x="260" y="249"/>
                    <a:pt x="259" y="249"/>
                    <a:pt x="259" y="249"/>
                  </a:cubicBezTo>
                  <a:cubicBezTo>
                    <a:pt x="259" y="250"/>
                    <a:pt x="259" y="250"/>
                    <a:pt x="259" y="250"/>
                  </a:cubicBezTo>
                  <a:cubicBezTo>
                    <a:pt x="258" y="250"/>
                    <a:pt x="258" y="250"/>
                    <a:pt x="258" y="250"/>
                  </a:cubicBezTo>
                  <a:cubicBezTo>
                    <a:pt x="258" y="250"/>
                    <a:pt x="258" y="251"/>
                    <a:pt x="257" y="251"/>
                  </a:cubicBezTo>
                  <a:cubicBezTo>
                    <a:pt x="257" y="251"/>
                    <a:pt x="257" y="251"/>
                    <a:pt x="257" y="251"/>
                  </a:cubicBezTo>
                  <a:cubicBezTo>
                    <a:pt x="256" y="251"/>
                    <a:pt x="256" y="252"/>
                    <a:pt x="256" y="252"/>
                  </a:cubicBezTo>
                  <a:cubicBezTo>
                    <a:pt x="256" y="252"/>
                    <a:pt x="255" y="252"/>
                    <a:pt x="255" y="252"/>
                  </a:cubicBezTo>
                  <a:cubicBezTo>
                    <a:pt x="254" y="253"/>
                    <a:pt x="254" y="254"/>
                    <a:pt x="253" y="254"/>
                  </a:cubicBezTo>
                  <a:cubicBezTo>
                    <a:pt x="253" y="254"/>
                    <a:pt x="253" y="254"/>
                    <a:pt x="253" y="254"/>
                  </a:cubicBezTo>
                  <a:cubicBezTo>
                    <a:pt x="252" y="255"/>
                    <a:pt x="251" y="256"/>
                    <a:pt x="250" y="257"/>
                  </a:cubicBezTo>
                  <a:cubicBezTo>
                    <a:pt x="250" y="257"/>
                    <a:pt x="250" y="257"/>
                    <a:pt x="250" y="257"/>
                  </a:cubicBezTo>
                  <a:cubicBezTo>
                    <a:pt x="250" y="257"/>
                    <a:pt x="250" y="258"/>
                    <a:pt x="250" y="258"/>
                  </a:cubicBezTo>
                  <a:cubicBezTo>
                    <a:pt x="249" y="259"/>
                    <a:pt x="248" y="259"/>
                    <a:pt x="247" y="260"/>
                  </a:cubicBezTo>
                  <a:cubicBezTo>
                    <a:pt x="247" y="260"/>
                    <a:pt x="247" y="261"/>
                    <a:pt x="247" y="261"/>
                  </a:cubicBezTo>
                  <a:cubicBezTo>
                    <a:pt x="247" y="261"/>
                    <a:pt x="246" y="262"/>
                    <a:pt x="246" y="262"/>
                  </a:cubicBezTo>
                  <a:cubicBezTo>
                    <a:pt x="246" y="262"/>
                    <a:pt x="246" y="262"/>
                    <a:pt x="246" y="263"/>
                  </a:cubicBezTo>
                  <a:cubicBezTo>
                    <a:pt x="245" y="263"/>
                    <a:pt x="245" y="263"/>
                    <a:pt x="244" y="264"/>
                  </a:cubicBezTo>
                  <a:cubicBezTo>
                    <a:pt x="244" y="264"/>
                    <a:pt x="244" y="264"/>
                    <a:pt x="244" y="264"/>
                  </a:cubicBezTo>
                  <a:cubicBezTo>
                    <a:pt x="244" y="265"/>
                    <a:pt x="243" y="265"/>
                    <a:pt x="243" y="265"/>
                  </a:cubicBezTo>
                  <a:cubicBezTo>
                    <a:pt x="243" y="265"/>
                    <a:pt x="243" y="266"/>
                    <a:pt x="243" y="266"/>
                  </a:cubicBezTo>
                  <a:cubicBezTo>
                    <a:pt x="243" y="266"/>
                    <a:pt x="242" y="266"/>
                    <a:pt x="242" y="266"/>
                  </a:cubicBezTo>
                  <a:cubicBezTo>
                    <a:pt x="242" y="267"/>
                    <a:pt x="242" y="267"/>
                    <a:pt x="242" y="267"/>
                  </a:cubicBezTo>
                  <a:cubicBezTo>
                    <a:pt x="242" y="267"/>
                    <a:pt x="241" y="268"/>
                    <a:pt x="241" y="268"/>
                  </a:cubicBezTo>
                  <a:cubicBezTo>
                    <a:pt x="241" y="268"/>
                    <a:pt x="241" y="268"/>
                    <a:pt x="241" y="269"/>
                  </a:cubicBezTo>
                  <a:cubicBezTo>
                    <a:pt x="241" y="269"/>
                    <a:pt x="241" y="269"/>
                    <a:pt x="240" y="269"/>
                  </a:cubicBezTo>
                  <a:cubicBezTo>
                    <a:pt x="240" y="269"/>
                    <a:pt x="240" y="270"/>
                    <a:pt x="240" y="270"/>
                  </a:cubicBezTo>
                  <a:cubicBezTo>
                    <a:pt x="240" y="270"/>
                    <a:pt x="240" y="270"/>
                    <a:pt x="240" y="270"/>
                  </a:cubicBezTo>
                  <a:cubicBezTo>
                    <a:pt x="240" y="270"/>
                    <a:pt x="240" y="270"/>
                    <a:pt x="240" y="271"/>
                  </a:cubicBezTo>
                  <a:cubicBezTo>
                    <a:pt x="239" y="271"/>
                    <a:pt x="239" y="271"/>
                    <a:pt x="239" y="271"/>
                  </a:cubicBezTo>
                  <a:cubicBezTo>
                    <a:pt x="239" y="271"/>
                    <a:pt x="239" y="271"/>
                    <a:pt x="239" y="272"/>
                  </a:cubicBezTo>
                  <a:cubicBezTo>
                    <a:pt x="239" y="272"/>
                    <a:pt x="238" y="272"/>
                    <a:pt x="238" y="272"/>
                  </a:cubicBezTo>
                  <a:cubicBezTo>
                    <a:pt x="238" y="272"/>
                    <a:pt x="238" y="273"/>
                    <a:pt x="238" y="273"/>
                  </a:cubicBezTo>
                  <a:cubicBezTo>
                    <a:pt x="238" y="273"/>
                    <a:pt x="238" y="273"/>
                    <a:pt x="238" y="273"/>
                  </a:cubicBezTo>
                  <a:cubicBezTo>
                    <a:pt x="238" y="273"/>
                    <a:pt x="238" y="274"/>
                    <a:pt x="238" y="274"/>
                  </a:cubicBezTo>
                  <a:cubicBezTo>
                    <a:pt x="237" y="274"/>
                    <a:pt x="237" y="274"/>
                    <a:pt x="237" y="274"/>
                  </a:cubicBezTo>
                  <a:cubicBezTo>
                    <a:pt x="237" y="274"/>
                    <a:pt x="237" y="275"/>
                    <a:pt x="237" y="275"/>
                  </a:cubicBezTo>
                  <a:cubicBezTo>
                    <a:pt x="237" y="275"/>
                    <a:pt x="236" y="275"/>
                    <a:pt x="236" y="275"/>
                  </a:cubicBezTo>
                  <a:cubicBezTo>
                    <a:pt x="236" y="276"/>
                    <a:pt x="236" y="276"/>
                    <a:pt x="236" y="277"/>
                  </a:cubicBezTo>
                  <a:cubicBezTo>
                    <a:pt x="236" y="277"/>
                    <a:pt x="235" y="277"/>
                    <a:pt x="235" y="277"/>
                  </a:cubicBezTo>
                  <a:cubicBezTo>
                    <a:pt x="235" y="277"/>
                    <a:pt x="235" y="277"/>
                    <a:pt x="235" y="278"/>
                  </a:cubicBezTo>
                  <a:cubicBezTo>
                    <a:pt x="235" y="278"/>
                    <a:pt x="235" y="278"/>
                    <a:pt x="234" y="278"/>
                  </a:cubicBezTo>
                  <a:cubicBezTo>
                    <a:pt x="234" y="278"/>
                    <a:pt x="234" y="278"/>
                    <a:pt x="234" y="279"/>
                  </a:cubicBezTo>
                  <a:cubicBezTo>
                    <a:pt x="234" y="279"/>
                    <a:pt x="234" y="279"/>
                    <a:pt x="234" y="279"/>
                  </a:cubicBezTo>
                  <a:cubicBezTo>
                    <a:pt x="234" y="279"/>
                    <a:pt x="234" y="279"/>
                    <a:pt x="234" y="279"/>
                  </a:cubicBezTo>
                  <a:cubicBezTo>
                    <a:pt x="234" y="280"/>
                    <a:pt x="234" y="280"/>
                    <a:pt x="233" y="280"/>
                  </a:cubicBezTo>
                  <a:cubicBezTo>
                    <a:pt x="233" y="280"/>
                    <a:pt x="233" y="281"/>
                    <a:pt x="233" y="281"/>
                  </a:cubicBezTo>
                  <a:cubicBezTo>
                    <a:pt x="233" y="281"/>
                    <a:pt x="233" y="281"/>
                    <a:pt x="232" y="282"/>
                  </a:cubicBezTo>
                  <a:cubicBezTo>
                    <a:pt x="232" y="282"/>
                    <a:pt x="232" y="283"/>
                    <a:pt x="232" y="284"/>
                  </a:cubicBezTo>
                  <a:cubicBezTo>
                    <a:pt x="231" y="284"/>
                    <a:pt x="231" y="284"/>
                    <a:pt x="231" y="284"/>
                  </a:cubicBezTo>
                  <a:cubicBezTo>
                    <a:pt x="231" y="285"/>
                    <a:pt x="230" y="285"/>
                    <a:pt x="230" y="286"/>
                  </a:cubicBezTo>
                  <a:cubicBezTo>
                    <a:pt x="230" y="286"/>
                    <a:pt x="230" y="286"/>
                    <a:pt x="230" y="286"/>
                  </a:cubicBezTo>
                  <a:cubicBezTo>
                    <a:pt x="230" y="287"/>
                    <a:pt x="230" y="287"/>
                    <a:pt x="230" y="287"/>
                  </a:cubicBezTo>
                  <a:cubicBezTo>
                    <a:pt x="229" y="287"/>
                    <a:pt x="229" y="287"/>
                    <a:pt x="229" y="287"/>
                  </a:cubicBezTo>
                  <a:cubicBezTo>
                    <a:pt x="229" y="287"/>
                    <a:pt x="229" y="288"/>
                    <a:pt x="229" y="288"/>
                  </a:cubicBezTo>
                  <a:cubicBezTo>
                    <a:pt x="229" y="288"/>
                    <a:pt x="229" y="288"/>
                    <a:pt x="229" y="288"/>
                  </a:cubicBezTo>
                  <a:cubicBezTo>
                    <a:pt x="229" y="288"/>
                    <a:pt x="229" y="288"/>
                    <a:pt x="229" y="289"/>
                  </a:cubicBezTo>
                  <a:cubicBezTo>
                    <a:pt x="229" y="289"/>
                    <a:pt x="229" y="289"/>
                    <a:pt x="228" y="289"/>
                  </a:cubicBezTo>
                  <a:cubicBezTo>
                    <a:pt x="228" y="289"/>
                    <a:pt x="228" y="289"/>
                    <a:pt x="228" y="289"/>
                  </a:cubicBezTo>
                  <a:cubicBezTo>
                    <a:pt x="228" y="289"/>
                    <a:pt x="228" y="289"/>
                    <a:pt x="228" y="289"/>
                  </a:cubicBezTo>
                  <a:cubicBezTo>
                    <a:pt x="228" y="290"/>
                    <a:pt x="228" y="290"/>
                    <a:pt x="228" y="291"/>
                  </a:cubicBezTo>
                  <a:cubicBezTo>
                    <a:pt x="228" y="291"/>
                    <a:pt x="227" y="291"/>
                    <a:pt x="227" y="291"/>
                  </a:cubicBezTo>
                  <a:cubicBezTo>
                    <a:pt x="227" y="291"/>
                    <a:pt x="227" y="291"/>
                    <a:pt x="227" y="292"/>
                  </a:cubicBezTo>
                  <a:cubicBezTo>
                    <a:pt x="227" y="292"/>
                    <a:pt x="227" y="292"/>
                    <a:pt x="227" y="292"/>
                  </a:cubicBezTo>
                  <a:cubicBezTo>
                    <a:pt x="227" y="292"/>
                    <a:pt x="227" y="292"/>
                    <a:pt x="227" y="292"/>
                  </a:cubicBezTo>
                  <a:cubicBezTo>
                    <a:pt x="227" y="292"/>
                    <a:pt x="226" y="292"/>
                    <a:pt x="226" y="292"/>
                  </a:cubicBezTo>
                  <a:cubicBezTo>
                    <a:pt x="226" y="293"/>
                    <a:pt x="226" y="293"/>
                    <a:pt x="226" y="293"/>
                  </a:cubicBezTo>
                  <a:cubicBezTo>
                    <a:pt x="226" y="293"/>
                    <a:pt x="226" y="293"/>
                    <a:pt x="226" y="293"/>
                  </a:cubicBezTo>
                  <a:cubicBezTo>
                    <a:pt x="226" y="293"/>
                    <a:pt x="226" y="294"/>
                    <a:pt x="226" y="294"/>
                  </a:cubicBezTo>
                  <a:cubicBezTo>
                    <a:pt x="226" y="294"/>
                    <a:pt x="226" y="294"/>
                    <a:pt x="226" y="294"/>
                  </a:cubicBezTo>
                  <a:cubicBezTo>
                    <a:pt x="226" y="294"/>
                    <a:pt x="226" y="294"/>
                    <a:pt x="226" y="294"/>
                  </a:cubicBezTo>
                  <a:cubicBezTo>
                    <a:pt x="226" y="294"/>
                    <a:pt x="225" y="294"/>
                    <a:pt x="225" y="294"/>
                  </a:cubicBezTo>
                  <a:cubicBezTo>
                    <a:pt x="225" y="295"/>
                    <a:pt x="225" y="295"/>
                    <a:pt x="225" y="295"/>
                  </a:cubicBezTo>
                  <a:cubicBezTo>
                    <a:pt x="225" y="295"/>
                    <a:pt x="225" y="295"/>
                    <a:pt x="225" y="295"/>
                  </a:cubicBezTo>
                  <a:cubicBezTo>
                    <a:pt x="225" y="295"/>
                    <a:pt x="225" y="296"/>
                    <a:pt x="225" y="296"/>
                  </a:cubicBezTo>
                  <a:cubicBezTo>
                    <a:pt x="225" y="296"/>
                    <a:pt x="225" y="296"/>
                    <a:pt x="225" y="296"/>
                  </a:cubicBezTo>
                  <a:cubicBezTo>
                    <a:pt x="224" y="296"/>
                    <a:pt x="224" y="297"/>
                    <a:pt x="224" y="297"/>
                  </a:cubicBezTo>
                  <a:cubicBezTo>
                    <a:pt x="224" y="297"/>
                    <a:pt x="224" y="297"/>
                    <a:pt x="224" y="297"/>
                  </a:cubicBezTo>
                  <a:cubicBezTo>
                    <a:pt x="224" y="298"/>
                    <a:pt x="224" y="298"/>
                    <a:pt x="224" y="299"/>
                  </a:cubicBezTo>
                  <a:cubicBezTo>
                    <a:pt x="223" y="299"/>
                    <a:pt x="223" y="299"/>
                    <a:pt x="223" y="299"/>
                  </a:cubicBezTo>
                  <a:cubicBezTo>
                    <a:pt x="223" y="299"/>
                    <a:pt x="223" y="299"/>
                    <a:pt x="223" y="299"/>
                  </a:cubicBezTo>
                  <a:cubicBezTo>
                    <a:pt x="223" y="299"/>
                    <a:pt x="223" y="299"/>
                    <a:pt x="223" y="299"/>
                  </a:cubicBezTo>
                  <a:cubicBezTo>
                    <a:pt x="223" y="300"/>
                    <a:pt x="223" y="300"/>
                    <a:pt x="223" y="300"/>
                  </a:cubicBezTo>
                  <a:cubicBezTo>
                    <a:pt x="223" y="300"/>
                    <a:pt x="223" y="300"/>
                    <a:pt x="223" y="300"/>
                  </a:cubicBezTo>
                  <a:cubicBezTo>
                    <a:pt x="223" y="300"/>
                    <a:pt x="223" y="301"/>
                    <a:pt x="223" y="301"/>
                  </a:cubicBezTo>
                  <a:cubicBezTo>
                    <a:pt x="222" y="301"/>
                    <a:pt x="222" y="301"/>
                    <a:pt x="222" y="301"/>
                  </a:cubicBezTo>
                  <a:cubicBezTo>
                    <a:pt x="222" y="301"/>
                    <a:pt x="222" y="301"/>
                    <a:pt x="222" y="301"/>
                  </a:cubicBezTo>
                  <a:cubicBezTo>
                    <a:pt x="222" y="301"/>
                    <a:pt x="222" y="301"/>
                    <a:pt x="222" y="301"/>
                  </a:cubicBezTo>
                  <a:cubicBezTo>
                    <a:pt x="222" y="302"/>
                    <a:pt x="222" y="302"/>
                    <a:pt x="221" y="303"/>
                  </a:cubicBezTo>
                  <a:cubicBezTo>
                    <a:pt x="221" y="303"/>
                    <a:pt x="221" y="303"/>
                    <a:pt x="221" y="303"/>
                  </a:cubicBezTo>
                  <a:cubicBezTo>
                    <a:pt x="221" y="303"/>
                    <a:pt x="221" y="303"/>
                    <a:pt x="221" y="304"/>
                  </a:cubicBezTo>
                  <a:cubicBezTo>
                    <a:pt x="221" y="304"/>
                    <a:pt x="221" y="304"/>
                    <a:pt x="221" y="304"/>
                  </a:cubicBezTo>
                  <a:cubicBezTo>
                    <a:pt x="221" y="304"/>
                    <a:pt x="221" y="304"/>
                    <a:pt x="221" y="305"/>
                  </a:cubicBezTo>
                  <a:cubicBezTo>
                    <a:pt x="221" y="305"/>
                    <a:pt x="221" y="305"/>
                    <a:pt x="220" y="305"/>
                  </a:cubicBezTo>
                  <a:cubicBezTo>
                    <a:pt x="220" y="305"/>
                    <a:pt x="220" y="305"/>
                    <a:pt x="220" y="305"/>
                  </a:cubicBezTo>
                  <a:cubicBezTo>
                    <a:pt x="220" y="305"/>
                    <a:pt x="220" y="305"/>
                    <a:pt x="220" y="305"/>
                  </a:cubicBezTo>
                  <a:cubicBezTo>
                    <a:pt x="219" y="307"/>
                    <a:pt x="218" y="309"/>
                    <a:pt x="218" y="311"/>
                  </a:cubicBezTo>
                  <a:cubicBezTo>
                    <a:pt x="217" y="311"/>
                    <a:pt x="217" y="311"/>
                    <a:pt x="217" y="311"/>
                  </a:cubicBezTo>
                  <a:cubicBezTo>
                    <a:pt x="216" y="310"/>
                    <a:pt x="216" y="309"/>
                    <a:pt x="216" y="308"/>
                  </a:cubicBezTo>
                  <a:cubicBezTo>
                    <a:pt x="215" y="308"/>
                    <a:pt x="215" y="308"/>
                    <a:pt x="215" y="308"/>
                  </a:cubicBezTo>
                  <a:cubicBezTo>
                    <a:pt x="215" y="307"/>
                    <a:pt x="215" y="307"/>
                    <a:pt x="214" y="307"/>
                  </a:cubicBezTo>
                  <a:cubicBezTo>
                    <a:pt x="214" y="307"/>
                    <a:pt x="214" y="307"/>
                    <a:pt x="214" y="307"/>
                  </a:cubicBezTo>
                  <a:cubicBezTo>
                    <a:pt x="214" y="306"/>
                    <a:pt x="214" y="306"/>
                    <a:pt x="214" y="305"/>
                  </a:cubicBezTo>
                  <a:cubicBezTo>
                    <a:pt x="214" y="305"/>
                    <a:pt x="213" y="305"/>
                    <a:pt x="213" y="305"/>
                  </a:cubicBezTo>
                  <a:cubicBezTo>
                    <a:pt x="213" y="304"/>
                    <a:pt x="213" y="304"/>
                    <a:pt x="213" y="304"/>
                  </a:cubicBezTo>
                  <a:cubicBezTo>
                    <a:pt x="212" y="303"/>
                    <a:pt x="212" y="303"/>
                    <a:pt x="212" y="303"/>
                  </a:cubicBezTo>
                  <a:cubicBezTo>
                    <a:pt x="212" y="303"/>
                    <a:pt x="212" y="303"/>
                    <a:pt x="212" y="303"/>
                  </a:cubicBezTo>
                  <a:cubicBezTo>
                    <a:pt x="212" y="303"/>
                    <a:pt x="212" y="303"/>
                    <a:pt x="212" y="303"/>
                  </a:cubicBezTo>
                  <a:cubicBezTo>
                    <a:pt x="212" y="302"/>
                    <a:pt x="212" y="302"/>
                    <a:pt x="212" y="302"/>
                  </a:cubicBezTo>
                  <a:cubicBezTo>
                    <a:pt x="212" y="302"/>
                    <a:pt x="211" y="302"/>
                    <a:pt x="211" y="302"/>
                  </a:cubicBezTo>
                  <a:cubicBezTo>
                    <a:pt x="211" y="302"/>
                    <a:pt x="211" y="301"/>
                    <a:pt x="211" y="301"/>
                  </a:cubicBezTo>
                  <a:cubicBezTo>
                    <a:pt x="211" y="301"/>
                    <a:pt x="211" y="301"/>
                    <a:pt x="211" y="301"/>
                  </a:cubicBezTo>
                  <a:cubicBezTo>
                    <a:pt x="211" y="301"/>
                    <a:pt x="211" y="301"/>
                    <a:pt x="211" y="300"/>
                  </a:cubicBezTo>
                  <a:cubicBezTo>
                    <a:pt x="211" y="300"/>
                    <a:pt x="211" y="300"/>
                    <a:pt x="211" y="300"/>
                  </a:cubicBezTo>
                  <a:cubicBezTo>
                    <a:pt x="211" y="300"/>
                    <a:pt x="211" y="300"/>
                    <a:pt x="211" y="300"/>
                  </a:cubicBezTo>
                  <a:cubicBezTo>
                    <a:pt x="210" y="300"/>
                    <a:pt x="210" y="300"/>
                    <a:pt x="210" y="300"/>
                  </a:cubicBezTo>
                  <a:cubicBezTo>
                    <a:pt x="210" y="299"/>
                    <a:pt x="210" y="299"/>
                    <a:pt x="210" y="299"/>
                  </a:cubicBezTo>
                  <a:cubicBezTo>
                    <a:pt x="210" y="299"/>
                    <a:pt x="210" y="299"/>
                    <a:pt x="210" y="299"/>
                  </a:cubicBezTo>
                  <a:cubicBezTo>
                    <a:pt x="210" y="298"/>
                    <a:pt x="209" y="298"/>
                    <a:pt x="209" y="297"/>
                  </a:cubicBezTo>
                  <a:cubicBezTo>
                    <a:pt x="209" y="297"/>
                    <a:pt x="209" y="297"/>
                    <a:pt x="209" y="297"/>
                  </a:cubicBezTo>
                  <a:cubicBezTo>
                    <a:pt x="209" y="297"/>
                    <a:pt x="209" y="296"/>
                    <a:pt x="209" y="296"/>
                  </a:cubicBezTo>
                  <a:cubicBezTo>
                    <a:pt x="209" y="296"/>
                    <a:pt x="209" y="296"/>
                    <a:pt x="209" y="296"/>
                  </a:cubicBezTo>
                  <a:cubicBezTo>
                    <a:pt x="209" y="296"/>
                    <a:pt x="209" y="295"/>
                    <a:pt x="209" y="295"/>
                  </a:cubicBezTo>
                  <a:cubicBezTo>
                    <a:pt x="208" y="295"/>
                    <a:pt x="208" y="295"/>
                    <a:pt x="208" y="295"/>
                  </a:cubicBezTo>
                  <a:cubicBezTo>
                    <a:pt x="208" y="295"/>
                    <a:pt x="208" y="294"/>
                    <a:pt x="208" y="294"/>
                  </a:cubicBezTo>
                  <a:cubicBezTo>
                    <a:pt x="208" y="294"/>
                    <a:pt x="208" y="294"/>
                    <a:pt x="208" y="294"/>
                  </a:cubicBezTo>
                  <a:cubicBezTo>
                    <a:pt x="208" y="294"/>
                    <a:pt x="208" y="294"/>
                    <a:pt x="208" y="293"/>
                  </a:cubicBezTo>
                  <a:cubicBezTo>
                    <a:pt x="208" y="293"/>
                    <a:pt x="208" y="293"/>
                    <a:pt x="207" y="293"/>
                  </a:cubicBezTo>
                  <a:cubicBezTo>
                    <a:pt x="207" y="293"/>
                    <a:pt x="207" y="292"/>
                    <a:pt x="207" y="291"/>
                  </a:cubicBezTo>
                  <a:cubicBezTo>
                    <a:pt x="207" y="291"/>
                    <a:pt x="207" y="291"/>
                    <a:pt x="207" y="291"/>
                  </a:cubicBezTo>
                  <a:cubicBezTo>
                    <a:pt x="207" y="290"/>
                    <a:pt x="207" y="290"/>
                    <a:pt x="207" y="290"/>
                  </a:cubicBezTo>
                  <a:cubicBezTo>
                    <a:pt x="207" y="290"/>
                    <a:pt x="207" y="290"/>
                    <a:pt x="206" y="290"/>
                  </a:cubicBezTo>
                  <a:cubicBezTo>
                    <a:pt x="206" y="289"/>
                    <a:pt x="206" y="289"/>
                    <a:pt x="206" y="288"/>
                  </a:cubicBezTo>
                  <a:cubicBezTo>
                    <a:pt x="206" y="288"/>
                    <a:pt x="206" y="288"/>
                    <a:pt x="206" y="288"/>
                  </a:cubicBezTo>
                  <a:cubicBezTo>
                    <a:pt x="206" y="286"/>
                    <a:pt x="206" y="284"/>
                    <a:pt x="206" y="282"/>
                  </a:cubicBezTo>
                  <a:cubicBezTo>
                    <a:pt x="205" y="278"/>
                    <a:pt x="205" y="274"/>
                    <a:pt x="204" y="270"/>
                  </a:cubicBezTo>
                  <a:cubicBezTo>
                    <a:pt x="204" y="269"/>
                    <a:pt x="204" y="268"/>
                    <a:pt x="204" y="268"/>
                  </a:cubicBezTo>
                  <a:cubicBezTo>
                    <a:pt x="203" y="265"/>
                    <a:pt x="203" y="262"/>
                    <a:pt x="203" y="260"/>
                  </a:cubicBezTo>
                  <a:cubicBezTo>
                    <a:pt x="203" y="259"/>
                    <a:pt x="203" y="259"/>
                    <a:pt x="203" y="258"/>
                  </a:cubicBezTo>
                  <a:cubicBezTo>
                    <a:pt x="202" y="255"/>
                    <a:pt x="201" y="252"/>
                    <a:pt x="201" y="249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</a:ln>
            <a:effectLst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64800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4000" b="1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0000"/>
                </a:solidFill>
                <a:latin typeface="UKIJ Qolyazma" pitchFamily="18" charset="0"/>
                <a:cs typeface="UKIJ Qolyazma" pitchFamily="18" charset="0"/>
              </a:endParaRPr>
            </a:p>
          </p:txBody>
        </p:sp>
        <p:sp>
          <p:nvSpPr>
            <p:cNvPr id="109" name="Freeform 21">
              <a:extLst>
                <a:ext uri="{FF2B5EF4-FFF2-40B4-BE49-F238E27FC236}">
                  <a16:creationId xmlns:a16="http://schemas.microsoft.com/office/drawing/2014/main" id="{F2FBE0FE-E2E6-0F6C-8DFE-BC5D3F15610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0570" y="2199402"/>
              <a:ext cx="639219" cy="765827"/>
            </a:xfrm>
            <a:custGeom>
              <a:avLst/>
              <a:gdLst>
                <a:gd name="T0" fmla="*/ 235 w 294"/>
                <a:gd name="T1" fmla="*/ 34 h 352"/>
                <a:gd name="T2" fmla="*/ 252 w 294"/>
                <a:gd name="T3" fmla="*/ 21 h 352"/>
                <a:gd name="T4" fmla="*/ 265 w 294"/>
                <a:gd name="T5" fmla="*/ 31 h 352"/>
                <a:gd name="T6" fmla="*/ 278 w 294"/>
                <a:gd name="T7" fmla="*/ 39 h 352"/>
                <a:gd name="T8" fmla="*/ 287 w 294"/>
                <a:gd name="T9" fmla="*/ 42 h 352"/>
                <a:gd name="T10" fmla="*/ 287 w 294"/>
                <a:gd name="T11" fmla="*/ 73 h 352"/>
                <a:gd name="T12" fmla="*/ 268 w 294"/>
                <a:gd name="T13" fmla="*/ 94 h 352"/>
                <a:gd name="T14" fmla="*/ 265 w 294"/>
                <a:gd name="T15" fmla="*/ 101 h 352"/>
                <a:gd name="T16" fmla="*/ 261 w 294"/>
                <a:gd name="T17" fmla="*/ 109 h 352"/>
                <a:gd name="T18" fmla="*/ 258 w 294"/>
                <a:gd name="T19" fmla="*/ 115 h 352"/>
                <a:gd name="T20" fmla="*/ 254 w 294"/>
                <a:gd name="T21" fmla="*/ 122 h 352"/>
                <a:gd name="T22" fmla="*/ 252 w 294"/>
                <a:gd name="T23" fmla="*/ 128 h 352"/>
                <a:gd name="T24" fmla="*/ 247 w 294"/>
                <a:gd name="T25" fmla="*/ 137 h 352"/>
                <a:gd name="T26" fmla="*/ 254 w 294"/>
                <a:gd name="T27" fmla="*/ 171 h 352"/>
                <a:gd name="T28" fmla="*/ 250 w 294"/>
                <a:gd name="T29" fmla="*/ 180 h 352"/>
                <a:gd name="T30" fmla="*/ 244 w 294"/>
                <a:gd name="T31" fmla="*/ 190 h 352"/>
                <a:gd name="T32" fmla="*/ 240 w 294"/>
                <a:gd name="T33" fmla="*/ 199 h 352"/>
                <a:gd name="T34" fmla="*/ 230 w 294"/>
                <a:gd name="T35" fmla="*/ 203 h 352"/>
                <a:gd name="T36" fmla="*/ 224 w 294"/>
                <a:gd name="T37" fmla="*/ 206 h 352"/>
                <a:gd name="T38" fmla="*/ 215 w 294"/>
                <a:gd name="T39" fmla="*/ 210 h 352"/>
                <a:gd name="T40" fmla="*/ 208 w 294"/>
                <a:gd name="T41" fmla="*/ 214 h 352"/>
                <a:gd name="T42" fmla="*/ 202 w 294"/>
                <a:gd name="T43" fmla="*/ 217 h 352"/>
                <a:gd name="T44" fmla="*/ 193 w 294"/>
                <a:gd name="T45" fmla="*/ 222 h 352"/>
                <a:gd name="T46" fmla="*/ 187 w 294"/>
                <a:gd name="T47" fmla="*/ 225 h 352"/>
                <a:gd name="T48" fmla="*/ 181 w 294"/>
                <a:gd name="T49" fmla="*/ 228 h 352"/>
                <a:gd name="T50" fmla="*/ 175 w 294"/>
                <a:gd name="T51" fmla="*/ 231 h 352"/>
                <a:gd name="T52" fmla="*/ 169 w 294"/>
                <a:gd name="T53" fmla="*/ 235 h 352"/>
                <a:gd name="T54" fmla="*/ 126 w 294"/>
                <a:gd name="T55" fmla="*/ 280 h 352"/>
                <a:gd name="T56" fmla="*/ 118 w 294"/>
                <a:gd name="T57" fmla="*/ 283 h 352"/>
                <a:gd name="T58" fmla="*/ 89 w 294"/>
                <a:gd name="T59" fmla="*/ 267 h 352"/>
                <a:gd name="T60" fmla="*/ 76 w 294"/>
                <a:gd name="T61" fmla="*/ 277 h 352"/>
                <a:gd name="T62" fmla="*/ 60 w 294"/>
                <a:gd name="T63" fmla="*/ 295 h 352"/>
                <a:gd name="T64" fmla="*/ 54 w 294"/>
                <a:gd name="T65" fmla="*/ 304 h 352"/>
                <a:gd name="T66" fmla="*/ 49 w 294"/>
                <a:gd name="T67" fmla="*/ 311 h 352"/>
                <a:gd name="T68" fmla="*/ 46 w 294"/>
                <a:gd name="T69" fmla="*/ 320 h 352"/>
                <a:gd name="T70" fmla="*/ 30 w 294"/>
                <a:gd name="T71" fmla="*/ 352 h 352"/>
                <a:gd name="T72" fmla="*/ 5 w 294"/>
                <a:gd name="T73" fmla="*/ 309 h 352"/>
                <a:gd name="T74" fmla="*/ 6 w 294"/>
                <a:gd name="T75" fmla="*/ 273 h 352"/>
                <a:gd name="T76" fmla="*/ 18 w 294"/>
                <a:gd name="T77" fmla="*/ 280 h 352"/>
                <a:gd name="T78" fmla="*/ 37 w 294"/>
                <a:gd name="T79" fmla="*/ 279 h 352"/>
                <a:gd name="T80" fmla="*/ 53 w 294"/>
                <a:gd name="T81" fmla="*/ 263 h 352"/>
                <a:gd name="T82" fmla="*/ 59 w 294"/>
                <a:gd name="T83" fmla="*/ 254 h 352"/>
                <a:gd name="T84" fmla="*/ 65 w 294"/>
                <a:gd name="T85" fmla="*/ 245 h 352"/>
                <a:gd name="T86" fmla="*/ 71 w 294"/>
                <a:gd name="T87" fmla="*/ 234 h 352"/>
                <a:gd name="T88" fmla="*/ 74 w 294"/>
                <a:gd name="T89" fmla="*/ 229 h 352"/>
                <a:gd name="T90" fmla="*/ 77 w 294"/>
                <a:gd name="T91" fmla="*/ 223 h 352"/>
                <a:gd name="T92" fmla="*/ 81 w 294"/>
                <a:gd name="T93" fmla="*/ 215 h 352"/>
                <a:gd name="T94" fmla="*/ 85 w 294"/>
                <a:gd name="T95" fmla="*/ 205 h 352"/>
                <a:gd name="T96" fmla="*/ 88 w 294"/>
                <a:gd name="T97" fmla="*/ 197 h 352"/>
                <a:gd name="T98" fmla="*/ 91 w 294"/>
                <a:gd name="T99" fmla="*/ 187 h 352"/>
                <a:gd name="T100" fmla="*/ 99 w 294"/>
                <a:gd name="T101" fmla="*/ 154 h 352"/>
                <a:gd name="T102" fmla="*/ 102 w 294"/>
                <a:gd name="T103" fmla="*/ 127 h 352"/>
                <a:gd name="T104" fmla="*/ 104 w 294"/>
                <a:gd name="T105" fmla="*/ 94 h 352"/>
                <a:gd name="T106" fmla="*/ 109 w 294"/>
                <a:gd name="T107" fmla="*/ 55 h 352"/>
                <a:gd name="T108" fmla="*/ 113 w 294"/>
                <a:gd name="T109" fmla="*/ 45 h 352"/>
                <a:gd name="T110" fmla="*/ 116 w 294"/>
                <a:gd name="T111" fmla="*/ 36 h 352"/>
                <a:gd name="T112" fmla="*/ 128 w 294"/>
                <a:gd name="T113" fmla="*/ 20 h 352"/>
                <a:gd name="T114" fmla="*/ 139 w 294"/>
                <a:gd name="T115" fmla="*/ 12 h 352"/>
                <a:gd name="T116" fmla="*/ 148 w 294"/>
                <a:gd name="T117" fmla="*/ 6 h 352"/>
                <a:gd name="T118" fmla="*/ 191 w 294"/>
                <a:gd name="T119" fmla="*/ 9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4" h="352">
                  <a:moveTo>
                    <a:pt x="221" y="15"/>
                  </a:moveTo>
                  <a:cubicBezTo>
                    <a:pt x="221" y="26"/>
                    <a:pt x="221" y="36"/>
                    <a:pt x="221" y="46"/>
                  </a:cubicBezTo>
                  <a:cubicBezTo>
                    <a:pt x="221" y="46"/>
                    <a:pt x="221" y="46"/>
                    <a:pt x="221" y="46"/>
                  </a:cubicBezTo>
                  <a:cubicBezTo>
                    <a:pt x="222" y="45"/>
                    <a:pt x="223" y="45"/>
                    <a:pt x="224" y="45"/>
                  </a:cubicBezTo>
                  <a:cubicBezTo>
                    <a:pt x="224" y="44"/>
                    <a:pt x="225" y="43"/>
                    <a:pt x="225" y="42"/>
                  </a:cubicBezTo>
                  <a:cubicBezTo>
                    <a:pt x="226" y="42"/>
                    <a:pt x="226" y="42"/>
                    <a:pt x="226" y="42"/>
                  </a:cubicBezTo>
                  <a:cubicBezTo>
                    <a:pt x="227" y="42"/>
                    <a:pt x="227" y="41"/>
                    <a:pt x="227" y="41"/>
                  </a:cubicBezTo>
                  <a:cubicBezTo>
                    <a:pt x="228" y="41"/>
                    <a:pt x="228" y="41"/>
                    <a:pt x="228" y="41"/>
                  </a:cubicBezTo>
                  <a:cubicBezTo>
                    <a:pt x="228" y="40"/>
                    <a:pt x="229" y="40"/>
                    <a:pt x="229" y="40"/>
                  </a:cubicBezTo>
                  <a:cubicBezTo>
                    <a:pt x="229" y="39"/>
                    <a:pt x="230" y="39"/>
                    <a:pt x="230" y="39"/>
                  </a:cubicBezTo>
                  <a:cubicBezTo>
                    <a:pt x="230" y="39"/>
                    <a:pt x="230" y="39"/>
                    <a:pt x="230" y="39"/>
                  </a:cubicBezTo>
                  <a:cubicBezTo>
                    <a:pt x="230" y="39"/>
                    <a:pt x="230" y="39"/>
                    <a:pt x="231" y="39"/>
                  </a:cubicBezTo>
                  <a:cubicBezTo>
                    <a:pt x="231" y="38"/>
                    <a:pt x="232" y="37"/>
                    <a:pt x="232" y="36"/>
                  </a:cubicBezTo>
                  <a:cubicBezTo>
                    <a:pt x="233" y="36"/>
                    <a:pt x="233" y="36"/>
                    <a:pt x="233" y="36"/>
                  </a:cubicBezTo>
                  <a:cubicBezTo>
                    <a:pt x="234" y="36"/>
                    <a:pt x="234" y="35"/>
                    <a:pt x="235" y="34"/>
                  </a:cubicBezTo>
                  <a:cubicBezTo>
                    <a:pt x="235" y="34"/>
                    <a:pt x="235" y="34"/>
                    <a:pt x="235" y="34"/>
                  </a:cubicBezTo>
                  <a:cubicBezTo>
                    <a:pt x="236" y="34"/>
                    <a:pt x="236" y="33"/>
                    <a:pt x="237" y="33"/>
                  </a:cubicBezTo>
                  <a:cubicBezTo>
                    <a:pt x="237" y="33"/>
                    <a:pt x="237" y="33"/>
                    <a:pt x="238" y="33"/>
                  </a:cubicBezTo>
                  <a:cubicBezTo>
                    <a:pt x="238" y="32"/>
                    <a:pt x="239" y="31"/>
                    <a:pt x="239" y="31"/>
                  </a:cubicBezTo>
                  <a:cubicBezTo>
                    <a:pt x="240" y="31"/>
                    <a:pt x="240" y="31"/>
                    <a:pt x="240" y="31"/>
                  </a:cubicBezTo>
                  <a:cubicBezTo>
                    <a:pt x="241" y="30"/>
                    <a:pt x="241" y="29"/>
                    <a:pt x="242" y="28"/>
                  </a:cubicBezTo>
                  <a:cubicBezTo>
                    <a:pt x="242" y="28"/>
                    <a:pt x="242" y="28"/>
                    <a:pt x="243" y="28"/>
                  </a:cubicBezTo>
                  <a:cubicBezTo>
                    <a:pt x="243" y="28"/>
                    <a:pt x="244" y="27"/>
                    <a:pt x="244" y="26"/>
                  </a:cubicBezTo>
                  <a:cubicBezTo>
                    <a:pt x="244" y="26"/>
                    <a:pt x="245" y="26"/>
                    <a:pt x="245" y="26"/>
                  </a:cubicBezTo>
                  <a:cubicBezTo>
                    <a:pt x="245" y="26"/>
                    <a:pt x="245" y="26"/>
                    <a:pt x="245" y="26"/>
                  </a:cubicBezTo>
                  <a:cubicBezTo>
                    <a:pt x="245" y="26"/>
                    <a:pt x="246" y="26"/>
                    <a:pt x="246" y="26"/>
                  </a:cubicBezTo>
                  <a:cubicBezTo>
                    <a:pt x="246" y="25"/>
                    <a:pt x="246" y="25"/>
                    <a:pt x="246" y="25"/>
                  </a:cubicBezTo>
                  <a:cubicBezTo>
                    <a:pt x="247" y="25"/>
                    <a:pt x="247" y="25"/>
                    <a:pt x="247" y="25"/>
                  </a:cubicBezTo>
                  <a:cubicBezTo>
                    <a:pt x="247" y="24"/>
                    <a:pt x="247" y="24"/>
                    <a:pt x="247" y="24"/>
                  </a:cubicBezTo>
                  <a:cubicBezTo>
                    <a:pt x="248" y="23"/>
                    <a:pt x="250" y="21"/>
                    <a:pt x="252" y="21"/>
                  </a:cubicBezTo>
                  <a:cubicBezTo>
                    <a:pt x="252" y="22"/>
                    <a:pt x="253" y="22"/>
                    <a:pt x="254" y="23"/>
                  </a:cubicBezTo>
                  <a:cubicBezTo>
                    <a:pt x="254" y="23"/>
                    <a:pt x="254" y="23"/>
                    <a:pt x="254" y="24"/>
                  </a:cubicBezTo>
                  <a:cubicBezTo>
                    <a:pt x="255" y="24"/>
                    <a:pt x="255" y="24"/>
                    <a:pt x="255" y="24"/>
                  </a:cubicBezTo>
                  <a:cubicBezTo>
                    <a:pt x="256" y="24"/>
                    <a:pt x="256" y="25"/>
                    <a:pt x="256" y="25"/>
                  </a:cubicBezTo>
                  <a:cubicBezTo>
                    <a:pt x="257" y="25"/>
                    <a:pt x="257" y="25"/>
                    <a:pt x="257" y="25"/>
                  </a:cubicBezTo>
                  <a:cubicBezTo>
                    <a:pt x="257" y="26"/>
                    <a:pt x="258" y="26"/>
                    <a:pt x="258" y="26"/>
                  </a:cubicBezTo>
                  <a:cubicBezTo>
                    <a:pt x="258" y="26"/>
                    <a:pt x="258" y="26"/>
                    <a:pt x="259" y="26"/>
                  </a:cubicBezTo>
                  <a:cubicBezTo>
                    <a:pt x="259" y="27"/>
                    <a:pt x="259" y="27"/>
                    <a:pt x="259" y="27"/>
                  </a:cubicBezTo>
                  <a:cubicBezTo>
                    <a:pt x="259" y="27"/>
                    <a:pt x="260" y="27"/>
                    <a:pt x="260" y="27"/>
                  </a:cubicBezTo>
                  <a:cubicBezTo>
                    <a:pt x="260" y="28"/>
                    <a:pt x="260" y="28"/>
                    <a:pt x="260" y="28"/>
                  </a:cubicBezTo>
                  <a:cubicBezTo>
                    <a:pt x="261" y="28"/>
                    <a:pt x="261" y="28"/>
                    <a:pt x="261" y="28"/>
                  </a:cubicBezTo>
                  <a:cubicBezTo>
                    <a:pt x="262" y="29"/>
                    <a:pt x="262" y="29"/>
                    <a:pt x="262" y="30"/>
                  </a:cubicBezTo>
                  <a:cubicBezTo>
                    <a:pt x="263" y="30"/>
                    <a:pt x="263" y="30"/>
                    <a:pt x="263" y="30"/>
                  </a:cubicBezTo>
                  <a:cubicBezTo>
                    <a:pt x="263" y="30"/>
                    <a:pt x="264" y="31"/>
                    <a:pt x="264" y="31"/>
                  </a:cubicBezTo>
                  <a:cubicBezTo>
                    <a:pt x="264" y="31"/>
                    <a:pt x="264" y="31"/>
                    <a:pt x="265" y="31"/>
                  </a:cubicBezTo>
                  <a:cubicBezTo>
                    <a:pt x="265" y="31"/>
                    <a:pt x="265" y="32"/>
                    <a:pt x="265" y="32"/>
                  </a:cubicBezTo>
                  <a:cubicBezTo>
                    <a:pt x="265" y="32"/>
                    <a:pt x="266" y="32"/>
                    <a:pt x="266" y="32"/>
                  </a:cubicBezTo>
                  <a:cubicBezTo>
                    <a:pt x="266" y="32"/>
                    <a:pt x="266" y="33"/>
                    <a:pt x="267" y="33"/>
                  </a:cubicBezTo>
                  <a:cubicBezTo>
                    <a:pt x="267" y="33"/>
                    <a:pt x="267" y="33"/>
                    <a:pt x="267" y="33"/>
                  </a:cubicBezTo>
                  <a:cubicBezTo>
                    <a:pt x="268" y="33"/>
                    <a:pt x="268" y="34"/>
                    <a:pt x="268" y="34"/>
                  </a:cubicBezTo>
                  <a:cubicBezTo>
                    <a:pt x="269" y="34"/>
                    <a:pt x="269" y="34"/>
                    <a:pt x="269" y="34"/>
                  </a:cubicBezTo>
                  <a:cubicBezTo>
                    <a:pt x="269" y="35"/>
                    <a:pt x="269" y="35"/>
                    <a:pt x="269" y="35"/>
                  </a:cubicBezTo>
                  <a:cubicBezTo>
                    <a:pt x="271" y="36"/>
                    <a:pt x="273" y="36"/>
                    <a:pt x="275" y="37"/>
                  </a:cubicBezTo>
                  <a:cubicBezTo>
                    <a:pt x="275" y="37"/>
                    <a:pt x="275" y="37"/>
                    <a:pt x="275" y="37"/>
                  </a:cubicBezTo>
                  <a:cubicBezTo>
                    <a:pt x="275" y="37"/>
                    <a:pt x="276" y="37"/>
                    <a:pt x="276" y="38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76" y="38"/>
                    <a:pt x="277" y="38"/>
                    <a:pt x="277" y="38"/>
                  </a:cubicBezTo>
                  <a:cubicBezTo>
                    <a:pt x="277" y="38"/>
                    <a:pt x="277" y="38"/>
                    <a:pt x="277" y="38"/>
                  </a:cubicBezTo>
                  <a:cubicBezTo>
                    <a:pt x="277" y="38"/>
                    <a:pt x="278" y="38"/>
                    <a:pt x="278" y="38"/>
                  </a:cubicBezTo>
                  <a:cubicBezTo>
                    <a:pt x="278" y="38"/>
                    <a:pt x="278" y="38"/>
                    <a:pt x="278" y="39"/>
                  </a:cubicBezTo>
                  <a:cubicBezTo>
                    <a:pt x="278" y="39"/>
                    <a:pt x="279" y="39"/>
                    <a:pt x="280" y="39"/>
                  </a:cubicBezTo>
                  <a:cubicBezTo>
                    <a:pt x="280" y="39"/>
                    <a:pt x="280" y="39"/>
                    <a:pt x="280" y="39"/>
                  </a:cubicBezTo>
                  <a:cubicBezTo>
                    <a:pt x="280" y="39"/>
                    <a:pt x="280" y="39"/>
                    <a:pt x="281" y="39"/>
                  </a:cubicBezTo>
                  <a:cubicBezTo>
                    <a:pt x="281" y="39"/>
                    <a:pt x="281" y="40"/>
                    <a:pt x="281" y="40"/>
                  </a:cubicBezTo>
                  <a:cubicBezTo>
                    <a:pt x="281" y="40"/>
                    <a:pt x="281" y="40"/>
                    <a:pt x="281" y="40"/>
                  </a:cubicBezTo>
                  <a:cubicBezTo>
                    <a:pt x="281" y="40"/>
                    <a:pt x="281" y="40"/>
                    <a:pt x="281" y="40"/>
                  </a:cubicBezTo>
                  <a:cubicBezTo>
                    <a:pt x="282" y="40"/>
                    <a:pt x="282" y="40"/>
                    <a:pt x="282" y="40"/>
                  </a:cubicBezTo>
                  <a:cubicBezTo>
                    <a:pt x="282" y="40"/>
                    <a:pt x="282" y="40"/>
                    <a:pt x="282" y="40"/>
                  </a:cubicBezTo>
                  <a:cubicBezTo>
                    <a:pt x="283" y="40"/>
                    <a:pt x="283" y="41"/>
                    <a:pt x="284" y="41"/>
                  </a:cubicBezTo>
                  <a:cubicBezTo>
                    <a:pt x="284" y="41"/>
                    <a:pt x="284" y="41"/>
                    <a:pt x="284" y="41"/>
                  </a:cubicBezTo>
                  <a:cubicBezTo>
                    <a:pt x="284" y="41"/>
                    <a:pt x="284" y="41"/>
                    <a:pt x="285" y="41"/>
                  </a:cubicBezTo>
                  <a:cubicBezTo>
                    <a:pt x="285" y="41"/>
                    <a:pt x="285" y="41"/>
                    <a:pt x="285" y="41"/>
                  </a:cubicBezTo>
                  <a:cubicBezTo>
                    <a:pt x="285" y="41"/>
                    <a:pt x="285" y="41"/>
                    <a:pt x="285" y="41"/>
                  </a:cubicBezTo>
                  <a:cubicBezTo>
                    <a:pt x="285" y="42"/>
                    <a:pt x="285" y="42"/>
                    <a:pt x="285" y="42"/>
                  </a:cubicBezTo>
                  <a:cubicBezTo>
                    <a:pt x="286" y="42"/>
                    <a:pt x="286" y="42"/>
                    <a:pt x="287" y="42"/>
                  </a:cubicBezTo>
                  <a:cubicBezTo>
                    <a:pt x="287" y="42"/>
                    <a:pt x="287" y="42"/>
                    <a:pt x="287" y="42"/>
                  </a:cubicBezTo>
                  <a:cubicBezTo>
                    <a:pt x="287" y="42"/>
                    <a:pt x="287" y="42"/>
                    <a:pt x="287" y="42"/>
                  </a:cubicBezTo>
                  <a:cubicBezTo>
                    <a:pt x="287" y="42"/>
                    <a:pt x="287" y="42"/>
                    <a:pt x="287" y="42"/>
                  </a:cubicBezTo>
                  <a:cubicBezTo>
                    <a:pt x="288" y="42"/>
                    <a:pt x="288" y="42"/>
                    <a:pt x="288" y="42"/>
                  </a:cubicBezTo>
                  <a:cubicBezTo>
                    <a:pt x="288" y="43"/>
                    <a:pt x="288" y="43"/>
                    <a:pt x="288" y="43"/>
                  </a:cubicBezTo>
                  <a:cubicBezTo>
                    <a:pt x="289" y="43"/>
                    <a:pt x="289" y="43"/>
                    <a:pt x="289" y="43"/>
                  </a:cubicBezTo>
                  <a:cubicBezTo>
                    <a:pt x="289" y="43"/>
                    <a:pt x="289" y="43"/>
                    <a:pt x="289" y="43"/>
                  </a:cubicBezTo>
                  <a:cubicBezTo>
                    <a:pt x="289" y="43"/>
                    <a:pt x="290" y="43"/>
                    <a:pt x="290" y="43"/>
                  </a:cubicBezTo>
                  <a:cubicBezTo>
                    <a:pt x="290" y="43"/>
                    <a:pt x="290" y="43"/>
                    <a:pt x="290" y="43"/>
                  </a:cubicBezTo>
                  <a:cubicBezTo>
                    <a:pt x="290" y="43"/>
                    <a:pt x="291" y="43"/>
                    <a:pt x="291" y="43"/>
                  </a:cubicBezTo>
                  <a:cubicBezTo>
                    <a:pt x="291" y="44"/>
                    <a:pt x="291" y="44"/>
                    <a:pt x="291" y="44"/>
                  </a:cubicBezTo>
                  <a:cubicBezTo>
                    <a:pt x="291" y="44"/>
                    <a:pt x="292" y="44"/>
                    <a:pt x="292" y="44"/>
                  </a:cubicBezTo>
                  <a:cubicBezTo>
                    <a:pt x="292" y="44"/>
                    <a:pt x="292" y="44"/>
                    <a:pt x="292" y="45"/>
                  </a:cubicBezTo>
                  <a:cubicBezTo>
                    <a:pt x="293" y="45"/>
                    <a:pt x="293" y="45"/>
                    <a:pt x="294" y="45"/>
                  </a:cubicBezTo>
                  <a:cubicBezTo>
                    <a:pt x="291" y="54"/>
                    <a:pt x="289" y="64"/>
                    <a:pt x="287" y="73"/>
                  </a:cubicBezTo>
                  <a:cubicBezTo>
                    <a:pt x="286" y="74"/>
                    <a:pt x="286" y="74"/>
                    <a:pt x="285" y="74"/>
                  </a:cubicBezTo>
                  <a:cubicBezTo>
                    <a:pt x="285" y="75"/>
                    <a:pt x="285" y="75"/>
                    <a:pt x="285" y="75"/>
                  </a:cubicBezTo>
                  <a:cubicBezTo>
                    <a:pt x="284" y="76"/>
                    <a:pt x="283" y="77"/>
                    <a:pt x="282" y="78"/>
                  </a:cubicBezTo>
                  <a:cubicBezTo>
                    <a:pt x="282" y="78"/>
                    <a:pt x="282" y="79"/>
                    <a:pt x="282" y="79"/>
                  </a:cubicBezTo>
                  <a:cubicBezTo>
                    <a:pt x="281" y="80"/>
                    <a:pt x="280" y="80"/>
                    <a:pt x="279" y="81"/>
                  </a:cubicBezTo>
                  <a:cubicBezTo>
                    <a:pt x="279" y="81"/>
                    <a:pt x="279" y="82"/>
                    <a:pt x="279" y="82"/>
                  </a:cubicBezTo>
                  <a:cubicBezTo>
                    <a:pt x="278" y="83"/>
                    <a:pt x="277" y="84"/>
                    <a:pt x="276" y="85"/>
                  </a:cubicBezTo>
                  <a:cubicBezTo>
                    <a:pt x="276" y="85"/>
                    <a:pt x="276" y="85"/>
                    <a:pt x="276" y="85"/>
                  </a:cubicBezTo>
                  <a:cubicBezTo>
                    <a:pt x="275" y="86"/>
                    <a:pt x="274" y="87"/>
                    <a:pt x="273" y="88"/>
                  </a:cubicBezTo>
                  <a:cubicBezTo>
                    <a:pt x="273" y="88"/>
                    <a:pt x="273" y="88"/>
                    <a:pt x="273" y="89"/>
                  </a:cubicBezTo>
                  <a:cubicBezTo>
                    <a:pt x="272" y="90"/>
                    <a:pt x="271" y="90"/>
                    <a:pt x="270" y="91"/>
                  </a:cubicBezTo>
                  <a:cubicBezTo>
                    <a:pt x="270" y="92"/>
                    <a:pt x="270" y="92"/>
                    <a:pt x="270" y="92"/>
                  </a:cubicBezTo>
                  <a:cubicBezTo>
                    <a:pt x="269" y="93"/>
                    <a:pt x="269" y="93"/>
                    <a:pt x="268" y="93"/>
                  </a:cubicBezTo>
                  <a:cubicBezTo>
                    <a:pt x="268" y="94"/>
                    <a:pt x="268" y="94"/>
                    <a:pt x="268" y="94"/>
                  </a:cubicBezTo>
                  <a:cubicBezTo>
                    <a:pt x="268" y="94"/>
                    <a:pt x="268" y="94"/>
                    <a:pt x="268" y="94"/>
                  </a:cubicBezTo>
                  <a:cubicBezTo>
                    <a:pt x="268" y="94"/>
                    <a:pt x="268" y="95"/>
                    <a:pt x="268" y="95"/>
                  </a:cubicBezTo>
                  <a:cubicBezTo>
                    <a:pt x="268" y="95"/>
                    <a:pt x="268" y="95"/>
                    <a:pt x="268" y="95"/>
                  </a:cubicBezTo>
                  <a:cubicBezTo>
                    <a:pt x="268" y="95"/>
                    <a:pt x="268" y="95"/>
                    <a:pt x="268" y="96"/>
                  </a:cubicBezTo>
                  <a:cubicBezTo>
                    <a:pt x="268" y="96"/>
                    <a:pt x="267" y="96"/>
                    <a:pt x="267" y="96"/>
                  </a:cubicBezTo>
                  <a:cubicBezTo>
                    <a:pt x="267" y="96"/>
                    <a:pt x="267" y="96"/>
                    <a:pt x="267" y="96"/>
                  </a:cubicBezTo>
                  <a:cubicBezTo>
                    <a:pt x="267" y="96"/>
                    <a:pt x="267" y="96"/>
                    <a:pt x="267" y="96"/>
                  </a:cubicBezTo>
                  <a:cubicBezTo>
                    <a:pt x="267" y="97"/>
                    <a:pt x="267" y="97"/>
                    <a:pt x="267" y="97"/>
                  </a:cubicBezTo>
                  <a:cubicBezTo>
                    <a:pt x="267" y="97"/>
                    <a:pt x="267" y="97"/>
                    <a:pt x="267" y="97"/>
                  </a:cubicBezTo>
                  <a:cubicBezTo>
                    <a:pt x="267" y="97"/>
                    <a:pt x="267" y="97"/>
                    <a:pt x="267" y="98"/>
                  </a:cubicBezTo>
                  <a:cubicBezTo>
                    <a:pt x="266" y="98"/>
                    <a:pt x="266" y="98"/>
                    <a:pt x="266" y="98"/>
                  </a:cubicBezTo>
                  <a:cubicBezTo>
                    <a:pt x="266" y="98"/>
                    <a:pt x="266" y="99"/>
                    <a:pt x="266" y="99"/>
                  </a:cubicBezTo>
                  <a:cubicBezTo>
                    <a:pt x="266" y="99"/>
                    <a:pt x="266" y="99"/>
                    <a:pt x="266" y="99"/>
                  </a:cubicBezTo>
                  <a:cubicBezTo>
                    <a:pt x="265" y="100"/>
                    <a:pt x="265" y="100"/>
                    <a:pt x="265" y="100"/>
                  </a:cubicBezTo>
                  <a:cubicBezTo>
                    <a:pt x="265" y="100"/>
                    <a:pt x="265" y="100"/>
                    <a:pt x="265" y="100"/>
                  </a:cubicBezTo>
                  <a:cubicBezTo>
                    <a:pt x="265" y="101"/>
                    <a:pt x="265" y="101"/>
                    <a:pt x="265" y="101"/>
                  </a:cubicBezTo>
                  <a:cubicBezTo>
                    <a:pt x="265" y="101"/>
                    <a:pt x="265" y="101"/>
                    <a:pt x="265" y="101"/>
                  </a:cubicBezTo>
                  <a:cubicBezTo>
                    <a:pt x="265" y="101"/>
                    <a:pt x="265" y="102"/>
                    <a:pt x="265" y="102"/>
                  </a:cubicBezTo>
                  <a:cubicBezTo>
                    <a:pt x="264" y="102"/>
                    <a:pt x="264" y="102"/>
                    <a:pt x="264" y="102"/>
                  </a:cubicBezTo>
                  <a:cubicBezTo>
                    <a:pt x="264" y="102"/>
                    <a:pt x="264" y="102"/>
                    <a:pt x="264" y="103"/>
                  </a:cubicBezTo>
                  <a:cubicBezTo>
                    <a:pt x="264" y="103"/>
                    <a:pt x="264" y="103"/>
                    <a:pt x="264" y="103"/>
                  </a:cubicBezTo>
                  <a:cubicBezTo>
                    <a:pt x="264" y="103"/>
                    <a:pt x="264" y="103"/>
                    <a:pt x="264" y="103"/>
                  </a:cubicBezTo>
                  <a:cubicBezTo>
                    <a:pt x="264" y="103"/>
                    <a:pt x="264" y="103"/>
                    <a:pt x="263" y="103"/>
                  </a:cubicBezTo>
                  <a:cubicBezTo>
                    <a:pt x="263" y="104"/>
                    <a:pt x="263" y="104"/>
                    <a:pt x="263" y="105"/>
                  </a:cubicBezTo>
                  <a:cubicBezTo>
                    <a:pt x="263" y="105"/>
                    <a:pt x="263" y="105"/>
                    <a:pt x="263" y="105"/>
                  </a:cubicBezTo>
                  <a:cubicBezTo>
                    <a:pt x="263" y="105"/>
                    <a:pt x="263" y="105"/>
                    <a:pt x="263" y="105"/>
                  </a:cubicBezTo>
                  <a:cubicBezTo>
                    <a:pt x="263" y="105"/>
                    <a:pt x="263" y="105"/>
                    <a:pt x="262" y="105"/>
                  </a:cubicBezTo>
                  <a:cubicBezTo>
                    <a:pt x="262" y="106"/>
                    <a:pt x="262" y="106"/>
                    <a:pt x="262" y="106"/>
                  </a:cubicBezTo>
                  <a:cubicBezTo>
                    <a:pt x="262" y="106"/>
                    <a:pt x="262" y="106"/>
                    <a:pt x="262" y="106"/>
                  </a:cubicBezTo>
                  <a:cubicBezTo>
                    <a:pt x="262" y="107"/>
                    <a:pt x="262" y="108"/>
                    <a:pt x="261" y="109"/>
                  </a:cubicBezTo>
                  <a:cubicBezTo>
                    <a:pt x="261" y="109"/>
                    <a:pt x="261" y="109"/>
                    <a:pt x="261" y="109"/>
                  </a:cubicBezTo>
                  <a:cubicBezTo>
                    <a:pt x="261" y="109"/>
                    <a:pt x="261" y="109"/>
                    <a:pt x="261" y="109"/>
                  </a:cubicBezTo>
                  <a:cubicBezTo>
                    <a:pt x="261" y="109"/>
                    <a:pt x="261" y="109"/>
                    <a:pt x="261" y="109"/>
                  </a:cubicBezTo>
                  <a:cubicBezTo>
                    <a:pt x="261" y="109"/>
                    <a:pt x="261" y="110"/>
                    <a:pt x="261" y="110"/>
                  </a:cubicBezTo>
                  <a:cubicBezTo>
                    <a:pt x="261" y="110"/>
                    <a:pt x="260" y="110"/>
                    <a:pt x="260" y="110"/>
                  </a:cubicBezTo>
                  <a:cubicBezTo>
                    <a:pt x="260" y="110"/>
                    <a:pt x="260" y="110"/>
                    <a:pt x="260" y="111"/>
                  </a:cubicBezTo>
                  <a:cubicBezTo>
                    <a:pt x="260" y="111"/>
                    <a:pt x="260" y="111"/>
                    <a:pt x="260" y="111"/>
                  </a:cubicBezTo>
                  <a:cubicBezTo>
                    <a:pt x="260" y="111"/>
                    <a:pt x="260" y="111"/>
                    <a:pt x="260" y="111"/>
                  </a:cubicBezTo>
                  <a:cubicBezTo>
                    <a:pt x="260" y="111"/>
                    <a:pt x="260" y="111"/>
                    <a:pt x="260" y="111"/>
                  </a:cubicBezTo>
                  <a:cubicBezTo>
                    <a:pt x="260" y="112"/>
                    <a:pt x="260" y="112"/>
                    <a:pt x="260" y="112"/>
                  </a:cubicBezTo>
                  <a:cubicBezTo>
                    <a:pt x="259" y="112"/>
                    <a:pt x="259" y="112"/>
                    <a:pt x="259" y="112"/>
                  </a:cubicBezTo>
                  <a:cubicBezTo>
                    <a:pt x="259" y="112"/>
                    <a:pt x="259" y="113"/>
                    <a:pt x="259" y="113"/>
                  </a:cubicBezTo>
                  <a:cubicBezTo>
                    <a:pt x="259" y="113"/>
                    <a:pt x="259" y="113"/>
                    <a:pt x="259" y="113"/>
                  </a:cubicBezTo>
                  <a:cubicBezTo>
                    <a:pt x="259" y="114"/>
                    <a:pt x="259" y="114"/>
                    <a:pt x="259" y="114"/>
                  </a:cubicBezTo>
                  <a:cubicBezTo>
                    <a:pt x="258" y="114"/>
                    <a:pt x="258" y="114"/>
                    <a:pt x="258" y="114"/>
                  </a:cubicBezTo>
                  <a:cubicBezTo>
                    <a:pt x="258" y="114"/>
                    <a:pt x="258" y="115"/>
                    <a:pt x="258" y="115"/>
                  </a:cubicBezTo>
                  <a:cubicBezTo>
                    <a:pt x="258" y="115"/>
                    <a:pt x="258" y="115"/>
                    <a:pt x="258" y="115"/>
                  </a:cubicBezTo>
                  <a:cubicBezTo>
                    <a:pt x="258" y="115"/>
                    <a:pt x="258" y="115"/>
                    <a:pt x="258" y="116"/>
                  </a:cubicBezTo>
                  <a:cubicBezTo>
                    <a:pt x="258" y="116"/>
                    <a:pt x="258" y="116"/>
                    <a:pt x="258" y="116"/>
                  </a:cubicBezTo>
                  <a:cubicBezTo>
                    <a:pt x="258" y="116"/>
                    <a:pt x="258" y="116"/>
                    <a:pt x="258" y="116"/>
                  </a:cubicBezTo>
                  <a:cubicBezTo>
                    <a:pt x="257" y="116"/>
                    <a:pt x="257" y="116"/>
                    <a:pt x="257" y="116"/>
                  </a:cubicBezTo>
                  <a:cubicBezTo>
                    <a:pt x="257" y="116"/>
                    <a:pt x="257" y="117"/>
                    <a:pt x="257" y="117"/>
                  </a:cubicBezTo>
                  <a:cubicBezTo>
                    <a:pt x="257" y="117"/>
                    <a:pt x="257" y="117"/>
                    <a:pt x="257" y="117"/>
                  </a:cubicBezTo>
                  <a:cubicBezTo>
                    <a:pt x="257" y="117"/>
                    <a:pt x="257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6" y="119"/>
                    <a:pt x="256" y="119"/>
                    <a:pt x="256" y="119"/>
                  </a:cubicBezTo>
                  <a:cubicBezTo>
                    <a:pt x="256" y="119"/>
                    <a:pt x="256" y="119"/>
                    <a:pt x="256" y="119"/>
                  </a:cubicBezTo>
                  <a:cubicBezTo>
                    <a:pt x="256" y="119"/>
                    <a:pt x="256" y="120"/>
                    <a:pt x="256" y="120"/>
                  </a:cubicBezTo>
                  <a:cubicBezTo>
                    <a:pt x="256" y="120"/>
                    <a:pt x="256" y="120"/>
                    <a:pt x="255" y="120"/>
                  </a:cubicBezTo>
                  <a:cubicBezTo>
                    <a:pt x="255" y="121"/>
                    <a:pt x="255" y="121"/>
                    <a:pt x="255" y="122"/>
                  </a:cubicBezTo>
                  <a:cubicBezTo>
                    <a:pt x="255" y="122"/>
                    <a:pt x="254" y="122"/>
                    <a:pt x="254" y="122"/>
                  </a:cubicBezTo>
                  <a:cubicBezTo>
                    <a:pt x="254" y="122"/>
                    <a:pt x="254" y="123"/>
                    <a:pt x="254" y="123"/>
                  </a:cubicBezTo>
                  <a:cubicBezTo>
                    <a:pt x="254" y="123"/>
                    <a:pt x="254" y="123"/>
                    <a:pt x="254" y="123"/>
                  </a:cubicBezTo>
                  <a:cubicBezTo>
                    <a:pt x="254" y="123"/>
                    <a:pt x="254" y="123"/>
                    <a:pt x="254" y="124"/>
                  </a:cubicBezTo>
                  <a:cubicBezTo>
                    <a:pt x="254" y="124"/>
                    <a:pt x="254" y="124"/>
                    <a:pt x="254" y="124"/>
                  </a:cubicBezTo>
                  <a:cubicBezTo>
                    <a:pt x="254" y="124"/>
                    <a:pt x="254" y="124"/>
                    <a:pt x="254" y="124"/>
                  </a:cubicBezTo>
                  <a:cubicBezTo>
                    <a:pt x="254" y="124"/>
                    <a:pt x="253" y="124"/>
                    <a:pt x="253" y="124"/>
                  </a:cubicBezTo>
                  <a:cubicBezTo>
                    <a:pt x="253" y="125"/>
                    <a:pt x="253" y="125"/>
                    <a:pt x="253" y="125"/>
                  </a:cubicBezTo>
                  <a:cubicBezTo>
                    <a:pt x="253" y="125"/>
                    <a:pt x="253" y="125"/>
                    <a:pt x="253" y="125"/>
                  </a:cubicBezTo>
                  <a:cubicBezTo>
                    <a:pt x="253" y="125"/>
                    <a:pt x="253" y="125"/>
                    <a:pt x="253" y="126"/>
                  </a:cubicBezTo>
                  <a:cubicBezTo>
                    <a:pt x="253" y="126"/>
                    <a:pt x="253" y="126"/>
                    <a:pt x="253" y="126"/>
                  </a:cubicBezTo>
                  <a:cubicBezTo>
                    <a:pt x="253" y="126"/>
                    <a:pt x="253" y="126"/>
                    <a:pt x="253" y="126"/>
                  </a:cubicBezTo>
                  <a:cubicBezTo>
                    <a:pt x="252" y="126"/>
                    <a:pt x="252" y="126"/>
                    <a:pt x="252" y="126"/>
                  </a:cubicBezTo>
                  <a:cubicBezTo>
                    <a:pt x="252" y="127"/>
                    <a:pt x="252" y="127"/>
                    <a:pt x="252" y="127"/>
                  </a:cubicBezTo>
                  <a:cubicBezTo>
                    <a:pt x="252" y="127"/>
                    <a:pt x="252" y="127"/>
                    <a:pt x="252" y="127"/>
                  </a:cubicBezTo>
                  <a:cubicBezTo>
                    <a:pt x="252" y="127"/>
                    <a:pt x="252" y="128"/>
                    <a:pt x="252" y="128"/>
                  </a:cubicBezTo>
                  <a:cubicBezTo>
                    <a:pt x="252" y="128"/>
                    <a:pt x="252" y="128"/>
                    <a:pt x="252" y="128"/>
                  </a:cubicBezTo>
                  <a:cubicBezTo>
                    <a:pt x="252" y="128"/>
                    <a:pt x="252" y="128"/>
                    <a:pt x="252" y="128"/>
                  </a:cubicBezTo>
                  <a:cubicBezTo>
                    <a:pt x="251" y="128"/>
                    <a:pt x="251" y="128"/>
                    <a:pt x="251" y="128"/>
                  </a:cubicBezTo>
                  <a:cubicBezTo>
                    <a:pt x="251" y="129"/>
                    <a:pt x="251" y="129"/>
                    <a:pt x="251" y="129"/>
                  </a:cubicBezTo>
                  <a:cubicBezTo>
                    <a:pt x="251" y="129"/>
                    <a:pt x="251" y="129"/>
                    <a:pt x="251" y="129"/>
                  </a:cubicBezTo>
                  <a:cubicBezTo>
                    <a:pt x="251" y="129"/>
                    <a:pt x="251" y="130"/>
                    <a:pt x="251" y="130"/>
                  </a:cubicBezTo>
                  <a:cubicBezTo>
                    <a:pt x="251" y="130"/>
                    <a:pt x="251" y="130"/>
                    <a:pt x="251" y="130"/>
                  </a:cubicBezTo>
                  <a:cubicBezTo>
                    <a:pt x="251" y="130"/>
                    <a:pt x="251" y="130"/>
                    <a:pt x="251" y="131"/>
                  </a:cubicBezTo>
                  <a:cubicBezTo>
                    <a:pt x="250" y="131"/>
                    <a:pt x="250" y="131"/>
                    <a:pt x="250" y="131"/>
                  </a:cubicBezTo>
                  <a:cubicBezTo>
                    <a:pt x="250" y="131"/>
                    <a:pt x="250" y="132"/>
                    <a:pt x="249" y="133"/>
                  </a:cubicBezTo>
                  <a:cubicBezTo>
                    <a:pt x="249" y="133"/>
                    <a:pt x="249" y="133"/>
                    <a:pt x="249" y="133"/>
                  </a:cubicBezTo>
                  <a:cubicBezTo>
                    <a:pt x="249" y="133"/>
                    <a:pt x="249" y="134"/>
                    <a:pt x="249" y="134"/>
                  </a:cubicBezTo>
                  <a:cubicBezTo>
                    <a:pt x="249" y="134"/>
                    <a:pt x="249" y="134"/>
                    <a:pt x="248" y="134"/>
                  </a:cubicBezTo>
                  <a:cubicBezTo>
                    <a:pt x="248" y="135"/>
                    <a:pt x="248" y="136"/>
                    <a:pt x="248" y="137"/>
                  </a:cubicBezTo>
                  <a:cubicBezTo>
                    <a:pt x="248" y="137"/>
                    <a:pt x="247" y="137"/>
                    <a:pt x="247" y="137"/>
                  </a:cubicBezTo>
                  <a:cubicBezTo>
                    <a:pt x="247" y="144"/>
                    <a:pt x="247" y="151"/>
                    <a:pt x="246" y="158"/>
                  </a:cubicBezTo>
                  <a:cubicBezTo>
                    <a:pt x="250" y="159"/>
                    <a:pt x="254" y="161"/>
                    <a:pt x="258" y="162"/>
                  </a:cubicBezTo>
                  <a:cubicBezTo>
                    <a:pt x="258" y="163"/>
                    <a:pt x="257" y="164"/>
                    <a:pt x="257" y="165"/>
                  </a:cubicBezTo>
                  <a:cubicBezTo>
                    <a:pt x="257" y="165"/>
                    <a:pt x="257" y="165"/>
                    <a:pt x="257" y="166"/>
                  </a:cubicBezTo>
                  <a:cubicBezTo>
                    <a:pt x="257" y="166"/>
                    <a:pt x="257" y="166"/>
                    <a:pt x="256" y="166"/>
                  </a:cubicBezTo>
                  <a:cubicBezTo>
                    <a:pt x="256" y="166"/>
                    <a:pt x="256" y="167"/>
                    <a:pt x="256" y="167"/>
                  </a:cubicBezTo>
                  <a:cubicBezTo>
                    <a:pt x="256" y="167"/>
                    <a:pt x="256" y="167"/>
                    <a:pt x="256" y="167"/>
                  </a:cubicBezTo>
                  <a:cubicBezTo>
                    <a:pt x="256" y="168"/>
                    <a:pt x="256" y="168"/>
                    <a:pt x="256" y="168"/>
                  </a:cubicBezTo>
                  <a:cubicBezTo>
                    <a:pt x="256" y="168"/>
                    <a:pt x="256" y="168"/>
                    <a:pt x="255" y="168"/>
                  </a:cubicBezTo>
                  <a:cubicBezTo>
                    <a:pt x="255" y="168"/>
                    <a:pt x="255" y="168"/>
                    <a:pt x="255" y="169"/>
                  </a:cubicBezTo>
                  <a:cubicBezTo>
                    <a:pt x="255" y="169"/>
                    <a:pt x="255" y="169"/>
                    <a:pt x="255" y="169"/>
                  </a:cubicBezTo>
                  <a:cubicBezTo>
                    <a:pt x="255" y="169"/>
                    <a:pt x="255" y="169"/>
                    <a:pt x="255" y="169"/>
                  </a:cubicBezTo>
                  <a:cubicBezTo>
                    <a:pt x="255" y="169"/>
                    <a:pt x="255" y="169"/>
                    <a:pt x="255" y="169"/>
                  </a:cubicBezTo>
                  <a:cubicBezTo>
                    <a:pt x="254" y="170"/>
                    <a:pt x="254" y="171"/>
                    <a:pt x="254" y="171"/>
                  </a:cubicBezTo>
                  <a:cubicBezTo>
                    <a:pt x="254" y="171"/>
                    <a:pt x="254" y="171"/>
                    <a:pt x="254" y="171"/>
                  </a:cubicBezTo>
                  <a:cubicBezTo>
                    <a:pt x="254" y="172"/>
                    <a:pt x="254" y="172"/>
                    <a:pt x="254" y="173"/>
                  </a:cubicBezTo>
                  <a:cubicBezTo>
                    <a:pt x="254" y="173"/>
                    <a:pt x="253" y="173"/>
                    <a:pt x="253" y="173"/>
                  </a:cubicBezTo>
                  <a:cubicBezTo>
                    <a:pt x="253" y="173"/>
                    <a:pt x="253" y="174"/>
                    <a:pt x="253" y="175"/>
                  </a:cubicBezTo>
                  <a:cubicBezTo>
                    <a:pt x="252" y="175"/>
                    <a:pt x="252" y="175"/>
                    <a:pt x="252" y="175"/>
                  </a:cubicBezTo>
                  <a:cubicBezTo>
                    <a:pt x="252" y="175"/>
                    <a:pt x="252" y="175"/>
                    <a:pt x="252" y="175"/>
                  </a:cubicBezTo>
                  <a:cubicBezTo>
                    <a:pt x="252" y="175"/>
                    <a:pt x="252" y="175"/>
                    <a:pt x="252" y="175"/>
                  </a:cubicBezTo>
                  <a:cubicBezTo>
                    <a:pt x="252" y="176"/>
                    <a:pt x="252" y="176"/>
                    <a:pt x="252" y="177"/>
                  </a:cubicBezTo>
                  <a:cubicBezTo>
                    <a:pt x="251" y="177"/>
                    <a:pt x="251" y="177"/>
                    <a:pt x="251" y="177"/>
                  </a:cubicBezTo>
                  <a:cubicBezTo>
                    <a:pt x="251" y="177"/>
                    <a:pt x="251" y="177"/>
                    <a:pt x="251" y="178"/>
                  </a:cubicBezTo>
                  <a:cubicBezTo>
                    <a:pt x="251" y="178"/>
                    <a:pt x="251" y="178"/>
                    <a:pt x="251" y="178"/>
                  </a:cubicBezTo>
                  <a:cubicBezTo>
                    <a:pt x="251" y="178"/>
                    <a:pt x="251" y="178"/>
                    <a:pt x="251" y="178"/>
                  </a:cubicBezTo>
                  <a:cubicBezTo>
                    <a:pt x="251" y="178"/>
                    <a:pt x="251" y="178"/>
                    <a:pt x="251" y="178"/>
                  </a:cubicBezTo>
                  <a:cubicBezTo>
                    <a:pt x="251" y="179"/>
                    <a:pt x="251" y="179"/>
                    <a:pt x="251" y="179"/>
                  </a:cubicBezTo>
                  <a:cubicBezTo>
                    <a:pt x="250" y="179"/>
                    <a:pt x="250" y="179"/>
                    <a:pt x="250" y="180"/>
                  </a:cubicBezTo>
                  <a:cubicBezTo>
                    <a:pt x="250" y="180"/>
                    <a:pt x="250" y="180"/>
                    <a:pt x="250" y="180"/>
                  </a:cubicBezTo>
                  <a:cubicBezTo>
                    <a:pt x="250" y="180"/>
                    <a:pt x="250" y="180"/>
                    <a:pt x="249" y="180"/>
                  </a:cubicBezTo>
                  <a:cubicBezTo>
                    <a:pt x="249" y="180"/>
                    <a:pt x="249" y="181"/>
                    <a:pt x="249" y="181"/>
                  </a:cubicBezTo>
                  <a:cubicBezTo>
                    <a:pt x="249" y="181"/>
                    <a:pt x="249" y="181"/>
                    <a:pt x="249" y="181"/>
                  </a:cubicBezTo>
                  <a:cubicBezTo>
                    <a:pt x="249" y="181"/>
                    <a:pt x="249" y="181"/>
                    <a:pt x="249" y="182"/>
                  </a:cubicBezTo>
                  <a:cubicBezTo>
                    <a:pt x="249" y="182"/>
                    <a:pt x="249" y="182"/>
                    <a:pt x="249" y="182"/>
                  </a:cubicBezTo>
                  <a:cubicBezTo>
                    <a:pt x="249" y="182"/>
                    <a:pt x="249" y="182"/>
                    <a:pt x="249" y="182"/>
                  </a:cubicBezTo>
                  <a:cubicBezTo>
                    <a:pt x="249" y="182"/>
                    <a:pt x="249" y="182"/>
                    <a:pt x="248" y="182"/>
                  </a:cubicBezTo>
                  <a:cubicBezTo>
                    <a:pt x="248" y="183"/>
                    <a:pt x="248" y="183"/>
                    <a:pt x="248" y="183"/>
                  </a:cubicBezTo>
                  <a:cubicBezTo>
                    <a:pt x="248" y="183"/>
                    <a:pt x="248" y="183"/>
                    <a:pt x="248" y="183"/>
                  </a:cubicBezTo>
                  <a:cubicBezTo>
                    <a:pt x="248" y="183"/>
                    <a:pt x="248" y="183"/>
                    <a:pt x="248" y="184"/>
                  </a:cubicBezTo>
                  <a:cubicBezTo>
                    <a:pt x="247" y="185"/>
                    <a:pt x="246" y="187"/>
                    <a:pt x="245" y="189"/>
                  </a:cubicBezTo>
                  <a:cubicBezTo>
                    <a:pt x="245" y="189"/>
                    <a:pt x="245" y="189"/>
                    <a:pt x="245" y="190"/>
                  </a:cubicBezTo>
                  <a:cubicBezTo>
                    <a:pt x="245" y="190"/>
                    <a:pt x="245" y="190"/>
                    <a:pt x="245" y="190"/>
                  </a:cubicBezTo>
                  <a:cubicBezTo>
                    <a:pt x="245" y="190"/>
                    <a:pt x="245" y="190"/>
                    <a:pt x="245" y="190"/>
                  </a:cubicBezTo>
                  <a:cubicBezTo>
                    <a:pt x="244" y="190"/>
                    <a:pt x="244" y="190"/>
                    <a:pt x="244" y="190"/>
                  </a:cubicBezTo>
                  <a:cubicBezTo>
                    <a:pt x="244" y="191"/>
                    <a:pt x="244" y="191"/>
                    <a:pt x="244" y="191"/>
                  </a:cubicBezTo>
                  <a:cubicBezTo>
                    <a:pt x="244" y="191"/>
                    <a:pt x="244" y="191"/>
                    <a:pt x="244" y="191"/>
                  </a:cubicBezTo>
                  <a:cubicBezTo>
                    <a:pt x="244" y="191"/>
                    <a:pt x="244" y="192"/>
                    <a:pt x="244" y="192"/>
                  </a:cubicBezTo>
                  <a:cubicBezTo>
                    <a:pt x="244" y="192"/>
                    <a:pt x="244" y="192"/>
                    <a:pt x="244" y="192"/>
                  </a:cubicBezTo>
                  <a:cubicBezTo>
                    <a:pt x="244" y="192"/>
                    <a:pt x="244" y="192"/>
                    <a:pt x="244" y="192"/>
                  </a:cubicBezTo>
                  <a:cubicBezTo>
                    <a:pt x="243" y="192"/>
                    <a:pt x="243" y="192"/>
                    <a:pt x="243" y="192"/>
                  </a:cubicBezTo>
                  <a:cubicBezTo>
                    <a:pt x="243" y="193"/>
                    <a:pt x="243" y="193"/>
                    <a:pt x="243" y="193"/>
                  </a:cubicBezTo>
                  <a:cubicBezTo>
                    <a:pt x="243" y="193"/>
                    <a:pt x="243" y="193"/>
                    <a:pt x="242" y="194"/>
                  </a:cubicBezTo>
                  <a:cubicBezTo>
                    <a:pt x="242" y="194"/>
                    <a:pt x="242" y="194"/>
                    <a:pt x="242" y="194"/>
                  </a:cubicBezTo>
                  <a:cubicBezTo>
                    <a:pt x="242" y="194"/>
                    <a:pt x="242" y="194"/>
                    <a:pt x="242" y="194"/>
                  </a:cubicBezTo>
                  <a:cubicBezTo>
                    <a:pt x="242" y="194"/>
                    <a:pt x="242" y="195"/>
                    <a:pt x="242" y="195"/>
                  </a:cubicBezTo>
                  <a:cubicBezTo>
                    <a:pt x="242" y="195"/>
                    <a:pt x="242" y="195"/>
                    <a:pt x="242" y="195"/>
                  </a:cubicBezTo>
                  <a:cubicBezTo>
                    <a:pt x="242" y="195"/>
                    <a:pt x="242" y="195"/>
                    <a:pt x="242" y="196"/>
                  </a:cubicBezTo>
                  <a:cubicBezTo>
                    <a:pt x="242" y="196"/>
                    <a:pt x="242" y="196"/>
                    <a:pt x="241" y="196"/>
                  </a:cubicBezTo>
                  <a:cubicBezTo>
                    <a:pt x="241" y="196"/>
                    <a:pt x="241" y="198"/>
                    <a:pt x="240" y="199"/>
                  </a:cubicBezTo>
                  <a:cubicBezTo>
                    <a:pt x="239" y="199"/>
                    <a:pt x="239" y="199"/>
                    <a:pt x="238" y="199"/>
                  </a:cubicBezTo>
                  <a:cubicBezTo>
                    <a:pt x="238" y="199"/>
                    <a:pt x="238" y="199"/>
                    <a:pt x="238" y="199"/>
                  </a:cubicBezTo>
                  <a:cubicBezTo>
                    <a:pt x="238" y="200"/>
                    <a:pt x="237" y="200"/>
                    <a:pt x="237" y="200"/>
                  </a:cubicBezTo>
                  <a:cubicBezTo>
                    <a:pt x="237" y="200"/>
                    <a:pt x="237" y="200"/>
                    <a:pt x="237" y="200"/>
                  </a:cubicBezTo>
                  <a:cubicBezTo>
                    <a:pt x="237" y="200"/>
                    <a:pt x="236" y="200"/>
                    <a:pt x="236" y="200"/>
                  </a:cubicBezTo>
                  <a:cubicBezTo>
                    <a:pt x="236" y="200"/>
                    <a:pt x="236" y="200"/>
                    <a:pt x="236" y="201"/>
                  </a:cubicBezTo>
                  <a:cubicBezTo>
                    <a:pt x="236" y="201"/>
                    <a:pt x="236" y="201"/>
                    <a:pt x="235" y="201"/>
                  </a:cubicBezTo>
                  <a:cubicBezTo>
                    <a:pt x="235" y="201"/>
                    <a:pt x="235" y="201"/>
                    <a:pt x="235" y="201"/>
                  </a:cubicBezTo>
                  <a:cubicBezTo>
                    <a:pt x="235" y="201"/>
                    <a:pt x="235" y="201"/>
                    <a:pt x="235" y="201"/>
                  </a:cubicBezTo>
                  <a:cubicBezTo>
                    <a:pt x="235" y="201"/>
                    <a:pt x="235" y="201"/>
                    <a:pt x="235" y="201"/>
                  </a:cubicBezTo>
                  <a:cubicBezTo>
                    <a:pt x="234" y="201"/>
                    <a:pt x="233" y="202"/>
                    <a:pt x="233" y="202"/>
                  </a:cubicBezTo>
                  <a:cubicBezTo>
                    <a:pt x="233" y="202"/>
                    <a:pt x="233" y="202"/>
                    <a:pt x="233" y="202"/>
                  </a:cubicBezTo>
                  <a:cubicBezTo>
                    <a:pt x="232" y="202"/>
                    <a:pt x="232" y="202"/>
                    <a:pt x="232" y="202"/>
                  </a:cubicBezTo>
                  <a:cubicBezTo>
                    <a:pt x="232" y="202"/>
                    <a:pt x="232" y="202"/>
                    <a:pt x="232" y="203"/>
                  </a:cubicBezTo>
                  <a:cubicBezTo>
                    <a:pt x="231" y="203"/>
                    <a:pt x="230" y="203"/>
                    <a:pt x="230" y="203"/>
                  </a:cubicBezTo>
                  <a:cubicBezTo>
                    <a:pt x="230" y="203"/>
                    <a:pt x="230" y="204"/>
                    <a:pt x="230" y="204"/>
                  </a:cubicBezTo>
                  <a:cubicBezTo>
                    <a:pt x="229" y="204"/>
                    <a:pt x="229" y="204"/>
                    <a:pt x="229" y="204"/>
                  </a:cubicBezTo>
                  <a:cubicBezTo>
                    <a:pt x="229" y="204"/>
                    <a:pt x="229" y="204"/>
                    <a:pt x="229" y="204"/>
                  </a:cubicBezTo>
                  <a:cubicBezTo>
                    <a:pt x="229" y="204"/>
                    <a:pt x="228" y="204"/>
                    <a:pt x="228" y="204"/>
                  </a:cubicBezTo>
                  <a:cubicBezTo>
                    <a:pt x="228" y="204"/>
                    <a:pt x="228" y="204"/>
                    <a:pt x="228" y="204"/>
                  </a:cubicBezTo>
                  <a:cubicBezTo>
                    <a:pt x="228" y="204"/>
                    <a:pt x="228" y="204"/>
                    <a:pt x="227" y="204"/>
                  </a:cubicBezTo>
                  <a:cubicBezTo>
                    <a:pt x="227" y="204"/>
                    <a:pt x="227" y="205"/>
                    <a:pt x="227" y="205"/>
                  </a:cubicBezTo>
                  <a:cubicBezTo>
                    <a:pt x="227" y="205"/>
                    <a:pt x="227" y="205"/>
                    <a:pt x="227" y="205"/>
                  </a:cubicBezTo>
                  <a:cubicBezTo>
                    <a:pt x="227" y="205"/>
                    <a:pt x="227" y="205"/>
                    <a:pt x="227" y="205"/>
                  </a:cubicBezTo>
                  <a:cubicBezTo>
                    <a:pt x="227" y="205"/>
                    <a:pt x="226" y="205"/>
                    <a:pt x="226" y="205"/>
                  </a:cubicBezTo>
                  <a:cubicBezTo>
                    <a:pt x="226" y="205"/>
                    <a:pt x="226" y="205"/>
                    <a:pt x="226" y="205"/>
                  </a:cubicBezTo>
                  <a:cubicBezTo>
                    <a:pt x="226" y="205"/>
                    <a:pt x="226" y="205"/>
                    <a:pt x="225" y="205"/>
                  </a:cubicBezTo>
                  <a:cubicBezTo>
                    <a:pt x="225" y="206"/>
                    <a:pt x="225" y="206"/>
                    <a:pt x="225" y="206"/>
                  </a:cubicBezTo>
                  <a:cubicBezTo>
                    <a:pt x="225" y="206"/>
                    <a:pt x="225" y="206"/>
                    <a:pt x="224" y="206"/>
                  </a:cubicBezTo>
                  <a:cubicBezTo>
                    <a:pt x="224" y="206"/>
                    <a:pt x="224" y="206"/>
                    <a:pt x="224" y="206"/>
                  </a:cubicBezTo>
                  <a:cubicBezTo>
                    <a:pt x="224" y="206"/>
                    <a:pt x="223" y="206"/>
                    <a:pt x="223" y="206"/>
                  </a:cubicBezTo>
                  <a:cubicBezTo>
                    <a:pt x="223" y="207"/>
                    <a:pt x="223" y="207"/>
                    <a:pt x="223" y="207"/>
                  </a:cubicBezTo>
                  <a:cubicBezTo>
                    <a:pt x="223" y="207"/>
                    <a:pt x="222" y="207"/>
                    <a:pt x="222" y="207"/>
                  </a:cubicBezTo>
                  <a:cubicBezTo>
                    <a:pt x="222" y="207"/>
                    <a:pt x="222" y="207"/>
                    <a:pt x="222" y="207"/>
                  </a:cubicBezTo>
                  <a:cubicBezTo>
                    <a:pt x="222" y="207"/>
                    <a:pt x="222" y="207"/>
                    <a:pt x="221" y="207"/>
                  </a:cubicBezTo>
                  <a:cubicBezTo>
                    <a:pt x="221" y="207"/>
                    <a:pt x="221" y="207"/>
                    <a:pt x="221" y="208"/>
                  </a:cubicBezTo>
                  <a:cubicBezTo>
                    <a:pt x="221" y="208"/>
                    <a:pt x="221" y="208"/>
                    <a:pt x="221" y="208"/>
                  </a:cubicBezTo>
                  <a:cubicBezTo>
                    <a:pt x="221" y="208"/>
                    <a:pt x="221" y="208"/>
                    <a:pt x="221" y="208"/>
                  </a:cubicBezTo>
                  <a:cubicBezTo>
                    <a:pt x="220" y="208"/>
                    <a:pt x="219" y="208"/>
                    <a:pt x="219" y="209"/>
                  </a:cubicBezTo>
                  <a:cubicBezTo>
                    <a:pt x="219" y="209"/>
                    <a:pt x="219" y="209"/>
                    <a:pt x="219" y="209"/>
                  </a:cubicBezTo>
                  <a:cubicBezTo>
                    <a:pt x="218" y="209"/>
                    <a:pt x="218" y="209"/>
                    <a:pt x="218" y="209"/>
                  </a:cubicBezTo>
                  <a:cubicBezTo>
                    <a:pt x="218" y="209"/>
                    <a:pt x="218" y="209"/>
                    <a:pt x="218" y="209"/>
                  </a:cubicBezTo>
                  <a:cubicBezTo>
                    <a:pt x="217" y="209"/>
                    <a:pt x="216" y="210"/>
                    <a:pt x="216" y="210"/>
                  </a:cubicBezTo>
                  <a:cubicBezTo>
                    <a:pt x="216" y="210"/>
                    <a:pt x="216" y="210"/>
                    <a:pt x="216" y="210"/>
                  </a:cubicBezTo>
                  <a:cubicBezTo>
                    <a:pt x="215" y="210"/>
                    <a:pt x="215" y="210"/>
                    <a:pt x="215" y="210"/>
                  </a:cubicBezTo>
                  <a:cubicBezTo>
                    <a:pt x="215" y="210"/>
                    <a:pt x="215" y="211"/>
                    <a:pt x="215" y="211"/>
                  </a:cubicBezTo>
                  <a:cubicBezTo>
                    <a:pt x="215" y="211"/>
                    <a:pt x="214" y="211"/>
                    <a:pt x="214" y="211"/>
                  </a:cubicBezTo>
                  <a:cubicBezTo>
                    <a:pt x="214" y="211"/>
                    <a:pt x="214" y="211"/>
                    <a:pt x="214" y="211"/>
                  </a:cubicBezTo>
                  <a:cubicBezTo>
                    <a:pt x="214" y="211"/>
                    <a:pt x="214" y="211"/>
                    <a:pt x="213" y="211"/>
                  </a:cubicBezTo>
                  <a:cubicBezTo>
                    <a:pt x="213" y="211"/>
                    <a:pt x="213" y="211"/>
                    <a:pt x="213" y="211"/>
                  </a:cubicBezTo>
                  <a:cubicBezTo>
                    <a:pt x="213" y="211"/>
                    <a:pt x="213" y="211"/>
                    <a:pt x="213" y="211"/>
                  </a:cubicBezTo>
                  <a:cubicBezTo>
                    <a:pt x="213" y="211"/>
                    <a:pt x="213" y="212"/>
                    <a:pt x="213" y="212"/>
                  </a:cubicBezTo>
                  <a:cubicBezTo>
                    <a:pt x="213" y="212"/>
                    <a:pt x="212" y="212"/>
                    <a:pt x="212" y="212"/>
                  </a:cubicBezTo>
                  <a:cubicBezTo>
                    <a:pt x="212" y="212"/>
                    <a:pt x="212" y="212"/>
                    <a:pt x="212" y="212"/>
                  </a:cubicBezTo>
                  <a:cubicBezTo>
                    <a:pt x="212" y="212"/>
                    <a:pt x="212" y="212"/>
                    <a:pt x="211" y="212"/>
                  </a:cubicBezTo>
                  <a:cubicBezTo>
                    <a:pt x="211" y="212"/>
                    <a:pt x="211" y="212"/>
                    <a:pt x="211" y="212"/>
                  </a:cubicBezTo>
                  <a:cubicBezTo>
                    <a:pt x="211" y="212"/>
                    <a:pt x="211" y="212"/>
                    <a:pt x="210" y="212"/>
                  </a:cubicBezTo>
                  <a:cubicBezTo>
                    <a:pt x="210" y="213"/>
                    <a:pt x="210" y="213"/>
                    <a:pt x="210" y="213"/>
                  </a:cubicBezTo>
                  <a:cubicBezTo>
                    <a:pt x="210" y="213"/>
                    <a:pt x="209" y="213"/>
                    <a:pt x="208" y="213"/>
                  </a:cubicBezTo>
                  <a:cubicBezTo>
                    <a:pt x="208" y="214"/>
                    <a:pt x="208" y="214"/>
                    <a:pt x="208" y="214"/>
                  </a:cubicBezTo>
                  <a:cubicBezTo>
                    <a:pt x="208" y="214"/>
                    <a:pt x="208" y="214"/>
                    <a:pt x="207" y="214"/>
                  </a:cubicBezTo>
                  <a:cubicBezTo>
                    <a:pt x="207" y="214"/>
                    <a:pt x="207" y="214"/>
                    <a:pt x="207" y="214"/>
                  </a:cubicBezTo>
                  <a:cubicBezTo>
                    <a:pt x="207" y="214"/>
                    <a:pt x="207" y="214"/>
                    <a:pt x="207" y="214"/>
                  </a:cubicBezTo>
                  <a:cubicBezTo>
                    <a:pt x="207" y="214"/>
                    <a:pt x="207" y="214"/>
                    <a:pt x="207" y="215"/>
                  </a:cubicBezTo>
                  <a:cubicBezTo>
                    <a:pt x="207" y="215"/>
                    <a:pt x="206" y="215"/>
                    <a:pt x="206" y="215"/>
                  </a:cubicBezTo>
                  <a:cubicBezTo>
                    <a:pt x="206" y="215"/>
                    <a:pt x="206" y="215"/>
                    <a:pt x="206" y="215"/>
                  </a:cubicBezTo>
                  <a:cubicBezTo>
                    <a:pt x="206" y="215"/>
                    <a:pt x="206" y="215"/>
                    <a:pt x="205" y="215"/>
                  </a:cubicBezTo>
                  <a:cubicBezTo>
                    <a:pt x="205" y="215"/>
                    <a:pt x="205" y="215"/>
                    <a:pt x="205" y="215"/>
                  </a:cubicBezTo>
                  <a:cubicBezTo>
                    <a:pt x="205" y="215"/>
                    <a:pt x="205" y="215"/>
                    <a:pt x="205" y="215"/>
                  </a:cubicBezTo>
                  <a:cubicBezTo>
                    <a:pt x="205" y="215"/>
                    <a:pt x="205" y="215"/>
                    <a:pt x="205" y="216"/>
                  </a:cubicBezTo>
                  <a:cubicBezTo>
                    <a:pt x="204" y="216"/>
                    <a:pt x="204" y="216"/>
                    <a:pt x="204" y="216"/>
                  </a:cubicBezTo>
                  <a:cubicBezTo>
                    <a:pt x="204" y="216"/>
                    <a:pt x="204" y="216"/>
                    <a:pt x="204" y="216"/>
                  </a:cubicBezTo>
                  <a:cubicBezTo>
                    <a:pt x="204" y="216"/>
                    <a:pt x="204" y="216"/>
                    <a:pt x="203" y="216"/>
                  </a:cubicBezTo>
                  <a:cubicBezTo>
                    <a:pt x="203" y="216"/>
                    <a:pt x="203" y="216"/>
                    <a:pt x="203" y="217"/>
                  </a:cubicBezTo>
                  <a:cubicBezTo>
                    <a:pt x="203" y="217"/>
                    <a:pt x="202" y="217"/>
                    <a:pt x="202" y="217"/>
                  </a:cubicBezTo>
                  <a:cubicBezTo>
                    <a:pt x="202" y="217"/>
                    <a:pt x="202" y="217"/>
                    <a:pt x="202" y="217"/>
                  </a:cubicBezTo>
                  <a:cubicBezTo>
                    <a:pt x="202" y="217"/>
                    <a:pt x="202" y="217"/>
                    <a:pt x="202" y="217"/>
                  </a:cubicBezTo>
                  <a:cubicBezTo>
                    <a:pt x="202" y="217"/>
                    <a:pt x="202" y="217"/>
                    <a:pt x="202" y="217"/>
                  </a:cubicBezTo>
                  <a:cubicBezTo>
                    <a:pt x="201" y="217"/>
                    <a:pt x="201" y="217"/>
                    <a:pt x="201" y="217"/>
                  </a:cubicBezTo>
                  <a:cubicBezTo>
                    <a:pt x="201" y="217"/>
                    <a:pt x="201" y="218"/>
                    <a:pt x="201" y="218"/>
                  </a:cubicBezTo>
                  <a:cubicBezTo>
                    <a:pt x="201" y="218"/>
                    <a:pt x="200" y="218"/>
                    <a:pt x="200" y="218"/>
                  </a:cubicBezTo>
                  <a:cubicBezTo>
                    <a:pt x="200" y="218"/>
                    <a:pt x="200" y="218"/>
                    <a:pt x="200" y="218"/>
                  </a:cubicBezTo>
                  <a:cubicBezTo>
                    <a:pt x="200" y="218"/>
                    <a:pt x="200" y="218"/>
                    <a:pt x="199" y="218"/>
                  </a:cubicBezTo>
                  <a:cubicBezTo>
                    <a:pt x="199" y="218"/>
                    <a:pt x="199" y="218"/>
                    <a:pt x="199" y="218"/>
                  </a:cubicBezTo>
                  <a:cubicBezTo>
                    <a:pt x="199" y="218"/>
                    <a:pt x="199" y="218"/>
                    <a:pt x="199" y="218"/>
                  </a:cubicBezTo>
                  <a:cubicBezTo>
                    <a:pt x="197" y="219"/>
                    <a:pt x="196" y="220"/>
                    <a:pt x="194" y="221"/>
                  </a:cubicBezTo>
                  <a:cubicBezTo>
                    <a:pt x="194" y="221"/>
                    <a:pt x="194" y="221"/>
                    <a:pt x="194" y="221"/>
                  </a:cubicBezTo>
                  <a:cubicBezTo>
                    <a:pt x="194" y="221"/>
                    <a:pt x="194" y="221"/>
                    <a:pt x="194" y="221"/>
                  </a:cubicBezTo>
                  <a:cubicBezTo>
                    <a:pt x="193" y="221"/>
                    <a:pt x="193" y="221"/>
                    <a:pt x="193" y="221"/>
                  </a:cubicBezTo>
                  <a:cubicBezTo>
                    <a:pt x="193" y="222"/>
                    <a:pt x="193" y="222"/>
                    <a:pt x="193" y="222"/>
                  </a:cubicBezTo>
                  <a:cubicBezTo>
                    <a:pt x="193" y="222"/>
                    <a:pt x="192" y="222"/>
                    <a:pt x="192" y="222"/>
                  </a:cubicBezTo>
                  <a:cubicBezTo>
                    <a:pt x="192" y="222"/>
                    <a:pt x="192" y="222"/>
                    <a:pt x="192" y="222"/>
                  </a:cubicBezTo>
                  <a:cubicBezTo>
                    <a:pt x="192" y="222"/>
                    <a:pt x="192" y="222"/>
                    <a:pt x="191" y="222"/>
                  </a:cubicBezTo>
                  <a:cubicBezTo>
                    <a:pt x="191" y="222"/>
                    <a:pt x="191" y="222"/>
                    <a:pt x="191" y="223"/>
                  </a:cubicBezTo>
                  <a:cubicBezTo>
                    <a:pt x="191" y="223"/>
                    <a:pt x="191" y="223"/>
                    <a:pt x="191" y="223"/>
                  </a:cubicBezTo>
                  <a:cubicBezTo>
                    <a:pt x="191" y="223"/>
                    <a:pt x="191" y="223"/>
                    <a:pt x="191" y="223"/>
                  </a:cubicBezTo>
                  <a:cubicBezTo>
                    <a:pt x="190" y="223"/>
                    <a:pt x="190" y="223"/>
                    <a:pt x="190" y="223"/>
                  </a:cubicBezTo>
                  <a:cubicBezTo>
                    <a:pt x="190" y="223"/>
                    <a:pt x="190" y="223"/>
                    <a:pt x="190" y="224"/>
                  </a:cubicBezTo>
                  <a:cubicBezTo>
                    <a:pt x="189" y="224"/>
                    <a:pt x="189" y="224"/>
                    <a:pt x="189" y="224"/>
                  </a:cubicBezTo>
                  <a:cubicBezTo>
                    <a:pt x="189" y="224"/>
                    <a:pt x="189" y="224"/>
                    <a:pt x="189" y="224"/>
                  </a:cubicBezTo>
                  <a:cubicBezTo>
                    <a:pt x="189" y="224"/>
                    <a:pt x="188" y="224"/>
                    <a:pt x="188" y="224"/>
                  </a:cubicBezTo>
                  <a:cubicBezTo>
                    <a:pt x="188" y="224"/>
                    <a:pt x="188" y="224"/>
                    <a:pt x="188" y="224"/>
                  </a:cubicBezTo>
                  <a:cubicBezTo>
                    <a:pt x="188" y="224"/>
                    <a:pt x="188" y="224"/>
                    <a:pt x="188" y="224"/>
                  </a:cubicBezTo>
                  <a:cubicBezTo>
                    <a:pt x="188" y="224"/>
                    <a:pt x="188" y="225"/>
                    <a:pt x="188" y="225"/>
                  </a:cubicBezTo>
                  <a:cubicBezTo>
                    <a:pt x="187" y="225"/>
                    <a:pt x="187" y="225"/>
                    <a:pt x="187" y="225"/>
                  </a:cubicBezTo>
                  <a:cubicBezTo>
                    <a:pt x="187" y="225"/>
                    <a:pt x="187" y="225"/>
                    <a:pt x="187" y="225"/>
                  </a:cubicBezTo>
                  <a:cubicBezTo>
                    <a:pt x="187" y="225"/>
                    <a:pt x="186" y="225"/>
                    <a:pt x="186" y="225"/>
                  </a:cubicBezTo>
                  <a:cubicBezTo>
                    <a:pt x="186" y="225"/>
                    <a:pt x="186" y="225"/>
                    <a:pt x="186" y="225"/>
                  </a:cubicBezTo>
                  <a:cubicBezTo>
                    <a:pt x="186" y="225"/>
                    <a:pt x="186" y="225"/>
                    <a:pt x="185" y="225"/>
                  </a:cubicBezTo>
                  <a:cubicBezTo>
                    <a:pt x="185" y="225"/>
                    <a:pt x="185" y="226"/>
                    <a:pt x="185" y="226"/>
                  </a:cubicBezTo>
                  <a:cubicBezTo>
                    <a:pt x="185" y="226"/>
                    <a:pt x="185" y="226"/>
                    <a:pt x="185" y="226"/>
                  </a:cubicBezTo>
                  <a:cubicBezTo>
                    <a:pt x="185" y="226"/>
                    <a:pt x="185" y="226"/>
                    <a:pt x="185" y="226"/>
                  </a:cubicBezTo>
                  <a:cubicBezTo>
                    <a:pt x="184" y="226"/>
                    <a:pt x="184" y="226"/>
                    <a:pt x="183" y="226"/>
                  </a:cubicBezTo>
                  <a:cubicBezTo>
                    <a:pt x="183" y="227"/>
                    <a:pt x="183" y="227"/>
                    <a:pt x="183" y="227"/>
                  </a:cubicBezTo>
                  <a:cubicBezTo>
                    <a:pt x="183" y="227"/>
                    <a:pt x="183" y="227"/>
                    <a:pt x="182" y="227"/>
                  </a:cubicBezTo>
                  <a:cubicBezTo>
                    <a:pt x="182" y="227"/>
                    <a:pt x="182" y="227"/>
                    <a:pt x="182" y="227"/>
                  </a:cubicBezTo>
                  <a:cubicBezTo>
                    <a:pt x="182" y="227"/>
                    <a:pt x="182" y="227"/>
                    <a:pt x="182" y="227"/>
                  </a:cubicBezTo>
                  <a:cubicBezTo>
                    <a:pt x="182" y="228"/>
                    <a:pt x="182" y="228"/>
                    <a:pt x="182" y="228"/>
                  </a:cubicBezTo>
                  <a:cubicBezTo>
                    <a:pt x="181" y="228"/>
                    <a:pt x="181" y="228"/>
                    <a:pt x="181" y="228"/>
                  </a:cubicBezTo>
                  <a:cubicBezTo>
                    <a:pt x="181" y="228"/>
                    <a:pt x="181" y="228"/>
                    <a:pt x="181" y="228"/>
                  </a:cubicBezTo>
                  <a:cubicBezTo>
                    <a:pt x="181" y="228"/>
                    <a:pt x="180" y="228"/>
                    <a:pt x="180" y="228"/>
                  </a:cubicBezTo>
                  <a:cubicBezTo>
                    <a:pt x="180" y="228"/>
                    <a:pt x="180" y="228"/>
                    <a:pt x="180" y="228"/>
                  </a:cubicBezTo>
                  <a:cubicBezTo>
                    <a:pt x="180" y="228"/>
                    <a:pt x="180" y="228"/>
                    <a:pt x="180" y="228"/>
                  </a:cubicBezTo>
                  <a:cubicBezTo>
                    <a:pt x="180" y="229"/>
                    <a:pt x="180" y="229"/>
                    <a:pt x="180" y="229"/>
                  </a:cubicBezTo>
                  <a:cubicBezTo>
                    <a:pt x="179" y="229"/>
                    <a:pt x="179" y="229"/>
                    <a:pt x="179" y="229"/>
                  </a:cubicBezTo>
                  <a:cubicBezTo>
                    <a:pt x="179" y="229"/>
                    <a:pt x="179" y="229"/>
                    <a:pt x="179" y="229"/>
                  </a:cubicBezTo>
                  <a:cubicBezTo>
                    <a:pt x="179" y="229"/>
                    <a:pt x="178" y="229"/>
                    <a:pt x="178" y="229"/>
                  </a:cubicBezTo>
                  <a:cubicBezTo>
                    <a:pt x="178" y="229"/>
                    <a:pt x="178" y="229"/>
                    <a:pt x="178" y="230"/>
                  </a:cubicBezTo>
                  <a:cubicBezTo>
                    <a:pt x="178" y="230"/>
                    <a:pt x="178" y="230"/>
                    <a:pt x="177" y="230"/>
                  </a:cubicBezTo>
                  <a:cubicBezTo>
                    <a:pt x="177" y="230"/>
                    <a:pt x="177" y="230"/>
                    <a:pt x="177" y="230"/>
                  </a:cubicBezTo>
                  <a:cubicBezTo>
                    <a:pt x="177" y="230"/>
                    <a:pt x="177" y="230"/>
                    <a:pt x="177" y="230"/>
                  </a:cubicBezTo>
                  <a:cubicBezTo>
                    <a:pt x="177" y="230"/>
                    <a:pt x="176" y="230"/>
                    <a:pt x="176" y="231"/>
                  </a:cubicBezTo>
                  <a:cubicBezTo>
                    <a:pt x="176" y="231"/>
                    <a:pt x="176" y="231"/>
                    <a:pt x="176" y="231"/>
                  </a:cubicBezTo>
                  <a:cubicBezTo>
                    <a:pt x="176" y="231"/>
                    <a:pt x="176" y="231"/>
                    <a:pt x="176" y="231"/>
                  </a:cubicBezTo>
                  <a:cubicBezTo>
                    <a:pt x="175" y="231"/>
                    <a:pt x="175" y="231"/>
                    <a:pt x="175" y="231"/>
                  </a:cubicBezTo>
                  <a:cubicBezTo>
                    <a:pt x="175" y="231"/>
                    <a:pt x="175" y="231"/>
                    <a:pt x="175" y="231"/>
                  </a:cubicBezTo>
                  <a:cubicBezTo>
                    <a:pt x="175" y="231"/>
                    <a:pt x="175" y="231"/>
                    <a:pt x="174" y="231"/>
                  </a:cubicBezTo>
                  <a:cubicBezTo>
                    <a:pt x="174" y="231"/>
                    <a:pt x="174" y="232"/>
                    <a:pt x="174" y="232"/>
                  </a:cubicBezTo>
                  <a:cubicBezTo>
                    <a:pt x="174" y="232"/>
                    <a:pt x="174" y="232"/>
                    <a:pt x="174" y="232"/>
                  </a:cubicBezTo>
                  <a:cubicBezTo>
                    <a:pt x="174" y="232"/>
                    <a:pt x="174" y="232"/>
                    <a:pt x="174" y="232"/>
                  </a:cubicBezTo>
                  <a:cubicBezTo>
                    <a:pt x="173" y="232"/>
                    <a:pt x="173" y="232"/>
                    <a:pt x="173" y="232"/>
                  </a:cubicBezTo>
                  <a:cubicBezTo>
                    <a:pt x="173" y="232"/>
                    <a:pt x="173" y="232"/>
                    <a:pt x="173" y="232"/>
                  </a:cubicBezTo>
                  <a:cubicBezTo>
                    <a:pt x="173" y="232"/>
                    <a:pt x="172" y="232"/>
                    <a:pt x="172" y="232"/>
                  </a:cubicBezTo>
                  <a:cubicBezTo>
                    <a:pt x="172" y="232"/>
                    <a:pt x="172" y="233"/>
                    <a:pt x="172" y="233"/>
                  </a:cubicBezTo>
                  <a:cubicBezTo>
                    <a:pt x="172" y="233"/>
                    <a:pt x="172" y="233"/>
                    <a:pt x="171" y="233"/>
                  </a:cubicBezTo>
                  <a:cubicBezTo>
                    <a:pt x="171" y="233"/>
                    <a:pt x="171" y="233"/>
                    <a:pt x="171" y="233"/>
                  </a:cubicBezTo>
                  <a:cubicBezTo>
                    <a:pt x="171" y="233"/>
                    <a:pt x="171" y="233"/>
                    <a:pt x="171" y="233"/>
                  </a:cubicBezTo>
                  <a:cubicBezTo>
                    <a:pt x="171" y="233"/>
                    <a:pt x="171" y="233"/>
                    <a:pt x="171" y="233"/>
                  </a:cubicBezTo>
                  <a:cubicBezTo>
                    <a:pt x="171" y="233"/>
                    <a:pt x="170" y="233"/>
                    <a:pt x="170" y="233"/>
                  </a:cubicBezTo>
                  <a:cubicBezTo>
                    <a:pt x="170" y="234"/>
                    <a:pt x="169" y="234"/>
                    <a:pt x="169" y="235"/>
                  </a:cubicBezTo>
                  <a:cubicBezTo>
                    <a:pt x="168" y="236"/>
                    <a:pt x="167" y="237"/>
                    <a:pt x="166" y="238"/>
                  </a:cubicBezTo>
                  <a:cubicBezTo>
                    <a:pt x="166" y="238"/>
                    <a:pt x="166" y="238"/>
                    <a:pt x="166" y="239"/>
                  </a:cubicBezTo>
                  <a:cubicBezTo>
                    <a:pt x="164" y="240"/>
                    <a:pt x="163" y="241"/>
                    <a:pt x="162" y="241"/>
                  </a:cubicBezTo>
                  <a:cubicBezTo>
                    <a:pt x="162" y="242"/>
                    <a:pt x="162" y="242"/>
                    <a:pt x="161" y="243"/>
                  </a:cubicBezTo>
                  <a:cubicBezTo>
                    <a:pt x="161" y="243"/>
                    <a:pt x="161" y="243"/>
                    <a:pt x="161" y="243"/>
                  </a:cubicBezTo>
                  <a:cubicBezTo>
                    <a:pt x="161" y="243"/>
                    <a:pt x="161" y="244"/>
                    <a:pt x="161" y="244"/>
                  </a:cubicBezTo>
                  <a:cubicBezTo>
                    <a:pt x="159" y="245"/>
                    <a:pt x="157" y="247"/>
                    <a:pt x="156" y="248"/>
                  </a:cubicBezTo>
                  <a:cubicBezTo>
                    <a:pt x="156" y="249"/>
                    <a:pt x="156" y="249"/>
                    <a:pt x="156" y="249"/>
                  </a:cubicBezTo>
                  <a:cubicBezTo>
                    <a:pt x="154" y="251"/>
                    <a:pt x="152" y="252"/>
                    <a:pt x="151" y="254"/>
                  </a:cubicBezTo>
                  <a:cubicBezTo>
                    <a:pt x="148" y="258"/>
                    <a:pt x="144" y="261"/>
                    <a:pt x="141" y="265"/>
                  </a:cubicBezTo>
                  <a:cubicBezTo>
                    <a:pt x="139" y="266"/>
                    <a:pt x="138" y="268"/>
                    <a:pt x="136" y="269"/>
                  </a:cubicBezTo>
                  <a:cubicBezTo>
                    <a:pt x="136" y="270"/>
                    <a:pt x="136" y="270"/>
                    <a:pt x="136" y="270"/>
                  </a:cubicBezTo>
                  <a:cubicBezTo>
                    <a:pt x="135" y="272"/>
                    <a:pt x="133" y="273"/>
                    <a:pt x="131" y="275"/>
                  </a:cubicBezTo>
                  <a:cubicBezTo>
                    <a:pt x="131" y="275"/>
                    <a:pt x="131" y="275"/>
                    <a:pt x="131" y="275"/>
                  </a:cubicBezTo>
                  <a:cubicBezTo>
                    <a:pt x="130" y="277"/>
                    <a:pt x="128" y="278"/>
                    <a:pt x="126" y="280"/>
                  </a:cubicBezTo>
                  <a:cubicBezTo>
                    <a:pt x="126" y="280"/>
                    <a:pt x="126" y="280"/>
                    <a:pt x="126" y="281"/>
                  </a:cubicBezTo>
                  <a:cubicBezTo>
                    <a:pt x="126" y="281"/>
                    <a:pt x="126" y="281"/>
                    <a:pt x="126" y="281"/>
                  </a:cubicBezTo>
                  <a:cubicBezTo>
                    <a:pt x="125" y="281"/>
                    <a:pt x="125" y="282"/>
                    <a:pt x="125" y="282"/>
                  </a:cubicBezTo>
                  <a:cubicBezTo>
                    <a:pt x="124" y="283"/>
                    <a:pt x="123" y="284"/>
                    <a:pt x="121" y="285"/>
                  </a:cubicBezTo>
                  <a:cubicBezTo>
                    <a:pt x="121" y="285"/>
                    <a:pt x="121" y="286"/>
                    <a:pt x="121" y="286"/>
                  </a:cubicBezTo>
                  <a:cubicBezTo>
                    <a:pt x="120" y="287"/>
                    <a:pt x="118" y="289"/>
                    <a:pt x="116" y="291"/>
                  </a:cubicBezTo>
                  <a:cubicBezTo>
                    <a:pt x="116" y="290"/>
                    <a:pt x="116" y="290"/>
                    <a:pt x="116" y="290"/>
                  </a:cubicBezTo>
                  <a:cubicBezTo>
                    <a:pt x="116" y="290"/>
                    <a:pt x="116" y="290"/>
                    <a:pt x="117" y="290"/>
                  </a:cubicBezTo>
                  <a:cubicBezTo>
                    <a:pt x="117" y="289"/>
                    <a:pt x="117" y="288"/>
                    <a:pt x="117" y="287"/>
                  </a:cubicBezTo>
                  <a:cubicBezTo>
                    <a:pt x="117" y="287"/>
                    <a:pt x="117" y="287"/>
                    <a:pt x="117" y="287"/>
                  </a:cubicBezTo>
                  <a:cubicBezTo>
                    <a:pt x="117" y="287"/>
                    <a:pt x="117" y="286"/>
                    <a:pt x="117" y="286"/>
                  </a:cubicBezTo>
                  <a:cubicBezTo>
                    <a:pt x="117" y="286"/>
                    <a:pt x="118" y="286"/>
                    <a:pt x="118" y="286"/>
                  </a:cubicBezTo>
                  <a:cubicBezTo>
                    <a:pt x="118" y="285"/>
                    <a:pt x="118" y="285"/>
                    <a:pt x="118" y="284"/>
                  </a:cubicBezTo>
                  <a:cubicBezTo>
                    <a:pt x="118" y="284"/>
                    <a:pt x="118" y="284"/>
                    <a:pt x="118" y="284"/>
                  </a:cubicBezTo>
                  <a:cubicBezTo>
                    <a:pt x="118" y="284"/>
                    <a:pt x="118" y="284"/>
                    <a:pt x="118" y="283"/>
                  </a:cubicBezTo>
                  <a:cubicBezTo>
                    <a:pt x="120" y="278"/>
                    <a:pt x="122" y="268"/>
                    <a:pt x="120" y="262"/>
                  </a:cubicBezTo>
                  <a:cubicBezTo>
                    <a:pt x="119" y="262"/>
                    <a:pt x="118" y="261"/>
                    <a:pt x="118" y="261"/>
                  </a:cubicBezTo>
                  <a:cubicBezTo>
                    <a:pt x="117" y="261"/>
                    <a:pt x="117" y="261"/>
                    <a:pt x="116" y="261"/>
                  </a:cubicBezTo>
                  <a:cubicBezTo>
                    <a:pt x="116" y="261"/>
                    <a:pt x="116" y="260"/>
                    <a:pt x="116" y="260"/>
                  </a:cubicBezTo>
                  <a:cubicBezTo>
                    <a:pt x="114" y="260"/>
                    <a:pt x="110" y="261"/>
                    <a:pt x="109" y="261"/>
                  </a:cubicBezTo>
                  <a:cubicBezTo>
                    <a:pt x="108" y="261"/>
                    <a:pt x="106" y="261"/>
                    <a:pt x="104" y="262"/>
                  </a:cubicBezTo>
                  <a:cubicBezTo>
                    <a:pt x="101" y="263"/>
                    <a:pt x="97" y="264"/>
                    <a:pt x="93" y="266"/>
                  </a:cubicBezTo>
                  <a:cubicBezTo>
                    <a:pt x="93" y="266"/>
                    <a:pt x="93" y="266"/>
                    <a:pt x="93" y="266"/>
                  </a:cubicBezTo>
                  <a:cubicBezTo>
                    <a:pt x="93" y="266"/>
                    <a:pt x="93" y="266"/>
                    <a:pt x="92" y="266"/>
                  </a:cubicBezTo>
                  <a:cubicBezTo>
                    <a:pt x="92" y="266"/>
                    <a:pt x="92" y="266"/>
                    <a:pt x="92" y="266"/>
                  </a:cubicBezTo>
                  <a:cubicBezTo>
                    <a:pt x="92" y="266"/>
                    <a:pt x="92" y="266"/>
                    <a:pt x="91" y="266"/>
                  </a:cubicBezTo>
                  <a:cubicBezTo>
                    <a:pt x="91" y="266"/>
                    <a:pt x="91" y="266"/>
                    <a:pt x="91" y="267"/>
                  </a:cubicBezTo>
                  <a:cubicBezTo>
                    <a:pt x="91" y="267"/>
                    <a:pt x="90" y="267"/>
                    <a:pt x="90" y="267"/>
                  </a:cubicBezTo>
                  <a:cubicBezTo>
                    <a:pt x="90" y="267"/>
                    <a:pt x="90" y="267"/>
                    <a:pt x="90" y="267"/>
                  </a:cubicBezTo>
                  <a:cubicBezTo>
                    <a:pt x="90" y="267"/>
                    <a:pt x="89" y="267"/>
                    <a:pt x="89" y="267"/>
                  </a:cubicBezTo>
                  <a:cubicBezTo>
                    <a:pt x="89" y="267"/>
                    <a:pt x="89" y="268"/>
                    <a:pt x="89" y="268"/>
                  </a:cubicBezTo>
                  <a:cubicBezTo>
                    <a:pt x="88" y="268"/>
                    <a:pt x="88" y="268"/>
                    <a:pt x="88" y="268"/>
                  </a:cubicBezTo>
                  <a:cubicBezTo>
                    <a:pt x="88" y="268"/>
                    <a:pt x="88" y="268"/>
                    <a:pt x="88" y="268"/>
                  </a:cubicBezTo>
                  <a:cubicBezTo>
                    <a:pt x="87" y="268"/>
                    <a:pt x="87" y="269"/>
                    <a:pt x="86" y="269"/>
                  </a:cubicBezTo>
                  <a:cubicBezTo>
                    <a:pt x="86" y="269"/>
                    <a:pt x="86" y="269"/>
                    <a:pt x="86" y="269"/>
                  </a:cubicBezTo>
                  <a:cubicBezTo>
                    <a:pt x="85" y="270"/>
                    <a:pt x="85" y="270"/>
                    <a:pt x="84" y="270"/>
                  </a:cubicBezTo>
                  <a:cubicBezTo>
                    <a:pt x="84" y="270"/>
                    <a:pt x="84" y="270"/>
                    <a:pt x="84" y="270"/>
                  </a:cubicBezTo>
                  <a:cubicBezTo>
                    <a:pt x="84" y="270"/>
                    <a:pt x="84" y="270"/>
                    <a:pt x="83" y="270"/>
                  </a:cubicBezTo>
                  <a:cubicBezTo>
                    <a:pt x="83" y="271"/>
                    <a:pt x="83" y="271"/>
                    <a:pt x="83" y="272"/>
                  </a:cubicBezTo>
                  <a:cubicBezTo>
                    <a:pt x="82" y="272"/>
                    <a:pt x="82" y="272"/>
                    <a:pt x="82" y="272"/>
                  </a:cubicBezTo>
                  <a:cubicBezTo>
                    <a:pt x="82" y="272"/>
                    <a:pt x="81" y="272"/>
                    <a:pt x="81" y="273"/>
                  </a:cubicBezTo>
                  <a:cubicBezTo>
                    <a:pt x="81" y="273"/>
                    <a:pt x="81" y="273"/>
                    <a:pt x="81" y="273"/>
                  </a:cubicBezTo>
                  <a:cubicBezTo>
                    <a:pt x="80" y="273"/>
                    <a:pt x="80" y="273"/>
                    <a:pt x="79" y="274"/>
                  </a:cubicBezTo>
                  <a:cubicBezTo>
                    <a:pt x="79" y="274"/>
                    <a:pt x="79" y="274"/>
                    <a:pt x="79" y="274"/>
                  </a:cubicBezTo>
                  <a:cubicBezTo>
                    <a:pt x="78" y="275"/>
                    <a:pt x="77" y="276"/>
                    <a:pt x="76" y="277"/>
                  </a:cubicBezTo>
                  <a:cubicBezTo>
                    <a:pt x="76" y="277"/>
                    <a:pt x="76" y="277"/>
                    <a:pt x="76" y="277"/>
                  </a:cubicBezTo>
                  <a:cubicBezTo>
                    <a:pt x="75" y="277"/>
                    <a:pt x="75" y="278"/>
                    <a:pt x="74" y="279"/>
                  </a:cubicBezTo>
                  <a:cubicBezTo>
                    <a:pt x="73" y="280"/>
                    <a:pt x="72" y="281"/>
                    <a:pt x="71" y="282"/>
                  </a:cubicBezTo>
                  <a:cubicBezTo>
                    <a:pt x="71" y="282"/>
                    <a:pt x="71" y="282"/>
                    <a:pt x="71" y="282"/>
                  </a:cubicBezTo>
                  <a:cubicBezTo>
                    <a:pt x="70" y="283"/>
                    <a:pt x="69" y="284"/>
                    <a:pt x="68" y="285"/>
                  </a:cubicBezTo>
                  <a:cubicBezTo>
                    <a:pt x="68" y="285"/>
                    <a:pt x="68" y="286"/>
                    <a:pt x="68" y="286"/>
                  </a:cubicBezTo>
                  <a:cubicBezTo>
                    <a:pt x="67" y="286"/>
                    <a:pt x="66" y="287"/>
                    <a:pt x="66" y="288"/>
                  </a:cubicBezTo>
                  <a:cubicBezTo>
                    <a:pt x="66" y="288"/>
                    <a:pt x="66" y="288"/>
                    <a:pt x="66" y="288"/>
                  </a:cubicBezTo>
                  <a:cubicBezTo>
                    <a:pt x="65" y="289"/>
                    <a:pt x="64" y="289"/>
                    <a:pt x="64" y="290"/>
                  </a:cubicBezTo>
                  <a:cubicBezTo>
                    <a:pt x="64" y="290"/>
                    <a:pt x="64" y="290"/>
                    <a:pt x="64" y="290"/>
                  </a:cubicBezTo>
                  <a:cubicBezTo>
                    <a:pt x="63" y="291"/>
                    <a:pt x="63" y="291"/>
                    <a:pt x="62" y="291"/>
                  </a:cubicBezTo>
                  <a:cubicBezTo>
                    <a:pt x="62" y="292"/>
                    <a:pt x="62" y="292"/>
                    <a:pt x="62" y="292"/>
                  </a:cubicBezTo>
                  <a:cubicBezTo>
                    <a:pt x="62" y="292"/>
                    <a:pt x="61" y="293"/>
                    <a:pt x="61" y="293"/>
                  </a:cubicBezTo>
                  <a:cubicBezTo>
                    <a:pt x="61" y="293"/>
                    <a:pt x="61" y="294"/>
                    <a:pt x="61" y="294"/>
                  </a:cubicBezTo>
                  <a:cubicBezTo>
                    <a:pt x="61" y="294"/>
                    <a:pt x="60" y="294"/>
                    <a:pt x="60" y="295"/>
                  </a:cubicBezTo>
                  <a:cubicBezTo>
                    <a:pt x="60" y="295"/>
                    <a:pt x="60" y="295"/>
                    <a:pt x="60" y="295"/>
                  </a:cubicBezTo>
                  <a:cubicBezTo>
                    <a:pt x="60" y="296"/>
                    <a:pt x="59" y="296"/>
                    <a:pt x="59" y="296"/>
                  </a:cubicBezTo>
                  <a:cubicBezTo>
                    <a:pt x="59" y="296"/>
                    <a:pt x="59" y="296"/>
                    <a:pt x="59" y="297"/>
                  </a:cubicBezTo>
                  <a:cubicBezTo>
                    <a:pt x="59" y="297"/>
                    <a:pt x="58" y="297"/>
                    <a:pt x="58" y="297"/>
                  </a:cubicBezTo>
                  <a:cubicBezTo>
                    <a:pt x="58" y="298"/>
                    <a:pt x="58" y="298"/>
                    <a:pt x="58" y="298"/>
                  </a:cubicBezTo>
                  <a:cubicBezTo>
                    <a:pt x="58" y="298"/>
                    <a:pt x="57" y="298"/>
                    <a:pt x="57" y="298"/>
                  </a:cubicBezTo>
                  <a:cubicBezTo>
                    <a:pt x="57" y="299"/>
                    <a:pt x="57" y="299"/>
                    <a:pt x="57" y="299"/>
                  </a:cubicBezTo>
                  <a:cubicBezTo>
                    <a:pt x="57" y="299"/>
                    <a:pt x="57" y="299"/>
                    <a:pt x="56" y="299"/>
                  </a:cubicBezTo>
                  <a:cubicBezTo>
                    <a:pt x="56" y="300"/>
                    <a:pt x="56" y="300"/>
                    <a:pt x="56" y="300"/>
                  </a:cubicBezTo>
                  <a:cubicBezTo>
                    <a:pt x="56" y="300"/>
                    <a:pt x="56" y="301"/>
                    <a:pt x="55" y="301"/>
                  </a:cubicBezTo>
                  <a:cubicBezTo>
                    <a:pt x="55" y="301"/>
                    <a:pt x="55" y="301"/>
                    <a:pt x="55" y="302"/>
                  </a:cubicBezTo>
                  <a:cubicBezTo>
                    <a:pt x="55" y="302"/>
                    <a:pt x="55" y="302"/>
                    <a:pt x="55" y="302"/>
                  </a:cubicBezTo>
                  <a:cubicBezTo>
                    <a:pt x="55" y="302"/>
                    <a:pt x="54" y="303"/>
                    <a:pt x="54" y="303"/>
                  </a:cubicBezTo>
                  <a:cubicBezTo>
                    <a:pt x="54" y="303"/>
                    <a:pt x="54" y="303"/>
                    <a:pt x="54" y="303"/>
                  </a:cubicBezTo>
                  <a:cubicBezTo>
                    <a:pt x="54" y="303"/>
                    <a:pt x="54" y="303"/>
                    <a:pt x="54" y="304"/>
                  </a:cubicBezTo>
                  <a:cubicBezTo>
                    <a:pt x="54" y="304"/>
                    <a:pt x="54" y="304"/>
                    <a:pt x="53" y="304"/>
                  </a:cubicBezTo>
                  <a:cubicBezTo>
                    <a:pt x="53" y="305"/>
                    <a:pt x="53" y="305"/>
                    <a:pt x="53" y="305"/>
                  </a:cubicBezTo>
                  <a:cubicBezTo>
                    <a:pt x="53" y="306"/>
                    <a:pt x="52" y="306"/>
                    <a:pt x="52" y="306"/>
                  </a:cubicBezTo>
                  <a:cubicBezTo>
                    <a:pt x="52" y="306"/>
                    <a:pt x="52" y="306"/>
                    <a:pt x="52" y="306"/>
                  </a:cubicBezTo>
                  <a:cubicBezTo>
                    <a:pt x="52" y="306"/>
                    <a:pt x="52" y="306"/>
                    <a:pt x="52" y="306"/>
                  </a:cubicBezTo>
                  <a:cubicBezTo>
                    <a:pt x="52" y="307"/>
                    <a:pt x="52" y="307"/>
                    <a:pt x="52" y="307"/>
                  </a:cubicBezTo>
                  <a:cubicBezTo>
                    <a:pt x="52" y="307"/>
                    <a:pt x="52" y="307"/>
                    <a:pt x="52" y="307"/>
                  </a:cubicBezTo>
                  <a:cubicBezTo>
                    <a:pt x="52" y="307"/>
                    <a:pt x="52" y="308"/>
                    <a:pt x="52" y="308"/>
                  </a:cubicBezTo>
                  <a:cubicBezTo>
                    <a:pt x="51" y="308"/>
                    <a:pt x="51" y="308"/>
                    <a:pt x="51" y="308"/>
                  </a:cubicBezTo>
                  <a:cubicBezTo>
                    <a:pt x="51" y="308"/>
                    <a:pt x="51" y="308"/>
                    <a:pt x="51" y="309"/>
                  </a:cubicBezTo>
                  <a:cubicBezTo>
                    <a:pt x="51" y="309"/>
                    <a:pt x="51" y="309"/>
                    <a:pt x="51" y="309"/>
                  </a:cubicBezTo>
                  <a:cubicBezTo>
                    <a:pt x="51" y="309"/>
                    <a:pt x="51" y="309"/>
                    <a:pt x="51" y="309"/>
                  </a:cubicBezTo>
                  <a:cubicBezTo>
                    <a:pt x="51" y="309"/>
                    <a:pt x="50" y="310"/>
                    <a:pt x="50" y="310"/>
                  </a:cubicBezTo>
                  <a:cubicBezTo>
                    <a:pt x="50" y="310"/>
                    <a:pt x="50" y="311"/>
                    <a:pt x="50" y="311"/>
                  </a:cubicBezTo>
                  <a:cubicBezTo>
                    <a:pt x="50" y="311"/>
                    <a:pt x="50" y="311"/>
                    <a:pt x="49" y="311"/>
                  </a:cubicBezTo>
                  <a:cubicBezTo>
                    <a:pt x="49" y="312"/>
                    <a:pt x="49" y="312"/>
                    <a:pt x="49" y="312"/>
                  </a:cubicBezTo>
                  <a:cubicBezTo>
                    <a:pt x="49" y="312"/>
                    <a:pt x="49" y="312"/>
                    <a:pt x="49" y="312"/>
                  </a:cubicBezTo>
                  <a:cubicBezTo>
                    <a:pt x="49" y="312"/>
                    <a:pt x="49" y="313"/>
                    <a:pt x="49" y="313"/>
                  </a:cubicBezTo>
                  <a:cubicBezTo>
                    <a:pt x="49" y="313"/>
                    <a:pt x="49" y="313"/>
                    <a:pt x="49" y="313"/>
                  </a:cubicBezTo>
                  <a:cubicBezTo>
                    <a:pt x="48" y="313"/>
                    <a:pt x="48" y="314"/>
                    <a:pt x="48" y="315"/>
                  </a:cubicBezTo>
                  <a:cubicBezTo>
                    <a:pt x="48" y="315"/>
                    <a:pt x="48" y="315"/>
                    <a:pt x="48" y="315"/>
                  </a:cubicBezTo>
                  <a:cubicBezTo>
                    <a:pt x="48" y="315"/>
                    <a:pt x="48" y="316"/>
                    <a:pt x="48" y="316"/>
                  </a:cubicBezTo>
                  <a:cubicBezTo>
                    <a:pt x="48" y="316"/>
                    <a:pt x="47" y="316"/>
                    <a:pt x="47" y="316"/>
                  </a:cubicBezTo>
                  <a:cubicBezTo>
                    <a:pt x="47" y="316"/>
                    <a:pt x="47" y="317"/>
                    <a:pt x="47" y="317"/>
                  </a:cubicBezTo>
                  <a:cubicBezTo>
                    <a:pt x="47" y="317"/>
                    <a:pt x="47" y="317"/>
                    <a:pt x="47" y="317"/>
                  </a:cubicBezTo>
                  <a:cubicBezTo>
                    <a:pt x="47" y="318"/>
                    <a:pt x="47" y="318"/>
                    <a:pt x="47" y="318"/>
                  </a:cubicBezTo>
                  <a:cubicBezTo>
                    <a:pt x="47" y="318"/>
                    <a:pt x="46" y="318"/>
                    <a:pt x="46" y="318"/>
                  </a:cubicBezTo>
                  <a:cubicBezTo>
                    <a:pt x="46" y="319"/>
                    <a:pt x="46" y="319"/>
                    <a:pt x="46" y="319"/>
                  </a:cubicBezTo>
                  <a:cubicBezTo>
                    <a:pt x="46" y="319"/>
                    <a:pt x="46" y="319"/>
                    <a:pt x="46" y="319"/>
                  </a:cubicBezTo>
                  <a:cubicBezTo>
                    <a:pt x="46" y="319"/>
                    <a:pt x="46" y="320"/>
                    <a:pt x="46" y="320"/>
                  </a:cubicBezTo>
                  <a:cubicBezTo>
                    <a:pt x="46" y="320"/>
                    <a:pt x="46" y="320"/>
                    <a:pt x="46" y="320"/>
                  </a:cubicBezTo>
                  <a:cubicBezTo>
                    <a:pt x="46" y="320"/>
                    <a:pt x="46" y="321"/>
                    <a:pt x="46" y="321"/>
                  </a:cubicBezTo>
                  <a:cubicBezTo>
                    <a:pt x="45" y="321"/>
                    <a:pt x="45" y="321"/>
                    <a:pt x="45" y="321"/>
                  </a:cubicBezTo>
                  <a:cubicBezTo>
                    <a:pt x="45" y="321"/>
                    <a:pt x="45" y="322"/>
                    <a:pt x="45" y="322"/>
                  </a:cubicBezTo>
                  <a:cubicBezTo>
                    <a:pt x="45" y="322"/>
                    <a:pt x="45" y="322"/>
                    <a:pt x="45" y="322"/>
                  </a:cubicBezTo>
                  <a:cubicBezTo>
                    <a:pt x="45" y="322"/>
                    <a:pt x="45" y="322"/>
                    <a:pt x="45" y="323"/>
                  </a:cubicBezTo>
                  <a:cubicBezTo>
                    <a:pt x="45" y="323"/>
                    <a:pt x="45" y="323"/>
                    <a:pt x="45" y="323"/>
                  </a:cubicBezTo>
                  <a:cubicBezTo>
                    <a:pt x="44" y="323"/>
                    <a:pt x="44" y="324"/>
                    <a:pt x="44" y="325"/>
                  </a:cubicBezTo>
                  <a:cubicBezTo>
                    <a:pt x="42" y="330"/>
                    <a:pt x="40" y="337"/>
                    <a:pt x="38" y="343"/>
                  </a:cubicBezTo>
                  <a:cubicBezTo>
                    <a:pt x="37" y="346"/>
                    <a:pt x="36" y="350"/>
                    <a:pt x="34" y="351"/>
                  </a:cubicBezTo>
                  <a:cubicBezTo>
                    <a:pt x="34" y="351"/>
                    <a:pt x="34" y="351"/>
                    <a:pt x="34" y="351"/>
                  </a:cubicBezTo>
                  <a:cubicBezTo>
                    <a:pt x="33" y="351"/>
                    <a:pt x="33" y="351"/>
                    <a:pt x="32" y="351"/>
                  </a:cubicBezTo>
                  <a:cubicBezTo>
                    <a:pt x="32" y="351"/>
                    <a:pt x="32" y="351"/>
                    <a:pt x="32" y="352"/>
                  </a:cubicBezTo>
                  <a:cubicBezTo>
                    <a:pt x="32" y="352"/>
                    <a:pt x="31" y="352"/>
                    <a:pt x="30" y="352"/>
                  </a:cubicBezTo>
                  <a:cubicBezTo>
                    <a:pt x="30" y="352"/>
                    <a:pt x="30" y="352"/>
                    <a:pt x="30" y="352"/>
                  </a:cubicBezTo>
                  <a:cubicBezTo>
                    <a:pt x="29" y="352"/>
                    <a:pt x="27" y="352"/>
                    <a:pt x="26" y="352"/>
                  </a:cubicBezTo>
                  <a:cubicBezTo>
                    <a:pt x="26" y="352"/>
                    <a:pt x="26" y="352"/>
                    <a:pt x="26" y="352"/>
                  </a:cubicBezTo>
                  <a:cubicBezTo>
                    <a:pt x="24" y="352"/>
                    <a:pt x="22" y="352"/>
                    <a:pt x="20" y="352"/>
                  </a:cubicBezTo>
                  <a:cubicBezTo>
                    <a:pt x="15" y="352"/>
                    <a:pt x="10" y="352"/>
                    <a:pt x="5" y="352"/>
                  </a:cubicBezTo>
                  <a:cubicBezTo>
                    <a:pt x="5" y="351"/>
                    <a:pt x="5" y="351"/>
                    <a:pt x="5" y="351"/>
                  </a:cubicBezTo>
                  <a:cubicBezTo>
                    <a:pt x="5" y="351"/>
                    <a:pt x="6" y="351"/>
                    <a:pt x="6" y="351"/>
                  </a:cubicBezTo>
                  <a:cubicBezTo>
                    <a:pt x="6" y="348"/>
                    <a:pt x="6" y="346"/>
                    <a:pt x="6" y="344"/>
                  </a:cubicBezTo>
                  <a:cubicBezTo>
                    <a:pt x="6" y="344"/>
                    <a:pt x="6" y="344"/>
                    <a:pt x="6" y="344"/>
                  </a:cubicBezTo>
                  <a:cubicBezTo>
                    <a:pt x="6" y="340"/>
                    <a:pt x="6" y="335"/>
                    <a:pt x="6" y="331"/>
                  </a:cubicBezTo>
                  <a:cubicBezTo>
                    <a:pt x="6" y="328"/>
                    <a:pt x="6" y="324"/>
                    <a:pt x="6" y="321"/>
                  </a:cubicBezTo>
                  <a:cubicBezTo>
                    <a:pt x="6" y="319"/>
                    <a:pt x="6" y="317"/>
                    <a:pt x="6" y="316"/>
                  </a:cubicBezTo>
                  <a:cubicBezTo>
                    <a:pt x="6" y="316"/>
                    <a:pt x="5" y="316"/>
                    <a:pt x="5" y="316"/>
                  </a:cubicBezTo>
                  <a:cubicBezTo>
                    <a:pt x="5" y="314"/>
                    <a:pt x="5" y="313"/>
                    <a:pt x="5" y="312"/>
                  </a:cubicBezTo>
                  <a:cubicBezTo>
                    <a:pt x="5" y="312"/>
                    <a:pt x="5" y="312"/>
                    <a:pt x="5" y="312"/>
                  </a:cubicBezTo>
                  <a:cubicBezTo>
                    <a:pt x="5" y="311"/>
                    <a:pt x="5" y="310"/>
                    <a:pt x="5" y="309"/>
                  </a:cubicBezTo>
                  <a:cubicBezTo>
                    <a:pt x="5" y="309"/>
                    <a:pt x="5" y="309"/>
                    <a:pt x="5" y="309"/>
                  </a:cubicBezTo>
                  <a:cubicBezTo>
                    <a:pt x="5" y="308"/>
                    <a:pt x="5" y="307"/>
                    <a:pt x="5" y="306"/>
                  </a:cubicBezTo>
                  <a:cubicBezTo>
                    <a:pt x="5" y="306"/>
                    <a:pt x="4" y="306"/>
                    <a:pt x="4" y="306"/>
                  </a:cubicBezTo>
                  <a:cubicBezTo>
                    <a:pt x="4" y="306"/>
                    <a:pt x="4" y="305"/>
                    <a:pt x="4" y="304"/>
                  </a:cubicBezTo>
                  <a:cubicBezTo>
                    <a:pt x="4" y="304"/>
                    <a:pt x="4" y="304"/>
                    <a:pt x="4" y="304"/>
                  </a:cubicBezTo>
                  <a:cubicBezTo>
                    <a:pt x="4" y="303"/>
                    <a:pt x="4" y="303"/>
                    <a:pt x="4" y="302"/>
                  </a:cubicBezTo>
                  <a:cubicBezTo>
                    <a:pt x="4" y="302"/>
                    <a:pt x="4" y="302"/>
                    <a:pt x="4" y="302"/>
                  </a:cubicBezTo>
                  <a:cubicBezTo>
                    <a:pt x="4" y="301"/>
                    <a:pt x="4" y="301"/>
                    <a:pt x="4" y="300"/>
                  </a:cubicBezTo>
                  <a:cubicBezTo>
                    <a:pt x="3" y="300"/>
                    <a:pt x="3" y="300"/>
                    <a:pt x="3" y="300"/>
                  </a:cubicBezTo>
                  <a:cubicBezTo>
                    <a:pt x="3" y="299"/>
                    <a:pt x="3" y="299"/>
                    <a:pt x="3" y="298"/>
                  </a:cubicBezTo>
                  <a:cubicBezTo>
                    <a:pt x="3" y="296"/>
                    <a:pt x="2" y="294"/>
                    <a:pt x="2" y="292"/>
                  </a:cubicBezTo>
                  <a:cubicBezTo>
                    <a:pt x="2" y="291"/>
                    <a:pt x="2" y="291"/>
                    <a:pt x="2" y="290"/>
                  </a:cubicBezTo>
                  <a:cubicBezTo>
                    <a:pt x="0" y="285"/>
                    <a:pt x="1" y="275"/>
                    <a:pt x="5" y="274"/>
                  </a:cubicBezTo>
                  <a:cubicBezTo>
                    <a:pt x="5" y="273"/>
                    <a:pt x="5" y="273"/>
                    <a:pt x="5" y="273"/>
                  </a:cubicBezTo>
                  <a:cubicBezTo>
                    <a:pt x="5" y="273"/>
                    <a:pt x="6" y="273"/>
                    <a:pt x="6" y="273"/>
                  </a:cubicBezTo>
                  <a:cubicBezTo>
                    <a:pt x="7" y="274"/>
                    <a:pt x="8" y="274"/>
                    <a:pt x="9" y="275"/>
                  </a:cubicBezTo>
                  <a:cubicBezTo>
                    <a:pt x="9" y="275"/>
                    <a:pt x="9" y="275"/>
                    <a:pt x="9" y="275"/>
                  </a:cubicBezTo>
                  <a:cubicBezTo>
                    <a:pt x="9" y="275"/>
                    <a:pt x="9" y="275"/>
                    <a:pt x="10" y="275"/>
                  </a:cubicBezTo>
                  <a:cubicBezTo>
                    <a:pt x="10" y="276"/>
                    <a:pt x="10" y="276"/>
                    <a:pt x="10" y="276"/>
                  </a:cubicBezTo>
                  <a:cubicBezTo>
                    <a:pt x="10" y="276"/>
                    <a:pt x="11" y="276"/>
                    <a:pt x="11" y="276"/>
                  </a:cubicBezTo>
                  <a:cubicBezTo>
                    <a:pt x="11" y="277"/>
                    <a:pt x="11" y="277"/>
                    <a:pt x="11" y="277"/>
                  </a:cubicBezTo>
                  <a:cubicBezTo>
                    <a:pt x="12" y="277"/>
                    <a:pt x="12" y="277"/>
                    <a:pt x="12" y="277"/>
                  </a:cubicBezTo>
                  <a:cubicBezTo>
                    <a:pt x="12" y="278"/>
                    <a:pt x="12" y="278"/>
                    <a:pt x="12" y="278"/>
                  </a:cubicBezTo>
                  <a:cubicBezTo>
                    <a:pt x="13" y="278"/>
                    <a:pt x="13" y="278"/>
                    <a:pt x="13" y="278"/>
                  </a:cubicBezTo>
                  <a:cubicBezTo>
                    <a:pt x="13" y="278"/>
                    <a:pt x="13" y="278"/>
                    <a:pt x="13" y="279"/>
                  </a:cubicBezTo>
                  <a:cubicBezTo>
                    <a:pt x="14" y="279"/>
                    <a:pt x="14" y="279"/>
                    <a:pt x="15" y="279"/>
                  </a:cubicBezTo>
                  <a:cubicBezTo>
                    <a:pt x="15" y="279"/>
                    <a:pt x="15" y="279"/>
                    <a:pt x="15" y="279"/>
                  </a:cubicBezTo>
                  <a:cubicBezTo>
                    <a:pt x="15" y="279"/>
                    <a:pt x="15" y="279"/>
                    <a:pt x="15" y="279"/>
                  </a:cubicBezTo>
                  <a:cubicBezTo>
                    <a:pt x="15" y="279"/>
                    <a:pt x="15" y="279"/>
                    <a:pt x="15" y="280"/>
                  </a:cubicBezTo>
                  <a:cubicBezTo>
                    <a:pt x="16" y="280"/>
                    <a:pt x="17" y="280"/>
                    <a:pt x="18" y="280"/>
                  </a:cubicBezTo>
                  <a:cubicBezTo>
                    <a:pt x="18" y="280"/>
                    <a:pt x="18" y="280"/>
                    <a:pt x="18" y="281"/>
                  </a:cubicBezTo>
                  <a:cubicBezTo>
                    <a:pt x="19" y="281"/>
                    <a:pt x="20" y="281"/>
                    <a:pt x="21" y="281"/>
                  </a:cubicBezTo>
                  <a:cubicBezTo>
                    <a:pt x="21" y="281"/>
                    <a:pt x="21" y="282"/>
                    <a:pt x="21" y="282"/>
                  </a:cubicBezTo>
                  <a:cubicBezTo>
                    <a:pt x="22" y="282"/>
                    <a:pt x="23" y="282"/>
                    <a:pt x="24" y="282"/>
                  </a:cubicBezTo>
                  <a:cubicBezTo>
                    <a:pt x="24" y="282"/>
                    <a:pt x="24" y="282"/>
                    <a:pt x="24" y="282"/>
                  </a:cubicBezTo>
                  <a:cubicBezTo>
                    <a:pt x="25" y="283"/>
                    <a:pt x="30" y="283"/>
                    <a:pt x="31" y="282"/>
                  </a:cubicBezTo>
                  <a:cubicBezTo>
                    <a:pt x="31" y="282"/>
                    <a:pt x="31" y="282"/>
                    <a:pt x="31" y="282"/>
                  </a:cubicBezTo>
                  <a:cubicBezTo>
                    <a:pt x="31" y="282"/>
                    <a:pt x="32" y="282"/>
                    <a:pt x="33" y="282"/>
                  </a:cubicBezTo>
                  <a:cubicBezTo>
                    <a:pt x="33" y="282"/>
                    <a:pt x="33" y="281"/>
                    <a:pt x="33" y="281"/>
                  </a:cubicBezTo>
                  <a:cubicBezTo>
                    <a:pt x="33" y="281"/>
                    <a:pt x="34" y="281"/>
                    <a:pt x="34" y="281"/>
                  </a:cubicBezTo>
                  <a:cubicBezTo>
                    <a:pt x="34" y="281"/>
                    <a:pt x="34" y="281"/>
                    <a:pt x="34" y="281"/>
                  </a:cubicBezTo>
                  <a:cubicBezTo>
                    <a:pt x="34" y="281"/>
                    <a:pt x="34" y="281"/>
                    <a:pt x="35" y="281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37" y="279"/>
                    <a:pt x="37" y="279"/>
                    <a:pt x="37" y="279"/>
                  </a:cubicBezTo>
                  <a:cubicBezTo>
                    <a:pt x="37" y="279"/>
                    <a:pt x="38" y="279"/>
                    <a:pt x="38" y="279"/>
                  </a:cubicBezTo>
                  <a:cubicBezTo>
                    <a:pt x="38" y="278"/>
                    <a:pt x="38" y="278"/>
                    <a:pt x="38" y="278"/>
                  </a:cubicBezTo>
                  <a:cubicBezTo>
                    <a:pt x="38" y="278"/>
                    <a:pt x="39" y="278"/>
                    <a:pt x="39" y="278"/>
                  </a:cubicBezTo>
                  <a:cubicBezTo>
                    <a:pt x="39" y="277"/>
                    <a:pt x="40" y="277"/>
                    <a:pt x="40" y="276"/>
                  </a:cubicBezTo>
                  <a:cubicBezTo>
                    <a:pt x="41" y="276"/>
                    <a:pt x="41" y="276"/>
                    <a:pt x="41" y="276"/>
                  </a:cubicBezTo>
                  <a:cubicBezTo>
                    <a:pt x="41" y="275"/>
                    <a:pt x="42" y="275"/>
                    <a:pt x="42" y="274"/>
                  </a:cubicBezTo>
                  <a:cubicBezTo>
                    <a:pt x="44" y="273"/>
                    <a:pt x="45" y="272"/>
                    <a:pt x="46" y="271"/>
                  </a:cubicBezTo>
                  <a:cubicBezTo>
                    <a:pt x="46" y="270"/>
                    <a:pt x="47" y="270"/>
                    <a:pt x="47" y="270"/>
                  </a:cubicBezTo>
                  <a:cubicBezTo>
                    <a:pt x="47" y="269"/>
                    <a:pt x="48" y="269"/>
                    <a:pt x="49" y="268"/>
                  </a:cubicBezTo>
                  <a:cubicBezTo>
                    <a:pt x="49" y="268"/>
                    <a:pt x="49" y="268"/>
                    <a:pt x="49" y="267"/>
                  </a:cubicBezTo>
                  <a:cubicBezTo>
                    <a:pt x="49" y="267"/>
                    <a:pt x="50" y="266"/>
                    <a:pt x="50" y="266"/>
                  </a:cubicBezTo>
                  <a:cubicBezTo>
                    <a:pt x="50" y="266"/>
                    <a:pt x="50" y="265"/>
                    <a:pt x="50" y="265"/>
                  </a:cubicBezTo>
                  <a:cubicBezTo>
                    <a:pt x="51" y="265"/>
                    <a:pt x="51" y="265"/>
                    <a:pt x="52" y="264"/>
                  </a:cubicBezTo>
                  <a:cubicBezTo>
                    <a:pt x="52" y="264"/>
                    <a:pt x="52" y="264"/>
                    <a:pt x="52" y="263"/>
                  </a:cubicBezTo>
                  <a:cubicBezTo>
                    <a:pt x="52" y="263"/>
                    <a:pt x="53" y="263"/>
                    <a:pt x="53" y="263"/>
                  </a:cubicBezTo>
                  <a:cubicBezTo>
                    <a:pt x="53" y="263"/>
                    <a:pt x="53" y="262"/>
                    <a:pt x="53" y="262"/>
                  </a:cubicBezTo>
                  <a:cubicBezTo>
                    <a:pt x="53" y="262"/>
                    <a:pt x="54" y="262"/>
                    <a:pt x="54" y="261"/>
                  </a:cubicBezTo>
                  <a:cubicBezTo>
                    <a:pt x="54" y="261"/>
                    <a:pt x="54" y="261"/>
                    <a:pt x="54" y="261"/>
                  </a:cubicBezTo>
                  <a:cubicBezTo>
                    <a:pt x="54" y="260"/>
                    <a:pt x="55" y="260"/>
                    <a:pt x="55" y="260"/>
                  </a:cubicBezTo>
                  <a:cubicBezTo>
                    <a:pt x="55" y="260"/>
                    <a:pt x="55" y="260"/>
                    <a:pt x="55" y="259"/>
                  </a:cubicBezTo>
                  <a:cubicBezTo>
                    <a:pt x="55" y="259"/>
                    <a:pt x="55" y="259"/>
                    <a:pt x="56" y="259"/>
                  </a:cubicBezTo>
                  <a:cubicBezTo>
                    <a:pt x="56" y="259"/>
                    <a:pt x="56" y="258"/>
                    <a:pt x="56" y="258"/>
                  </a:cubicBezTo>
                  <a:cubicBezTo>
                    <a:pt x="56" y="258"/>
                    <a:pt x="56" y="258"/>
                    <a:pt x="57" y="258"/>
                  </a:cubicBezTo>
                  <a:cubicBezTo>
                    <a:pt x="57" y="257"/>
                    <a:pt x="57" y="257"/>
                    <a:pt x="57" y="257"/>
                  </a:cubicBezTo>
                  <a:cubicBezTo>
                    <a:pt x="57" y="257"/>
                    <a:pt x="57" y="257"/>
                    <a:pt x="57" y="256"/>
                  </a:cubicBezTo>
                  <a:cubicBezTo>
                    <a:pt x="58" y="256"/>
                    <a:pt x="58" y="256"/>
                    <a:pt x="58" y="255"/>
                  </a:cubicBezTo>
                  <a:cubicBezTo>
                    <a:pt x="58" y="255"/>
                    <a:pt x="58" y="255"/>
                    <a:pt x="58" y="255"/>
                  </a:cubicBezTo>
                  <a:cubicBezTo>
                    <a:pt x="58" y="255"/>
                    <a:pt x="58" y="255"/>
                    <a:pt x="58" y="255"/>
                  </a:cubicBezTo>
                  <a:cubicBezTo>
                    <a:pt x="58" y="255"/>
                    <a:pt x="59" y="254"/>
                    <a:pt x="59" y="254"/>
                  </a:cubicBezTo>
                  <a:cubicBezTo>
                    <a:pt x="59" y="254"/>
                    <a:pt x="59" y="254"/>
                    <a:pt x="59" y="254"/>
                  </a:cubicBezTo>
                  <a:cubicBezTo>
                    <a:pt x="59" y="254"/>
                    <a:pt x="59" y="253"/>
                    <a:pt x="60" y="253"/>
                  </a:cubicBezTo>
                  <a:cubicBezTo>
                    <a:pt x="60" y="253"/>
                    <a:pt x="60" y="253"/>
                    <a:pt x="60" y="253"/>
                  </a:cubicBezTo>
                  <a:cubicBezTo>
                    <a:pt x="60" y="253"/>
                    <a:pt x="60" y="252"/>
                    <a:pt x="60" y="252"/>
                  </a:cubicBezTo>
                  <a:cubicBezTo>
                    <a:pt x="60" y="252"/>
                    <a:pt x="60" y="252"/>
                    <a:pt x="60" y="252"/>
                  </a:cubicBezTo>
                  <a:cubicBezTo>
                    <a:pt x="60" y="251"/>
                    <a:pt x="61" y="251"/>
                    <a:pt x="61" y="251"/>
                  </a:cubicBezTo>
                  <a:cubicBezTo>
                    <a:pt x="61" y="251"/>
                    <a:pt x="61" y="251"/>
                    <a:pt x="61" y="251"/>
                  </a:cubicBezTo>
                  <a:cubicBezTo>
                    <a:pt x="61" y="250"/>
                    <a:pt x="61" y="250"/>
                    <a:pt x="62" y="250"/>
                  </a:cubicBezTo>
                  <a:cubicBezTo>
                    <a:pt x="62" y="250"/>
                    <a:pt x="62" y="250"/>
                    <a:pt x="62" y="249"/>
                  </a:cubicBezTo>
                  <a:cubicBezTo>
                    <a:pt x="62" y="249"/>
                    <a:pt x="62" y="249"/>
                    <a:pt x="62" y="249"/>
                  </a:cubicBezTo>
                  <a:cubicBezTo>
                    <a:pt x="62" y="249"/>
                    <a:pt x="63" y="248"/>
                    <a:pt x="63" y="248"/>
                  </a:cubicBezTo>
                  <a:cubicBezTo>
                    <a:pt x="63" y="248"/>
                    <a:pt x="63" y="247"/>
                    <a:pt x="63" y="247"/>
                  </a:cubicBezTo>
                  <a:cubicBezTo>
                    <a:pt x="63" y="247"/>
                    <a:pt x="63" y="247"/>
                    <a:pt x="63" y="247"/>
                  </a:cubicBezTo>
                  <a:cubicBezTo>
                    <a:pt x="64" y="247"/>
                    <a:pt x="64" y="246"/>
                    <a:pt x="64" y="246"/>
                  </a:cubicBezTo>
                  <a:cubicBezTo>
                    <a:pt x="64" y="246"/>
                    <a:pt x="64" y="245"/>
                    <a:pt x="64" y="245"/>
                  </a:cubicBezTo>
                  <a:cubicBezTo>
                    <a:pt x="65" y="245"/>
                    <a:pt x="65" y="245"/>
                    <a:pt x="65" y="245"/>
                  </a:cubicBezTo>
                  <a:cubicBezTo>
                    <a:pt x="65" y="244"/>
                    <a:pt x="65" y="244"/>
                    <a:pt x="66" y="243"/>
                  </a:cubicBezTo>
                  <a:cubicBezTo>
                    <a:pt x="66" y="243"/>
                    <a:pt x="66" y="243"/>
                    <a:pt x="66" y="243"/>
                  </a:cubicBezTo>
                  <a:cubicBezTo>
                    <a:pt x="66" y="242"/>
                    <a:pt x="66" y="242"/>
                    <a:pt x="67" y="241"/>
                  </a:cubicBezTo>
                  <a:cubicBezTo>
                    <a:pt x="67" y="241"/>
                    <a:pt x="67" y="241"/>
                    <a:pt x="67" y="241"/>
                  </a:cubicBezTo>
                  <a:cubicBezTo>
                    <a:pt x="67" y="241"/>
                    <a:pt x="67" y="240"/>
                    <a:pt x="68" y="240"/>
                  </a:cubicBezTo>
                  <a:cubicBezTo>
                    <a:pt x="68" y="240"/>
                    <a:pt x="68" y="239"/>
                    <a:pt x="68" y="239"/>
                  </a:cubicBezTo>
                  <a:cubicBezTo>
                    <a:pt x="69" y="239"/>
                    <a:pt x="69" y="238"/>
                    <a:pt x="69" y="237"/>
                  </a:cubicBezTo>
                  <a:cubicBezTo>
                    <a:pt x="69" y="237"/>
                    <a:pt x="69" y="237"/>
                    <a:pt x="70" y="237"/>
                  </a:cubicBezTo>
                  <a:cubicBezTo>
                    <a:pt x="70" y="237"/>
                    <a:pt x="70" y="236"/>
                    <a:pt x="70" y="236"/>
                  </a:cubicBezTo>
                  <a:cubicBezTo>
                    <a:pt x="70" y="236"/>
                    <a:pt x="70" y="236"/>
                    <a:pt x="70" y="236"/>
                  </a:cubicBezTo>
                  <a:cubicBezTo>
                    <a:pt x="70" y="236"/>
                    <a:pt x="70" y="236"/>
                    <a:pt x="70" y="235"/>
                  </a:cubicBezTo>
                  <a:cubicBezTo>
                    <a:pt x="70" y="235"/>
                    <a:pt x="70" y="235"/>
                    <a:pt x="70" y="235"/>
                  </a:cubicBezTo>
                  <a:cubicBezTo>
                    <a:pt x="70" y="235"/>
                    <a:pt x="70" y="235"/>
                    <a:pt x="70" y="235"/>
                  </a:cubicBezTo>
                  <a:cubicBezTo>
                    <a:pt x="71" y="235"/>
                    <a:pt x="71" y="235"/>
                    <a:pt x="71" y="235"/>
                  </a:cubicBezTo>
                  <a:cubicBezTo>
                    <a:pt x="71" y="235"/>
                    <a:pt x="71" y="234"/>
                    <a:pt x="71" y="234"/>
                  </a:cubicBezTo>
                  <a:cubicBezTo>
                    <a:pt x="71" y="234"/>
                    <a:pt x="71" y="234"/>
                    <a:pt x="71" y="234"/>
                  </a:cubicBezTo>
                  <a:cubicBezTo>
                    <a:pt x="71" y="234"/>
                    <a:pt x="71" y="234"/>
                    <a:pt x="71" y="233"/>
                  </a:cubicBezTo>
                  <a:cubicBezTo>
                    <a:pt x="71" y="233"/>
                    <a:pt x="72" y="233"/>
                    <a:pt x="72" y="233"/>
                  </a:cubicBezTo>
                  <a:cubicBezTo>
                    <a:pt x="72" y="233"/>
                    <a:pt x="72" y="233"/>
                    <a:pt x="72" y="232"/>
                  </a:cubicBezTo>
                  <a:cubicBezTo>
                    <a:pt x="72" y="232"/>
                    <a:pt x="72" y="232"/>
                    <a:pt x="72" y="232"/>
                  </a:cubicBezTo>
                  <a:cubicBezTo>
                    <a:pt x="72" y="232"/>
                    <a:pt x="72" y="232"/>
                    <a:pt x="72" y="232"/>
                  </a:cubicBezTo>
                  <a:cubicBezTo>
                    <a:pt x="72" y="232"/>
                    <a:pt x="72" y="232"/>
                    <a:pt x="73" y="232"/>
                  </a:cubicBezTo>
                  <a:cubicBezTo>
                    <a:pt x="73" y="231"/>
                    <a:pt x="73" y="231"/>
                    <a:pt x="73" y="231"/>
                  </a:cubicBezTo>
                  <a:cubicBezTo>
                    <a:pt x="73" y="231"/>
                    <a:pt x="73" y="231"/>
                    <a:pt x="73" y="231"/>
                  </a:cubicBezTo>
                  <a:cubicBezTo>
                    <a:pt x="73" y="231"/>
                    <a:pt x="73" y="230"/>
                    <a:pt x="73" y="230"/>
                  </a:cubicBezTo>
                  <a:cubicBezTo>
                    <a:pt x="73" y="230"/>
                    <a:pt x="73" y="230"/>
                    <a:pt x="73" y="230"/>
                  </a:cubicBezTo>
                  <a:cubicBezTo>
                    <a:pt x="73" y="230"/>
                    <a:pt x="73" y="230"/>
                    <a:pt x="73" y="230"/>
                  </a:cubicBezTo>
                  <a:cubicBezTo>
                    <a:pt x="73" y="230"/>
                    <a:pt x="73" y="230"/>
                    <a:pt x="74" y="230"/>
                  </a:cubicBezTo>
                  <a:cubicBezTo>
                    <a:pt x="74" y="229"/>
                    <a:pt x="74" y="229"/>
                    <a:pt x="74" y="229"/>
                  </a:cubicBezTo>
                  <a:cubicBezTo>
                    <a:pt x="74" y="229"/>
                    <a:pt x="74" y="229"/>
                    <a:pt x="74" y="229"/>
                  </a:cubicBezTo>
                  <a:cubicBezTo>
                    <a:pt x="74" y="229"/>
                    <a:pt x="74" y="228"/>
                    <a:pt x="74" y="228"/>
                  </a:cubicBezTo>
                  <a:cubicBezTo>
                    <a:pt x="74" y="228"/>
                    <a:pt x="74" y="228"/>
                    <a:pt x="75" y="228"/>
                  </a:cubicBezTo>
                  <a:cubicBezTo>
                    <a:pt x="75" y="228"/>
                    <a:pt x="75" y="227"/>
                    <a:pt x="75" y="227"/>
                  </a:cubicBezTo>
                  <a:cubicBezTo>
                    <a:pt x="75" y="227"/>
                    <a:pt x="75" y="227"/>
                    <a:pt x="75" y="227"/>
                  </a:cubicBezTo>
                  <a:cubicBezTo>
                    <a:pt x="75" y="227"/>
                    <a:pt x="75" y="227"/>
                    <a:pt x="75" y="226"/>
                  </a:cubicBezTo>
                  <a:cubicBezTo>
                    <a:pt x="75" y="226"/>
                    <a:pt x="75" y="226"/>
                    <a:pt x="75" y="226"/>
                  </a:cubicBezTo>
                  <a:cubicBezTo>
                    <a:pt x="75" y="226"/>
                    <a:pt x="75" y="226"/>
                    <a:pt x="75" y="226"/>
                  </a:cubicBezTo>
                  <a:cubicBezTo>
                    <a:pt x="75" y="226"/>
                    <a:pt x="76" y="226"/>
                    <a:pt x="76" y="226"/>
                  </a:cubicBezTo>
                  <a:cubicBezTo>
                    <a:pt x="76" y="225"/>
                    <a:pt x="76" y="225"/>
                    <a:pt x="76" y="225"/>
                  </a:cubicBezTo>
                  <a:cubicBezTo>
                    <a:pt x="76" y="225"/>
                    <a:pt x="76" y="225"/>
                    <a:pt x="76" y="225"/>
                  </a:cubicBezTo>
                  <a:cubicBezTo>
                    <a:pt x="76" y="225"/>
                    <a:pt x="76" y="225"/>
                    <a:pt x="76" y="224"/>
                  </a:cubicBezTo>
                  <a:cubicBezTo>
                    <a:pt x="76" y="224"/>
                    <a:pt x="76" y="224"/>
                    <a:pt x="76" y="224"/>
                  </a:cubicBezTo>
                  <a:cubicBezTo>
                    <a:pt x="76" y="224"/>
                    <a:pt x="76" y="224"/>
                    <a:pt x="76" y="224"/>
                  </a:cubicBezTo>
                  <a:cubicBezTo>
                    <a:pt x="76" y="224"/>
                    <a:pt x="77" y="224"/>
                    <a:pt x="77" y="224"/>
                  </a:cubicBezTo>
                  <a:cubicBezTo>
                    <a:pt x="77" y="223"/>
                    <a:pt x="77" y="223"/>
                    <a:pt x="77" y="223"/>
                  </a:cubicBezTo>
                  <a:cubicBezTo>
                    <a:pt x="77" y="223"/>
                    <a:pt x="77" y="223"/>
                    <a:pt x="77" y="223"/>
                  </a:cubicBezTo>
                  <a:cubicBezTo>
                    <a:pt x="77" y="223"/>
                    <a:pt x="77" y="222"/>
                    <a:pt x="77" y="222"/>
                  </a:cubicBezTo>
                  <a:cubicBezTo>
                    <a:pt x="77" y="222"/>
                    <a:pt x="77" y="222"/>
                    <a:pt x="77" y="222"/>
                  </a:cubicBezTo>
                  <a:cubicBezTo>
                    <a:pt x="78" y="221"/>
                    <a:pt x="78" y="221"/>
                    <a:pt x="78" y="220"/>
                  </a:cubicBezTo>
                  <a:cubicBezTo>
                    <a:pt x="78" y="220"/>
                    <a:pt x="78" y="220"/>
                    <a:pt x="78" y="220"/>
                  </a:cubicBezTo>
                  <a:cubicBezTo>
                    <a:pt x="78" y="220"/>
                    <a:pt x="78" y="219"/>
                    <a:pt x="78" y="219"/>
                  </a:cubicBezTo>
                  <a:cubicBezTo>
                    <a:pt x="79" y="219"/>
                    <a:pt x="79" y="219"/>
                    <a:pt x="79" y="219"/>
                  </a:cubicBezTo>
                  <a:cubicBezTo>
                    <a:pt x="79" y="219"/>
                    <a:pt x="79" y="219"/>
                    <a:pt x="79" y="218"/>
                  </a:cubicBezTo>
                  <a:cubicBezTo>
                    <a:pt x="79" y="218"/>
                    <a:pt x="79" y="218"/>
                    <a:pt x="79" y="218"/>
                  </a:cubicBezTo>
                  <a:cubicBezTo>
                    <a:pt x="79" y="218"/>
                    <a:pt x="79" y="218"/>
                    <a:pt x="79" y="218"/>
                  </a:cubicBezTo>
                  <a:cubicBezTo>
                    <a:pt x="79" y="218"/>
                    <a:pt x="79" y="218"/>
                    <a:pt x="79" y="218"/>
                  </a:cubicBezTo>
                  <a:cubicBezTo>
                    <a:pt x="79" y="217"/>
                    <a:pt x="79" y="217"/>
                    <a:pt x="79" y="217"/>
                  </a:cubicBezTo>
                  <a:cubicBezTo>
                    <a:pt x="80" y="217"/>
                    <a:pt x="80" y="217"/>
                    <a:pt x="80" y="217"/>
                  </a:cubicBezTo>
                  <a:cubicBezTo>
                    <a:pt x="80" y="216"/>
                    <a:pt x="80" y="216"/>
                    <a:pt x="81" y="215"/>
                  </a:cubicBezTo>
                  <a:cubicBezTo>
                    <a:pt x="81" y="215"/>
                    <a:pt x="81" y="215"/>
                    <a:pt x="81" y="215"/>
                  </a:cubicBezTo>
                  <a:cubicBezTo>
                    <a:pt x="81" y="215"/>
                    <a:pt x="81" y="214"/>
                    <a:pt x="81" y="214"/>
                  </a:cubicBezTo>
                  <a:cubicBezTo>
                    <a:pt x="81" y="214"/>
                    <a:pt x="81" y="214"/>
                    <a:pt x="81" y="214"/>
                  </a:cubicBezTo>
                  <a:cubicBezTo>
                    <a:pt x="81" y="214"/>
                    <a:pt x="81" y="213"/>
                    <a:pt x="81" y="213"/>
                  </a:cubicBezTo>
                  <a:cubicBezTo>
                    <a:pt x="81" y="213"/>
                    <a:pt x="81" y="213"/>
                    <a:pt x="82" y="213"/>
                  </a:cubicBezTo>
                  <a:cubicBezTo>
                    <a:pt x="82" y="212"/>
                    <a:pt x="82" y="212"/>
                    <a:pt x="82" y="211"/>
                  </a:cubicBezTo>
                  <a:cubicBezTo>
                    <a:pt x="82" y="211"/>
                    <a:pt x="83" y="211"/>
                    <a:pt x="83" y="211"/>
                  </a:cubicBezTo>
                  <a:cubicBezTo>
                    <a:pt x="83" y="211"/>
                    <a:pt x="83" y="210"/>
                    <a:pt x="83" y="210"/>
                  </a:cubicBezTo>
                  <a:cubicBezTo>
                    <a:pt x="83" y="210"/>
                    <a:pt x="83" y="210"/>
                    <a:pt x="83" y="210"/>
                  </a:cubicBezTo>
                  <a:cubicBezTo>
                    <a:pt x="83" y="209"/>
                    <a:pt x="83" y="209"/>
                    <a:pt x="83" y="209"/>
                  </a:cubicBezTo>
                  <a:cubicBezTo>
                    <a:pt x="83" y="209"/>
                    <a:pt x="84" y="209"/>
                    <a:pt x="84" y="209"/>
                  </a:cubicBezTo>
                  <a:cubicBezTo>
                    <a:pt x="84" y="208"/>
                    <a:pt x="84" y="208"/>
                    <a:pt x="84" y="208"/>
                  </a:cubicBezTo>
                  <a:cubicBezTo>
                    <a:pt x="84" y="208"/>
                    <a:pt x="84" y="208"/>
                    <a:pt x="84" y="208"/>
                  </a:cubicBezTo>
                  <a:cubicBezTo>
                    <a:pt x="84" y="207"/>
                    <a:pt x="84" y="207"/>
                    <a:pt x="84" y="206"/>
                  </a:cubicBezTo>
                  <a:cubicBezTo>
                    <a:pt x="85" y="206"/>
                    <a:pt x="85" y="206"/>
                    <a:pt x="85" y="206"/>
                  </a:cubicBezTo>
                  <a:cubicBezTo>
                    <a:pt x="85" y="206"/>
                    <a:pt x="85" y="205"/>
                    <a:pt x="85" y="205"/>
                  </a:cubicBezTo>
                  <a:cubicBezTo>
                    <a:pt x="85" y="205"/>
                    <a:pt x="85" y="205"/>
                    <a:pt x="85" y="205"/>
                  </a:cubicBezTo>
                  <a:cubicBezTo>
                    <a:pt x="85" y="205"/>
                    <a:pt x="85" y="205"/>
                    <a:pt x="85" y="204"/>
                  </a:cubicBezTo>
                  <a:cubicBezTo>
                    <a:pt x="85" y="204"/>
                    <a:pt x="85" y="204"/>
                    <a:pt x="85" y="204"/>
                  </a:cubicBezTo>
                  <a:cubicBezTo>
                    <a:pt x="85" y="204"/>
                    <a:pt x="85" y="204"/>
                    <a:pt x="85" y="203"/>
                  </a:cubicBezTo>
                  <a:cubicBezTo>
                    <a:pt x="86" y="203"/>
                    <a:pt x="86" y="203"/>
                    <a:pt x="86" y="203"/>
                  </a:cubicBezTo>
                  <a:cubicBezTo>
                    <a:pt x="86" y="203"/>
                    <a:pt x="86" y="203"/>
                    <a:pt x="86" y="203"/>
                  </a:cubicBezTo>
                  <a:cubicBezTo>
                    <a:pt x="86" y="203"/>
                    <a:pt x="86" y="203"/>
                    <a:pt x="86" y="203"/>
                  </a:cubicBezTo>
                  <a:cubicBezTo>
                    <a:pt x="86" y="202"/>
                    <a:pt x="86" y="202"/>
                    <a:pt x="86" y="202"/>
                  </a:cubicBezTo>
                  <a:cubicBezTo>
                    <a:pt x="86" y="202"/>
                    <a:pt x="86" y="202"/>
                    <a:pt x="86" y="202"/>
                  </a:cubicBezTo>
                  <a:cubicBezTo>
                    <a:pt x="86" y="201"/>
                    <a:pt x="86" y="201"/>
                    <a:pt x="86" y="201"/>
                  </a:cubicBezTo>
                  <a:cubicBezTo>
                    <a:pt x="87" y="201"/>
                    <a:pt x="87" y="201"/>
                    <a:pt x="87" y="201"/>
                  </a:cubicBezTo>
                  <a:cubicBezTo>
                    <a:pt x="87" y="200"/>
                    <a:pt x="87" y="200"/>
                    <a:pt x="87" y="199"/>
                  </a:cubicBezTo>
                  <a:cubicBezTo>
                    <a:pt x="87" y="199"/>
                    <a:pt x="87" y="199"/>
                    <a:pt x="88" y="199"/>
                  </a:cubicBezTo>
                  <a:cubicBezTo>
                    <a:pt x="88" y="198"/>
                    <a:pt x="88" y="198"/>
                    <a:pt x="88" y="197"/>
                  </a:cubicBezTo>
                  <a:cubicBezTo>
                    <a:pt x="88" y="197"/>
                    <a:pt x="88" y="197"/>
                    <a:pt x="88" y="197"/>
                  </a:cubicBezTo>
                  <a:cubicBezTo>
                    <a:pt x="88" y="197"/>
                    <a:pt x="88" y="197"/>
                    <a:pt x="88" y="196"/>
                  </a:cubicBezTo>
                  <a:cubicBezTo>
                    <a:pt x="88" y="196"/>
                    <a:pt x="88" y="196"/>
                    <a:pt x="89" y="196"/>
                  </a:cubicBezTo>
                  <a:cubicBezTo>
                    <a:pt x="89" y="195"/>
                    <a:pt x="89" y="194"/>
                    <a:pt x="89" y="193"/>
                  </a:cubicBezTo>
                  <a:cubicBezTo>
                    <a:pt x="89" y="193"/>
                    <a:pt x="90" y="193"/>
                    <a:pt x="90" y="193"/>
                  </a:cubicBezTo>
                  <a:cubicBezTo>
                    <a:pt x="90" y="193"/>
                    <a:pt x="90" y="193"/>
                    <a:pt x="90" y="192"/>
                  </a:cubicBezTo>
                  <a:cubicBezTo>
                    <a:pt x="90" y="192"/>
                    <a:pt x="90" y="192"/>
                    <a:pt x="90" y="192"/>
                  </a:cubicBezTo>
                  <a:cubicBezTo>
                    <a:pt x="90" y="192"/>
                    <a:pt x="90" y="192"/>
                    <a:pt x="90" y="191"/>
                  </a:cubicBezTo>
                  <a:cubicBezTo>
                    <a:pt x="90" y="191"/>
                    <a:pt x="90" y="191"/>
                    <a:pt x="90" y="191"/>
                  </a:cubicBezTo>
                  <a:cubicBezTo>
                    <a:pt x="90" y="191"/>
                    <a:pt x="90" y="191"/>
                    <a:pt x="90" y="190"/>
                  </a:cubicBezTo>
                  <a:cubicBezTo>
                    <a:pt x="90" y="190"/>
                    <a:pt x="91" y="190"/>
                    <a:pt x="91" y="190"/>
                  </a:cubicBezTo>
                  <a:cubicBezTo>
                    <a:pt x="91" y="190"/>
                    <a:pt x="91" y="190"/>
                    <a:pt x="91" y="189"/>
                  </a:cubicBezTo>
                  <a:cubicBezTo>
                    <a:pt x="91" y="189"/>
                    <a:pt x="91" y="189"/>
                    <a:pt x="91" y="189"/>
                  </a:cubicBezTo>
                  <a:cubicBezTo>
                    <a:pt x="91" y="189"/>
                    <a:pt x="91" y="189"/>
                    <a:pt x="91" y="188"/>
                  </a:cubicBezTo>
                  <a:cubicBezTo>
                    <a:pt x="91" y="188"/>
                    <a:pt x="91" y="188"/>
                    <a:pt x="91" y="188"/>
                  </a:cubicBezTo>
                  <a:cubicBezTo>
                    <a:pt x="91" y="188"/>
                    <a:pt x="91" y="187"/>
                    <a:pt x="91" y="187"/>
                  </a:cubicBezTo>
                  <a:cubicBezTo>
                    <a:pt x="92" y="187"/>
                    <a:pt x="92" y="187"/>
                    <a:pt x="92" y="187"/>
                  </a:cubicBezTo>
                  <a:cubicBezTo>
                    <a:pt x="92" y="187"/>
                    <a:pt x="92" y="186"/>
                    <a:pt x="92" y="186"/>
                  </a:cubicBezTo>
                  <a:cubicBezTo>
                    <a:pt x="92" y="186"/>
                    <a:pt x="92" y="186"/>
                    <a:pt x="92" y="186"/>
                  </a:cubicBezTo>
                  <a:cubicBezTo>
                    <a:pt x="92" y="185"/>
                    <a:pt x="92" y="185"/>
                    <a:pt x="92" y="185"/>
                  </a:cubicBezTo>
                  <a:cubicBezTo>
                    <a:pt x="92" y="185"/>
                    <a:pt x="92" y="185"/>
                    <a:pt x="92" y="185"/>
                  </a:cubicBezTo>
                  <a:cubicBezTo>
                    <a:pt x="93" y="184"/>
                    <a:pt x="93" y="183"/>
                    <a:pt x="93" y="182"/>
                  </a:cubicBezTo>
                  <a:cubicBezTo>
                    <a:pt x="93" y="182"/>
                    <a:pt x="93" y="182"/>
                    <a:pt x="93" y="182"/>
                  </a:cubicBezTo>
                  <a:cubicBezTo>
                    <a:pt x="93" y="181"/>
                    <a:pt x="93" y="180"/>
                    <a:pt x="93" y="180"/>
                  </a:cubicBezTo>
                  <a:cubicBezTo>
                    <a:pt x="94" y="180"/>
                    <a:pt x="94" y="180"/>
                    <a:pt x="94" y="180"/>
                  </a:cubicBezTo>
                  <a:cubicBezTo>
                    <a:pt x="94" y="178"/>
                    <a:pt x="94" y="177"/>
                    <a:pt x="95" y="175"/>
                  </a:cubicBezTo>
                  <a:cubicBezTo>
                    <a:pt x="95" y="175"/>
                    <a:pt x="95" y="175"/>
                    <a:pt x="95" y="175"/>
                  </a:cubicBezTo>
                  <a:cubicBezTo>
                    <a:pt x="95" y="174"/>
                    <a:pt x="95" y="173"/>
                    <a:pt x="95" y="172"/>
                  </a:cubicBezTo>
                  <a:cubicBezTo>
                    <a:pt x="97" y="168"/>
                    <a:pt x="97" y="163"/>
                    <a:pt x="98" y="159"/>
                  </a:cubicBezTo>
                  <a:cubicBezTo>
                    <a:pt x="98" y="157"/>
                    <a:pt x="98" y="156"/>
                    <a:pt x="98" y="154"/>
                  </a:cubicBezTo>
                  <a:cubicBezTo>
                    <a:pt x="99" y="154"/>
                    <a:pt x="99" y="154"/>
                    <a:pt x="99" y="154"/>
                  </a:cubicBezTo>
                  <a:cubicBezTo>
                    <a:pt x="99" y="153"/>
                    <a:pt x="99" y="152"/>
                    <a:pt x="99" y="152"/>
                  </a:cubicBezTo>
                  <a:cubicBezTo>
                    <a:pt x="99" y="152"/>
                    <a:pt x="99" y="152"/>
                    <a:pt x="99" y="152"/>
                  </a:cubicBezTo>
                  <a:cubicBezTo>
                    <a:pt x="99" y="151"/>
                    <a:pt x="99" y="150"/>
                    <a:pt x="99" y="149"/>
                  </a:cubicBezTo>
                  <a:cubicBezTo>
                    <a:pt x="99" y="149"/>
                    <a:pt x="99" y="149"/>
                    <a:pt x="99" y="149"/>
                  </a:cubicBezTo>
                  <a:cubicBezTo>
                    <a:pt x="99" y="148"/>
                    <a:pt x="99" y="147"/>
                    <a:pt x="99" y="146"/>
                  </a:cubicBezTo>
                  <a:cubicBezTo>
                    <a:pt x="100" y="146"/>
                    <a:pt x="100" y="146"/>
                    <a:pt x="100" y="146"/>
                  </a:cubicBezTo>
                  <a:cubicBezTo>
                    <a:pt x="100" y="145"/>
                    <a:pt x="100" y="144"/>
                    <a:pt x="100" y="144"/>
                  </a:cubicBezTo>
                  <a:cubicBezTo>
                    <a:pt x="100" y="144"/>
                    <a:pt x="100" y="144"/>
                    <a:pt x="100" y="144"/>
                  </a:cubicBezTo>
                  <a:cubicBezTo>
                    <a:pt x="100" y="143"/>
                    <a:pt x="100" y="142"/>
                    <a:pt x="100" y="141"/>
                  </a:cubicBezTo>
                  <a:cubicBezTo>
                    <a:pt x="100" y="141"/>
                    <a:pt x="100" y="141"/>
                    <a:pt x="100" y="141"/>
                  </a:cubicBezTo>
                  <a:cubicBezTo>
                    <a:pt x="100" y="140"/>
                    <a:pt x="100" y="139"/>
                    <a:pt x="100" y="138"/>
                  </a:cubicBezTo>
                  <a:cubicBezTo>
                    <a:pt x="101" y="138"/>
                    <a:pt x="101" y="138"/>
                    <a:pt x="101" y="138"/>
                  </a:cubicBezTo>
                  <a:cubicBezTo>
                    <a:pt x="101" y="137"/>
                    <a:pt x="101" y="135"/>
                    <a:pt x="101" y="134"/>
                  </a:cubicBezTo>
                  <a:cubicBezTo>
                    <a:pt x="101" y="134"/>
                    <a:pt x="101" y="134"/>
                    <a:pt x="101" y="134"/>
                  </a:cubicBezTo>
                  <a:cubicBezTo>
                    <a:pt x="101" y="132"/>
                    <a:pt x="101" y="130"/>
                    <a:pt x="102" y="127"/>
                  </a:cubicBezTo>
                  <a:cubicBezTo>
                    <a:pt x="102" y="127"/>
                    <a:pt x="102" y="127"/>
                    <a:pt x="102" y="127"/>
                  </a:cubicBezTo>
                  <a:cubicBezTo>
                    <a:pt x="102" y="126"/>
                    <a:pt x="102" y="125"/>
                    <a:pt x="102" y="124"/>
                  </a:cubicBezTo>
                  <a:cubicBezTo>
                    <a:pt x="102" y="124"/>
                    <a:pt x="102" y="124"/>
                    <a:pt x="102" y="124"/>
                  </a:cubicBezTo>
                  <a:cubicBezTo>
                    <a:pt x="102" y="122"/>
                    <a:pt x="102" y="121"/>
                    <a:pt x="102" y="119"/>
                  </a:cubicBezTo>
                  <a:cubicBezTo>
                    <a:pt x="102" y="119"/>
                    <a:pt x="102" y="119"/>
                    <a:pt x="103" y="119"/>
                  </a:cubicBezTo>
                  <a:cubicBezTo>
                    <a:pt x="103" y="118"/>
                    <a:pt x="103" y="117"/>
                    <a:pt x="103" y="115"/>
                  </a:cubicBezTo>
                  <a:cubicBezTo>
                    <a:pt x="103" y="115"/>
                    <a:pt x="103" y="115"/>
                    <a:pt x="103" y="115"/>
                  </a:cubicBezTo>
                  <a:cubicBezTo>
                    <a:pt x="103" y="114"/>
                    <a:pt x="103" y="112"/>
                    <a:pt x="103" y="111"/>
                  </a:cubicBezTo>
                  <a:cubicBezTo>
                    <a:pt x="103" y="111"/>
                    <a:pt x="103" y="111"/>
                    <a:pt x="103" y="111"/>
                  </a:cubicBezTo>
                  <a:cubicBezTo>
                    <a:pt x="103" y="109"/>
                    <a:pt x="103" y="107"/>
                    <a:pt x="103" y="105"/>
                  </a:cubicBezTo>
                  <a:cubicBezTo>
                    <a:pt x="103" y="105"/>
                    <a:pt x="104" y="105"/>
                    <a:pt x="104" y="105"/>
                  </a:cubicBezTo>
                  <a:cubicBezTo>
                    <a:pt x="104" y="104"/>
                    <a:pt x="104" y="102"/>
                    <a:pt x="104" y="100"/>
                  </a:cubicBezTo>
                  <a:cubicBezTo>
                    <a:pt x="104" y="100"/>
                    <a:pt x="104" y="100"/>
                    <a:pt x="104" y="100"/>
                  </a:cubicBezTo>
                  <a:cubicBezTo>
                    <a:pt x="104" y="98"/>
                    <a:pt x="104" y="96"/>
                    <a:pt x="104" y="94"/>
                  </a:cubicBezTo>
                  <a:cubicBezTo>
                    <a:pt x="104" y="94"/>
                    <a:pt x="104" y="94"/>
                    <a:pt x="104" y="94"/>
                  </a:cubicBezTo>
                  <a:cubicBezTo>
                    <a:pt x="104" y="93"/>
                    <a:pt x="104" y="91"/>
                    <a:pt x="104" y="90"/>
                  </a:cubicBezTo>
                  <a:cubicBezTo>
                    <a:pt x="104" y="86"/>
                    <a:pt x="105" y="83"/>
                    <a:pt x="105" y="79"/>
                  </a:cubicBezTo>
                  <a:cubicBezTo>
                    <a:pt x="105" y="79"/>
                    <a:pt x="105" y="79"/>
                    <a:pt x="105" y="79"/>
                  </a:cubicBezTo>
                  <a:cubicBezTo>
                    <a:pt x="105" y="73"/>
                    <a:pt x="105" y="67"/>
                    <a:pt x="105" y="61"/>
                  </a:cubicBezTo>
                  <a:cubicBezTo>
                    <a:pt x="106" y="61"/>
                    <a:pt x="106" y="61"/>
                    <a:pt x="106" y="61"/>
                  </a:cubicBezTo>
                  <a:cubicBezTo>
                    <a:pt x="106" y="61"/>
                    <a:pt x="106" y="61"/>
                    <a:pt x="106" y="60"/>
                  </a:cubicBezTo>
                  <a:cubicBezTo>
                    <a:pt x="106" y="60"/>
                    <a:pt x="106" y="60"/>
                    <a:pt x="106" y="60"/>
                  </a:cubicBezTo>
                  <a:cubicBezTo>
                    <a:pt x="107" y="60"/>
                    <a:pt x="107" y="59"/>
                    <a:pt x="107" y="58"/>
                  </a:cubicBezTo>
                  <a:cubicBezTo>
                    <a:pt x="107" y="58"/>
                    <a:pt x="107" y="58"/>
                    <a:pt x="107" y="58"/>
                  </a:cubicBezTo>
                  <a:cubicBezTo>
                    <a:pt x="108" y="58"/>
                    <a:pt x="108" y="57"/>
                    <a:pt x="108" y="57"/>
                  </a:cubicBezTo>
                  <a:cubicBezTo>
                    <a:pt x="108" y="57"/>
                    <a:pt x="108" y="57"/>
                    <a:pt x="108" y="57"/>
                  </a:cubicBezTo>
                  <a:cubicBezTo>
                    <a:pt x="108" y="56"/>
                    <a:pt x="108" y="56"/>
                    <a:pt x="108" y="56"/>
                  </a:cubicBezTo>
                  <a:cubicBezTo>
                    <a:pt x="108" y="56"/>
                    <a:pt x="108" y="56"/>
                    <a:pt x="109" y="56"/>
                  </a:cubicBezTo>
                  <a:cubicBezTo>
                    <a:pt x="109" y="55"/>
                    <a:pt x="109" y="55"/>
                    <a:pt x="109" y="55"/>
                  </a:cubicBezTo>
                  <a:cubicBezTo>
                    <a:pt x="109" y="55"/>
                    <a:pt x="109" y="55"/>
                    <a:pt x="109" y="55"/>
                  </a:cubicBezTo>
                  <a:cubicBezTo>
                    <a:pt x="109" y="54"/>
                    <a:pt x="109" y="54"/>
                    <a:pt x="110" y="53"/>
                  </a:cubicBezTo>
                  <a:cubicBezTo>
                    <a:pt x="110" y="53"/>
                    <a:pt x="110" y="53"/>
                    <a:pt x="110" y="53"/>
                  </a:cubicBezTo>
                  <a:cubicBezTo>
                    <a:pt x="110" y="52"/>
                    <a:pt x="110" y="52"/>
                    <a:pt x="110" y="51"/>
                  </a:cubicBezTo>
                  <a:cubicBezTo>
                    <a:pt x="110" y="51"/>
                    <a:pt x="111" y="51"/>
                    <a:pt x="111" y="51"/>
                  </a:cubicBezTo>
                  <a:cubicBezTo>
                    <a:pt x="111" y="51"/>
                    <a:pt x="111" y="51"/>
                    <a:pt x="111" y="50"/>
                  </a:cubicBezTo>
                  <a:cubicBezTo>
                    <a:pt x="111" y="50"/>
                    <a:pt x="111" y="50"/>
                    <a:pt x="111" y="50"/>
                  </a:cubicBezTo>
                  <a:cubicBezTo>
                    <a:pt x="111" y="50"/>
                    <a:pt x="111" y="50"/>
                    <a:pt x="111" y="49"/>
                  </a:cubicBezTo>
                  <a:cubicBezTo>
                    <a:pt x="111" y="49"/>
                    <a:pt x="111" y="49"/>
                    <a:pt x="111" y="49"/>
                  </a:cubicBezTo>
                  <a:cubicBezTo>
                    <a:pt x="111" y="49"/>
                    <a:pt x="111" y="49"/>
                    <a:pt x="111" y="49"/>
                  </a:cubicBezTo>
                  <a:cubicBezTo>
                    <a:pt x="111" y="49"/>
                    <a:pt x="112" y="49"/>
                    <a:pt x="112" y="49"/>
                  </a:cubicBezTo>
                  <a:cubicBezTo>
                    <a:pt x="112" y="48"/>
                    <a:pt x="112" y="48"/>
                    <a:pt x="112" y="48"/>
                  </a:cubicBezTo>
                  <a:cubicBezTo>
                    <a:pt x="112" y="48"/>
                    <a:pt x="112" y="48"/>
                    <a:pt x="112" y="48"/>
                  </a:cubicBezTo>
                  <a:cubicBezTo>
                    <a:pt x="112" y="47"/>
                    <a:pt x="112" y="47"/>
                    <a:pt x="112" y="47"/>
                  </a:cubicBezTo>
                  <a:cubicBezTo>
                    <a:pt x="112" y="47"/>
                    <a:pt x="112" y="47"/>
                    <a:pt x="112" y="47"/>
                  </a:cubicBezTo>
                  <a:cubicBezTo>
                    <a:pt x="112" y="46"/>
                    <a:pt x="113" y="46"/>
                    <a:pt x="113" y="45"/>
                  </a:cubicBezTo>
                  <a:cubicBezTo>
                    <a:pt x="113" y="45"/>
                    <a:pt x="113" y="45"/>
                    <a:pt x="113" y="45"/>
                  </a:cubicBezTo>
                  <a:cubicBezTo>
                    <a:pt x="113" y="45"/>
                    <a:pt x="113" y="44"/>
                    <a:pt x="113" y="44"/>
                  </a:cubicBezTo>
                  <a:cubicBezTo>
                    <a:pt x="113" y="44"/>
                    <a:pt x="113" y="44"/>
                    <a:pt x="113" y="44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4" y="43"/>
                    <a:pt x="114" y="43"/>
                    <a:pt x="114" y="43"/>
                  </a:cubicBezTo>
                  <a:cubicBezTo>
                    <a:pt x="114" y="42"/>
                    <a:pt x="114" y="42"/>
                    <a:pt x="114" y="42"/>
                  </a:cubicBezTo>
                  <a:cubicBezTo>
                    <a:pt x="114" y="42"/>
                    <a:pt x="114" y="42"/>
                    <a:pt x="114" y="42"/>
                  </a:cubicBezTo>
                  <a:cubicBezTo>
                    <a:pt x="114" y="41"/>
                    <a:pt x="114" y="41"/>
                    <a:pt x="114" y="41"/>
                  </a:cubicBezTo>
                  <a:cubicBezTo>
                    <a:pt x="114" y="41"/>
                    <a:pt x="114" y="41"/>
                    <a:pt x="114" y="41"/>
                  </a:cubicBezTo>
                  <a:cubicBezTo>
                    <a:pt x="115" y="40"/>
                    <a:pt x="115" y="39"/>
                    <a:pt x="115" y="38"/>
                  </a:cubicBezTo>
                  <a:cubicBezTo>
                    <a:pt x="115" y="38"/>
                    <a:pt x="115" y="38"/>
                    <a:pt x="115" y="38"/>
                  </a:cubicBezTo>
                  <a:cubicBezTo>
                    <a:pt x="115" y="38"/>
                    <a:pt x="115" y="38"/>
                    <a:pt x="115" y="38"/>
                  </a:cubicBezTo>
                  <a:cubicBezTo>
                    <a:pt x="115" y="38"/>
                    <a:pt x="115" y="38"/>
                    <a:pt x="116" y="38"/>
                  </a:cubicBezTo>
                  <a:cubicBezTo>
                    <a:pt x="116" y="37"/>
                    <a:pt x="116" y="37"/>
                    <a:pt x="116" y="36"/>
                  </a:cubicBezTo>
                  <a:cubicBezTo>
                    <a:pt x="116" y="36"/>
                    <a:pt x="116" y="36"/>
                    <a:pt x="116" y="36"/>
                  </a:cubicBezTo>
                  <a:cubicBezTo>
                    <a:pt x="116" y="36"/>
                    <a:pt x="116" y="35"/>
                    <a:pt x="117" y="34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8" y="33"/>
                    <a:pt x="118" y="32"/>
                    <a:pt x="118" y="32"/>
                  </a:cubicBezTo>
                  <a:cubicBezTo>
                    <a:pt x="118" y="32"/>
                    <a:pt x="118" y="32"/>
                    <a:pt x="118" y="32"/>
                  </a:cubicBezTo>
                  <a:cubicBezTo>
                    <a:pt x="118" y="31"/>
                    <a:pt x="119" y="31"/>
                    <a:pt x="119" y="31"/>
                  </a:cubicBezTo>
                  <a:cubicBezTo>
                    <a:pt x="119" y="30"/>
                    <a:pt x="119" y="30"/>
                    <a:pt x="119" y="30"/>
                  </a:cubicBezTo>
                  <a:cubicBezTo>
                    <a:pt x="119" y="30"/>
                    <a:pt x="119" y="30"/>
                    <a:pt x="119" y="29"/>
                  </a:cubicBezTo>
                  <a:cubicBezTo>
                    <a:pt x="120" y="29"/>
                    <a:pt x="120" y="29"/>
                    <a:pt x="120" y="29"/>
                  </a:cubicBezTo>
                  <a:cubicBezTo>
                    <a:pt x="120" y="29"/>
                    <a:pt x="120" y="28"/>
                    <a:pt x="120" y="28"/>
                  </a:cubicBezTo>
                  <a:cubicBezTo>
                    <a:pt x="121" y="28"/>
                    <a:pt x="121" y="27"/>
                    <a:pt x="122" y="27"/>
                  </a:cubicBezTo>
                  <a:cubicBezTo>
                    <a:pt x="122" y="27"/>
                    <a:pt x="122" y="27"/>
                    <a:pt x="122" y="26"/>
                  </a:cubicBezTo>
                  <a:cubicBezTo>
                    <a:pt x="123" y="25"/>
                    <a:pt x="124" y="24"/>
                    <a:pt x="125" y="23"/>
                  </a:cubicBezTo>
                  <a:cubicBezTo>
                    <a:pt x="126" y="22"/>
                    <a:pt x="127" y="21"/>
                    <a:pt x="128" y="20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130" y="19"/>
                    <a:pt x="130" y="19"/>
                    <a:pt x="131" y="18"/>
                  </a:cubicBezTo>
                  <a:cubicBezTo>
                    <a:pt x="131" y="18"/>
                    <a:pt x="131" y="18"/>
                    <a:pt x="132" y="18"/>
                  </a:cubicBezTo>
                  <a:cubicBezTo>
                    <a:pt x="132" y="17"/>
                    <a:pt x="132" y="17"/>
                    <a:pt x="132" y="17"/>
                  </a:cubicBezTo>
                  <a:cubicBezTo>
                    <a:pt x="132" y="17"/>
                    <a:pt x="132" y="17"/>
                    <a:pt x="133" y="17"/>
                  </a:cubicBezTo>
                  <a:cubicBezTo>
                    <a:pt x="133" y="17"/>
                    <a:pt x="133" y="16"/>
                    <a:pt x="133" y="16"/>
                  </a:cubicBezTo>
                  <a:cubicBezTo>
                    <a:pt x="134" y="16"/>
                    <a:pt x="134" y="16"/>
                    <a:pt x="134" y="16"/>
                  </a:cubicBezTo>
                  <a:cubicBezTo>
                    <a:pt x="135" y="15"/>
                    <a:pt x="135" y="15"/>
                    <a:pt x="135" y="15"/>
                  </a:cubicBezTo>
                  <a:cubicBezTo>
                    <a:pt x="135" y="15"/>
                    <a:pt x="135" y="15"/>
                    <a:pt x="135" y="15"/>
                  </a:cubicBezTo>
                  <a:cubicBezTo>
                    <a:pt x="135" y="15"/>
                    <a:pt x="135" y="15"/>
                    <a:pt x="135" y="14"/>
                  </a:cubicBezTo>
                  <a:cubicBezTo>
                    <a:pt x="136" y="14"/>
                    <a:pt x="136" y="14"/>
                    <a:pt x="137" y="14"/>
                  </a:cubicBezTo>
                  <a:cubicBezTo>
                    <a:pt x="137" y="14"/>
                    <a:pt x="137" y="14"/>
                    <a:pt x="137" y="13"/>
                  </a:cubicBezTo>
                  <a:cubicBezTo>
                    <a:pt x="137" y="13"/>
                    <a:pt x="137" y="13"/>
                    <a:pt x="138" y="13"/>
                  </a:cubicBezTo>
                  <a:cubicBezTo>
                    <a:pt x="138" y="13"/>
                    <a:pt x="138" y="13"/>
                    <a:pt x="138" y="12"/>
                  </a:cubicBezTo>
                  <a:cubicBezTo>
                    <a:pt x="138" y="12"/>
                    <a:pt x="139" y="12"/>
                    <a:pt x="139" y="12"/>
                  </a:cubicBezTo>
                  <a:cubicBezTo>
                    <a:pt x="139" y="12"/>
                    <a:pt x="139" y="12"/>
                    <a:pt x="139" y="12"/>
                  </a:cubicBezTo>
                  <a:cubicBezTo>
                    <a:pt x="140" y="12"/>
                    <a:pt x="140" y="12"/>
                    <a:pt x="140" y="12"/>
                  </a:cubicBezTo>
                  <a:cubicBezTo>
                    <a:pt x="140" y="11"/>
                    <a:pt x="140" y="11"/>
                    <a:pt x="140" y="11"/>
                  </a:cubicBezTo>
                  <a:cubicBezTo>
                    <a:pt x="141" y="11"/>
                    <a:pt x="141" y="11"/>
                    <a:pt x="141" y="11"/>
                  </a:cubicBezTo>
                  <a:cubicBezTo>
                    <a:pt x="141" y="10"/>
                    <a:pt x="141" y="10"/>
                    <a:pt x="141" y="10"/>
                  </a:cubicBezTo>
                  <a:cubicBezTo>
                    <a:pt x="142" y="10"/>
                    <a:pt x="142" y="10"/>
                    <a:pt x="143" y="10"/>
                  </a:cubicBezTo>
                  <a:cubicBezTo>
                    <a:pt x="143" y="10"/>
                    <a:pt x="143" y="10"/>
                    <a:pt x="143" y="10"/>
                  </a:cubicBezTo>
                  <a:cubicBezTo>
                    <a:pt x="143" y="9"/>
                    <a:pt x="144" y="9"/>
                    <a:pt x="144" y="9"/>
                  </a:cubicBezTo>
                  <a:cubicBezTo>
                    <a:pt x="144" y="9"/>
                    <a:pt x="144" y="9"/>
                    <a:pt x="144" y="9"/>
                  </a:cubicBezTo>
                  <a:cubicBezTo>
                    <a:pt x="144" y="9"/>
                    <a:pt x="145" y="9"/>
                    <a:pt x="145" y="9"/>
                  </a:cubicBezTo>
                  <a:cubicBezTo>
                    <a:pt x="145" y="8"/>
                    <a:pt x="145" y="8"/>
                    <a:pt x="146" y="7"/>
                  </a:cubicBezTo>
                  <a:cubicBezTo>
                    <a:pt x="146" y="7"/>
                    <a:pt x="146" y="7"/>
                    <a:pt x="146" y="7"/>
                  </a:cubicBezTo>
                  <a:cubicBezTo>
                    <a:pt x="146" y="7"/>
                    <a:pt x="146" y="7"/>
                    <a:pt x="146" y="7"/>
                  </a:cubicBezTo>
                  <a:cubicBezTo>
                    <a:pt x="147" y="7"/>
                    <a:pt x="147" y="7"/>
                    <a:pt x="147" y="7"/>
                  </a:cubicBezTo>
                  <a:cubicBezTo>
                    <a:pt x="147" y="7"/>
                    <a:pt x="148" y="6"/>
                    <a:pt x="148" y="6"/>
                  </a:cubicBezTo>
                  <a:cubicBezTo>
                    <a:pt x="148" y="6"/>
                    <a:pt x="148" y="6"/>
                    <a:pt x="148" y="6"/>
                  </a:cubicBezTo>
                  <a:cubicBezTo>
                    <a:pt x="149" y="6"/>
                    <a:pt x="149" y="5"/>
                    <a:pt x="149" y="5"/>
                  </a:cubicBezTo>
                  <a:cubicBezTo>
                    <a:pt x="150" y="5"/>
                    <a:pt x="150" y="5"/>
                    <a:pt x="150" y="5"/>
                  </a:cubicBezTo>
                  <a:cubicBezTo>
                    <a:pt x="150" y="4"/>
                    <a:pt x="151" y="4"/>
                    <a:pt x="151" y="4"/>
                  </a:cubicBezTo>
                  <a:cubicBezTo>
                    <a:pt x="151" y="4"/>
                    <a:pt x="151" y="4"/>
                    <a:pt x="152" y="4"/>
                  </a:cubicBezTo>
                  <a:cubicBezTo>
                    <a:pt x="152" y="3"/>
                    <a:pt x="152" y="3"/>
                    <a:pt x="153" y="2"/>
                  </a:cubicBezTo>
                  <a:cubicBezTo>
                    <a:pt x="153" y="2"/>
                    <a:pt x="153" y="2"/>
                    <a:pt x="153" y="2"/>
                  </a:cubicBezTo>
                  <a:cubicBezTo>
                    <a:pt x="153" y="2"/>
                    <a:pt x="154" y="2"/>
                    <a:pt x="154" y="2"/>
                  </a:cubicBezTo>
                  <a:cubicBezTo>
                    <a:pt x="154" y="1"/>
                    <a:pt x="155" y="1"/>
                    <a:pt x="155" y="0"/>
                  </a:cubicBezTo>
                  <a:cubicBezTo>
                    <a:pt x="158" y="0"/>
                    <a:pt x="161" y="1"/>
                    <a:pt x="163" y="2"/>
                  </a:cubicBezTo>
                  <a:cubicBezTo>
                    <a:pt x="164" y="2"/>
                    <a:pt x="165" y="2"/>
                    <a:pt x="166" y="2"/>
                  </a:cubicBezTo>
                  <a:cubicBezTo>
                    <a:pt x="168" y="3"/>
                    <a:pt x="171" y="4"/>
                    <a:pt x="174" y="5"/>
                  </a:cubicBezTo>
                  <a:cubicBezTo>
                    <a:pt x="175" y="5"/>
                    <a:pt x="176" y="5"/>
                    <a:pt x="177" y="5"/>
                  </a:cubicBezTo>
                  <a:cubicBezTo>
                    <a:pt x="180" y="6"/>
                    <a:pt x="184" y="7"/>
                    <a:pt x="188" y="8"/>
                  </a:cubicBezTo>
                  <a:cubicBezTo>
                    <a:pt x="189" y="8"/>
                    <a:pt x="190" y="8"/>
                    <a:pt x="191" y="9"/>
                  </a:cubicBezTo>
                  <a:cubicBezTo>
                    <a:pt x="194" y="10"/>
                    <a:pt x="199" y="10"/>
                    <a:pt x="203" y="12"/>
                  </a:cubicBezTo>
                  <a:cubicBezTo>
                    <a:pt x="204" y="12"/>
                    <a:pt x="206" y="12"/>
                    <a:pt x="208" y="12"/>
                  </a:cubicBezTo>
                  <a:cubicBezTo>
                    <a:pt x="208" y="12"/>
                    <a:pt x="208" y="13"/>
                    <a:pt x="208" y="13"/>
                  </a:cubicBezTo>
                  <a:cubicBezTo>
                    <a:pt x="208" y="13"/>
                    <a:pt x="209" y="13"/>
                    <a:pt x="210" y="13"/>
                  </a:cubicBezTo>
                  <a:cubicBezTo>
                    <a:pt x="210" y="13"/>
                    <a:pt x="210" y="13"/>
                    <a:pt x="210" y="13"/>
                  </a:cubicBezTo>
                  <a:cubicBezTo>
                    <a:pt x="210" y="13"/>
                    <a:pt x="211" y="13"/>
                    <a:pt x="211" y="13"/>
                  </a:cubicBezTo>
                  <a:cubicBezTo>
                    <a:pt x="211" y="13"/>
                    <a:pt x="211" y="13"/>
                    <a:pt x="211" y="13"/>
                  </a:cubicBezTo>
                  <a:cubicBezTo>
                    <a:pt x="212" y="13"/>
                    <a:pt x="213" y="13"/>
                    <a:pt x="213" y="13"/>
                  </a:cubicBezTo>
                  <a:cubicBezTo>
                    <a:pt x="213" y="14"/>
                    <a:pt x="213" y="14"/>
                    <a:pt x="213" y="14"/>
                  </a:cubicBezTo>
                  <a:cubicBezTo>
                    <a:pt x="214" y="14"/>
                    <a:pt x="214" y="14"/>
                    <a:pt x="215" y="14"/>
                  </a:cubicBezTo>
                  <a:cubicBezTo>
                    <a:pt x="217" y="14"/>
                    <a:pt x="219" y="15"/>
                    <a:pt x="221" y="15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</a:ln>
            <a:effectLst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64800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4000" b="1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0000"/>
                </a:solidFill>
                <a:latin typeface="UKIJ Qolyazma" pitchFamily="18" charset="0"/>
                <a:cs typeface="UKIJ Qolyazma" pitchFamily="18" charset="0"/>
              </a:endParaRPr>
            </a:p>
          </p:txBody>
        </p:sp>
        <p:sp>
          <p:nvSpPr>
            <p:cNvPr id="110" name="Freeform 22">
              <a:extLst>
                <a:ext uri="{FF2B5EF4-FFF2-40B4-BE49-F238E27FC236}">
                  <a16:creationId xmlns:a16="http://schemas.microsoft.com/office/drawing/2014/main" id="{40E273EF-08A9-CE36-76C5-2DD6450ABF10}"/>
                </a:ext>
              </a:extLst>
            </p:cNvPr>
            <p:cNvSpPr>
              <a:spLocks/>
            </p:cNvSpPr>
            <p:nvPr/>
          </p:nvSpPr>
          <p:spPr bwMode="auto">
            <a:xfrm>
              <a:off x="9461154" y="2228224"/>
              <a:ext cx="894494" cy="754504"/>
            </a:xfrm>
            <a:custGeom>
              <a:avLst/>
              <a:gdLst>
                <a:gd name="T0" fmla="*/ 264 w 411"/>
                <a:gd name="T1" fmla="*/ 51 h 347"/>
                <a:gd name="T2" fmla="*/ 252 w 411"/>
                <a:gd name="T3" fmla="*/ 67 h 347"/>
                <a:gd name="T4" fmla="*/ 244 w 411"/>
                <a:gd name="T5" fmla="*/ 71 h 347"/>
                <a:gd name="T6" fmla="*/ 240 w 411"/>
                <a:gd name="T7" fmla="*/ 82 h 347"/>
                <a:gd name="T8" fmla="*/ 269 w 411"/>
                <a:gd name="T9" fmla="*/ 106 h 347"/>
                <a:gd name="T10" fmla="*/ 279 w 411"/>
                <a:gd name="T11" fmla="*/ 110 h 347"/>
                <a:gd name="T12" fmla="*/ 298 w 411"/>
                <a:gd name="T13" fmla="*/ 108 h 347"/>
                <a:gd name="T14" fmla="*/ 307 w 411"/>
                <a:gd name="T15" fmla="*/ 124 h 347"/>
                <a:gd name="T16" fmla="*/ 320 w 411"/>
                <a:gd name="T17" fmla="*/ 128 h 347"/>
                <a:gd name="T18" fmla="*/ 331 w 411"/>
                <a:gd name="T19" fmla="*/ 124 h 347"/>
                <a:gd name="T20" fmla="*/ 347 w 411"/>
                <a:gd name="T21" fmla="*/ 126 h 347"/>
                <a:gd name="T22" fmla="*/ 357 w 411"/>
                <a:gd name="T23" fmla="*/ 132 h 347"/>
                <a:gd name="T24" fmla="*/ 368 w 411"/>
                <a:gd name="T25" fmla="*/ 137 h 347"/>
                <a:gd name="T26" fmla="*/ 375 w 411"/>
                <a:gd name="T27" fmla="*/ 141 h 347"/>
                <a:gd name="T28" fmla="*/ 380 w 411"/>
                <a:gd name="T29" fmla="*/ 149 h 347"/>
                <a:gd name="T30" fmla="*/ 372 w 411"/>
                <a:gd name="T31" fmla="*/ 162 h 347"/>
                <a:gd name="T32" fmla="*/ 377 w 411"/>
                <a:gd name="T33" fmla="*/ 221 h 347"/>
                <a:gd name="T34" fmla="*/ 387 w 411"/>
                <a:gd name="T35" fmla="*/ 227 h 347"/>
                <a:gd name="T36" fmla="*/ 403 w 411"/>
                <a:gd name="T37" fmla="*/ 239 h 347"/>
                <a:gd name="T38" fmla="*/ 410 w 411"/>
                <a:gd name="T39" fmla="*/ 277 h 347"/>
                <a:gd name="T40" fmla="*/ 345 w 411"/>
                <a:gd name="T41" fmla="*/ 310 h 347"/>
                <a:gd name="T42" fmla="*/ 338 w 411"/>
                <a:gd name="T43" fmla="*/ 314 h 347"/>
                <a:gd name="T44" fmla="*/ 286 w 411"/>
                <a:gd name="T45" fmla="*/ 302 h 347"/>
                <a:gd name="T46" fmla="*/ 274 w 411"/>
                <a:gd name="T47" fmla="*/ 298 h 347"/>
                <a:gd name="T48" fmla="*/ 257 w 411"/>
                <a:gd name="T49" fmla="*/ 294 h 347"/>
                <a:gd name="T50" fmla="*/ 236 w 411"/>
                <a:gd name="T51" fmla="*/ 299 h 347"/>
                <a:gd name="T52" fmla="*/ 226 w 411"/>
                <a:gd name="T53" fmla="*/ 312 h 347"/>
                <a:gd name="T54" fmla="*/ 217 w 411"/>
                <a:gd name="T55" fmla="*/ 317 h 347"/>
                <a:gd name="T56" fmla="*/ 188 w 411"/>
                <a:gd name="T57" fmla="*/ 321 h 347"/>
                <a:gd name="T58" fmla="*/ 154 w 411"/>
                <a:gd name="T59" fmla="*/ 335 h 347"/>
                <a:gd name="T60" fmla="*/ 118 w 411"/>
                <a:gd name="T61" fmla="*/ 297 h 347"/>
                <a:gd name="T62" fmla="*/ 108 w 411"/>
                <a:gd name="T63" fmla="*/ 290 h 347"/>
                <a:gd name="T64" fmla="*/ 98 w 411"/>
                <a:gd name="T65" fmla="*/ 289 h 347"/>
                <a:gd name="T66" fmla="*/ 90 w 411"/>
                <a:gd name="T67" fmla="*/ 292 h 347"/>
                <a:gd name="T68" fmla="*/ 76 w 411"/>
                <a:gd name="T69" fmla="*/ 294 h 347"/>
                <a:gd name="T70" fmla="*/ 68 w 411"/>
                <a:gd name="T71" fmla="*/ 283 h 347"/>
                <a:gd name="T72" fmla="*/ 53 w 411"/>
                <a:gd name="T73" fmla="*/ 274 h 347"/>
                <a:gd name="T74" fmla="*/ 45 w 411"/>
                <a:gd name="T75" fmla="*/ 270 h 347"/>
                <a:gd name="T76" fmla="*/ 31 w 411"/>
                <a:gd name="T77" fmla="*/ 240 h 347"/>
                <a:gd name="T78" fmla="*/ 25 w 411"/>
                <a:gd name="T79" fmla="*/ 232 h 347"/>
                <a:gd name="T80" fmla="*/ 19 w 411"/>
                <a:gd name="T81" fmla="*/ 222 h 347"/>
                <a:gd name="T82" fmla="*/ 0 w 411"/>
                <a:gd name="T83" fmla="*/ 203 h 347"/>
                <a:gd name="T84" fmla="*/ 9 w 411"/>
                <a:gd name="T85" fmla="*/ 190 h 347"/>
                <a:gd name="T86" fmla="*/ 15 w 411"/>
                <a:gd name="T87" fmla="*/ 180 h 347"/>
                <a:gd name="T88" fmla="*/ 21 w 411"/>
                <a:gd name="T89" fmla="*/ 172 h 347"/>
                <a:gd name="T90" fmla="*/ 27 w 411"/>
                <a:gd name="T91" fmla="*/ 162 h 347"/>
                <a:gd name="T92" fmla="*/ 49 w 411"/>
                <a:gd name="T93" fmla="*/ 138 h 347"/>
                <a:gd name="T94" fmla="*/ 70 w 411"/>
                <a:gd name="T95" fmla="*/ 127 h 347"/>
                <a:gd name="T96" fmla="*/ 92 w 411"/>
                <a:gd name="T97" fmla="*/ 124 h 347"/>
                <a:gd name="T98" fmla="*/ 105 w 411"/>
                <a:gd name="T99" fmla="*/ 126 h 347"/>
                <a:gd name="T100" fmla="*/ 119 w 411"/>
                <a:gd name="T101" fmla="*/ 101 h 347"/>
                <a:gd name="T102" fmla="*/ 132 w 411"/>
                <a:gd name="T103" fmla="*/ 87 h 347"/>
                <a:gd name="T104" fmla="*/ 142 w 411"/>
                <a:gd name="T105" fmla="*/ 79 h 347"/>
                <a:gd name="T106" fmla="*/ 152 w 411"/>
                <a:gd name="T107" fmla="*/ 76 h 347"/>
                <a:gd name="T108" fmla="*/ 165 w 411"/>
                <a:gd name="T109" fmla="*/ 65 h 347"/>
                <a:gd name="T110" fmla="*/ 176 w 411"/>
                <a:gd name="T111" fmla="*/ 51 h 347"/>
                <a:gd name="T112" fmla="*/ 191 w 411"/>
                <a:gd name="T113" fmla="*/ 40 h 347"/>
                <a:gd name="T114" fmla="*/ 201 w 411"/>
                <a:gd name="T115" fmla="*/ 36 h 347"/>
                <a:gd name="T116" fmla="*/ 207 w 411"/>
                <a:gd name="T117" fmla="*/ 32 h 347"/>
                <a:gd name="T118" fmla="*/ 234 w 411"/>
                <a:gd name="T119" fmla="*/ 4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11" h="347">
                  <a:moveTo>
                    <a:pt x="266" y="0"/>
                  </a:moveTo>
                  <a:cubicBezTo>
                    <a:pt x="266" y="14"/>
                    <a:pt x="266" y="27"/>
                    <a:pt x="267" y="40"/>
                  </a:cubicBezTo>
                  <a:cubicBezTo>
                    <a:pt x="267" y="40"/>
                    <a:pt x="266" y="40"/>
                    <a:pt x="266" y="40"/>
                  </a:cubicBezTo>
                  <a:cubicBezTo>
                    <a:pt x="266" y="41"/>
                    <a:pt x="266" y="41"/>
                    <a:pt x="266" y="42"/>
                  </a:cubicBezTo>
                  <a:cubicBezTo>
                    <a:pt x="266" y="42"/>
                    <a:pt x="266" y="42"/>
                    <a:pt x="266" y="42"/>
                  </a:cubicBezTo>
                  <a:cubicBezTo>
                    <a:pt x="266" y="42"/>
                    <a:pt x="266" y="42"/>
                    <a:pt x="266" y="43"/>
                  </a:cubicBezTo>
                  <a:cubicBezTo>
                    <a:pt x="266" y="43"/>
                    <a:pt x="266" y="43"/>
                    <a:pt x="266" y="43"/>
                  </a:cubicBezTo>
                  <a:cubicBezTo>
                    <a:pt x="266" y="44"/>
                    <a:pt x="265" y="45"/>
                    <a:pt x="265" y="46"/>
                  </a:cubicBezTo>
                  <a:cubicBezTo>
                    <a:pt x="265" y="46"/>
                    <a:pt x="265" y="46"/>
                    <a:pt x="265" y="46"/>
                  </a:cubicBezTo>
                  <a:cubicBezTo>
                    <a:pt x="265" y="46"/>
                    <a:pt x="265" y="46"/>
                    <a:pt x="265" y="47"/>
                  </a:cubicBezTo>
                  <a:cubicBezTo>
                    <a:pt x="265" y="47"/>
                    <a:pt x="265" y="47"/>
                    <a:pt x="265" y="47"/>
                  </a:cubicBezTo>
                  <a:cubicBezTo>
                    <a:pt x="265" y="47"/>
                    <a:pt x="265" y="48"/>
                    <a:pt x="265" y="48"/>
                  </a:cubicBezTo>
                  <a:cubicBezTo>
                    <a:pt x="264" y="48"/>
                    <a:pt x="264" y="48"/>
                    <a:pt x="264" y="48"/>
                  </a:cubicBezTo>
                  <a:cubicBezTo>
                    <a:pt x="264" y="49"/>
                    <a:pt x="264" y="49"/>
                    <a:pt x="264" y="50"/>
                  </a:cubicBezTo>
                  <a:cubicBezTo>
                    <a:pt x="264" y="50"/>
                    <a:pt x="264" y="50"/>
                    <a:pt x="264" y="50"/>
                  </a:cubicBezTo>
                  <a:cubicBezTo>
                    <a:pt x="264" y="50"/>
                    <a:pt x="264" y="51"/>
                    <a:pt x="264" y="51"/>
                  </a:cubicBezTo>
                  <a:cubicBezTo>
                    <a:pt x="264" y="51"/>
                    <a:pt x="264" y="51"/>
                    <a:pt x="264" y="51"/>
                  </a:cubicBezTo>
                  <a:cubicBezTo>
                    <a:pt x="264" y="51"/>
                    <a:pt x="264" y="52"/>
                    <a:pt x="264" y="52"/>
                  </a:cubicBezTo>
                  <a:cubicBezTo>
                    <a:pt x="263" y="52"/>
                    <a:pt x="263" y="52"/>
                    <a:pt x="263" y="52"/>
                  </a:cubicBezTo>
                  <a:cubicBezTo>
                    <a:pt x="263" y="53"/>
                    <a:pt x="263" y="53"/>
                    <a:pt x="263" y="54"/>
                  </a:cubicBezTo>
                  <a:cubicBezTo>
                    <a:pt x="263" y="54"/>
                    <a:pt x="263" y="54"/>
                    <a:pt x="263" y="54"/>
                  </a:cubicBezTo>
                  <a:cubicBezTo>
                    <a:pt x="263" y="54"/>
                    <a:pt x="263" y="55"/>
                    <a:pt x="263" y="55"/>
                  </a:cubicBezTo>
                  <a:cubicBezTo>
                    <a:pt x="263" y="55"/>
                    <a:pt x="263" y="55"/>
                    <a:pt x="262" y="55"/>
                  </a:cubicBezTo>
                  <a:cubicBezTo>
                    <a:pt x="262" y="55"/>
                    <a:pt x="262" y="56"/>
                    <a:pt x="262" y="56"/>
                  </a:cubicBezTo>
                  <a:cubicBezTo>
                    <a:pt x="262" y="56"/>
                    <a:pt x="262" y="56"/>
                    <a:pt x="262" y="56"/>
                  </a:cubicBezTo>
                  <a:cubicBezTo>
                    <a:pt x="262" y="57"/>
                    <a:pt x="262" y="57"/>
                    <a:pt x="262" y="58"/>
                  </a:cubicBezTo>
                  <a:cubicBezTo>
                    <a:pt x="262" y="60"/>
                    <a:pt x="261" y="62"/>
                    <a:pt x="260" y="64"/>
                  </a:cubicBezTo>
                  <a:cubicBezTo>
                    <a:pt x="259" y="64"/>
                    <a:pt x="258" y="64"/>
                    <a:pt x="257" y="65"/>
                  </a:cubicBezTo>
                  <a:cubicBezTo>
                    <a:pt x="257" y="65"/>
                    <a:pt x="257" y="65"/>
                    <a:pt x="257" y="65"/>
                  </a:cubicBezTo>
                  <a:cubicBezTo>
                    <a:pt x="256" y="65"/>
                    <a:pt x="255" y="66"/>
                    <a:pt x="254" y="66"/>
                  </a:cubicBezTo>
                  <a:cubicBezTo>
                    <a:pt x="254" y="66"/>
                    <a:pt x="254" y="66"/>
                    <a:pt x="254" y="67"/>
                  </a:cubicBezTo>
                  <a:cubicBezTo>
                    <a:pt x="254" y="67"/>
                    <a:pt x="253" y="67"/>
                    <a:pt x="253" y="67"/>
                  </a:cubicBezTo>
                  <a:cubicBezTo>
                    <a:pt x="253" y="67"/>
                    <a:pt x="253" y="67"/>
                    <a:pt x="253" y="67"/>
                  </a:cubicBezTo>
                  <a:cubicBezTo>
                    <a:pt x="253" y="67"/>
                    <a:pt x="253" y="67"/>
                    <a:pt x="252" y="67"/>
                  </a:cubicBezTo>
                  <a:cubicBezTo>
                    <a:pt x="252" y="67"/>
                    <a:pt x="252" y="67"/>
                    <a:pt x="252" y="67"/>
                  </a:cubicBezTo>
                  <a:cubicBezTo>
                    <a:pt x="252" y="67"/>
                    <a:pt x="251" y="67"/>
                    <a:pt x="251" y="68"/>
                  </a:cubicBezTo>
                  <a:cubicBezTo>
                    <a:pt x="251" y="68"/>
                    <a:pt x="251" y="68"/>
                    <a:pt x="251" y="68"/>
                  </a:cubicBezTo>
                  <a:cubicBezTo>
                    <a:pt x="251" y="68"/>
                    <a:pt x="250" y="68"/>
                    <a:pt x="250" y="68"/>
                  </a:cubicBezTo>
                  <a:cubicBezTo>
                    <a:pt x="250" y="68"/>
                    <a:pt x="250" y="68"/>
                    <a:pt x="250" y="68"/>
                  </a:cubicBezTo>
                  <a:cubicBezTo>
                    <a:pt x="250" y="68"/>
                    <a:pt x="249" y="68"/>
                    <a:pt x="249" y="68"/>
                  </a:cubicBezTo>
                  <a:cubicBezTo>
                    <a:pt x="249" y="68"/>
                    <a:pt x="249" y="68"/>
                    <a:pt x="249" y="69"/>
                  </a:cubicBezTo>
                  <a:cubicBezTo>
                    <a:pt x="249" y="69"/>
                    <a:pt x="249" y="69"/>
                    <a:pt x="248" y="69"/>
                  </a:cubicBezTo>
                  <a:cubicBezTo>
                    <a:pt x="248" y="69"/>
                    <a:pt x="248" y="69"/>
                    <a:pt x="248" y="69"/>
                  </a:cubicBezTo>
                  <a:cubicBezTo>
                    <a:pt x="248" y="69"/>
                    <a:pt x="248" y="69"/>
                    <a:pt x="248" y="69"/>
                  </a:cubicBezTo>
                  <a:cubicBezTo>
                    <a:pt x="248" y="69"/>
                    <a:pt x="248" y="69"/>
                    <a:pt x="248" y="69"/>
                  </a:cubicBezTo>
                  <a:cubicBezTo>
                    <a:pt x="247" y="69"/>
                    <a:pt x="247" y="70"/>
                    <a:pt x="246" y="70"/>
                  </a:cubicBezTo>
                  <a:cubicBezTo>
                    <a:pt x="246" y="70"/>
                    <a:pt x="246" y="70"/>
                    <a:pt x="246" y="70"/>
                  </a:cubicBezTo>
                  <a:cubicBezTo>
                    <a:pt x="246" y="70"/>
                    <a:pt x="245" y="70"/>
                    <a:pt x="245" y="70"/>
                  </a:cubicBezTo>
                  <a:cubicBezTo>
                    <a:pt x="245" y="70"/>
                    <a:pt x="245" y="71"/>
                    <a:pt x="245" y="71"/>
                  </a:cubicBezTo>
                  <a:cubicBezTo>
                    <a:pt x="244" y="71"/>
                    <a:pt x="244" y="71"/>
                    <a:pt x="244" y="71"/>
                  </a:cubicBezTo>
                  <a:cubicBezTo>
                    <a:pt x="244" y="71"/>
                    <a:pt x="244" y="71"/>
                    <a:pt x="244" y="71"/>
                  </a:cubicBezTo>
                  <a:cubicBezTo>
                    <a:pt x="243" y="71"/>
                    <a:pt x="243" y="71"/>
                    <a:pt x="243" y="71"/>
                  </a:cubicBezTo>
                  <a:cubicBezTo>
                    <a:pt x="243" y="71"/>
                    <a:pt x="243" y="71"/>
                    <a:pt x="243" y="71"/>
                  </a:cubicBezTo>
                  <a:cubicBezTo>
                    <a:pt x="243" y="71"/>
                    <a:pt x="242" y="71"/>
                    <a:pt x="242" y="71"/>
                  </a:cubicBezTo>
                  <a:cubicBezTo>
                    <a:pt x="242" y="72"/>
                    <a:pt x="242" y="72"/>
                    <a:pt x="242" y="72"/>
                  </a:cubicBezTo>
                  <a:cubicBezTo>
                    <a:pt x="242" y="72"/>
                    <a:pt x="242" y="72"/>
                    <a:pt x="241" y="72"/>
                  </a:cubicBezTo>
                  <a:cubicBezTo>
                    <a:pt x="241" y="72"/>
                    <a:pt x="241" y="72"/>
                    <a:pt x="241" y="72"/>
                  </a:cubicBezTo>
                  <a:cubicBezTo>
                    <a:pt x="241" y="72"/>
                    <a:pt x="241" y="72"/>
                    <a:pt x="240" y="72"/>
                  </a:cubicBezTo>
                  <a:cubicBezTo>
                    <a:pt x="240" y="72"/>
                    <a:pt x="240" y="72"/>
                    <a:pt x="240" y="72"/>
                  </a:cubicBezTo>
                  <a:cubicBezTo>
                    <a:pt x="239" y="73"/>
                    <a:pt x="238" y="73"/>
                    <a:pt x="237" y="74"/>
                  </a:cubicBezTo>
                  <a:cubicBezTo>
                    <a:pt x="237" y="75"/>
                    <a:pt x="237" y="76"/>
                    <a:pt x="238" y="77"/>
                  </a:cubicBezTo>
                  <a:cubicBezTo>
                    <a:pt x="238" y="78"/>
                    <a:pt x="238" y="78"/>
                    <a:pt x="238" y="79"/>
                  </a:cubicBezTo>
                  <a:cubicBezTo>
                    <a:pt x="238" y="79"/>
                    <a:pt x="239" y="79"/>
                    <a:pt x="239" y="79"/>
                  </a:cubicBezTo>
                  <a:cubicBezTo>
                    <a:pt x="239" y="79"/>
                    <a:pt x="239" y="80"/>
                    <a:pt x="239" y="81"/>
                  </a:cubicBezTo>
                  <a:cubicBezTo>
                    <a:pt x="240" y="81"/>
                    <a:pt x="240" y="81"/>
                    <a:pt x="240" y="81"/>
                  </a:cubicBezTo>
                  <a:cubicBezTo>
                    <a:pt x="240" y="81"/>
                    <a:pt x="240" y="81"/>
                    <a:pt x="240" y="82"/>
                  </a:cubicBezTo>
                  <a:cubicBezTo>
                    <a:pt x="240" y="82"/>
                    <a:pt x="240" y="82"/>
                    <a:pt x="240" y="82"/>
                  </a:cubicBezTo>
                  <a:cubicBezTo>
                    <a:pt x="240" y="82"/>
                    <a:pt x="240" y="82"/>
                    <a:pt x="240" y="82"/>
                  </a:cubicBezTo>
                  <a:cubicBezTo>
                    <a:pt x="240" y="82"/>
                    <a:pt x="240" y="82"/>
                    <a:pt x="240" y="82"/>
                  </a:cubicBezTo>
                  <a:cubicBezTo>
                    <a:pt x="240" y="82"/>
                    <a:pt x="240" y="83"/>
                    <a:pt x="240" y="83"/>
                  </a:cubicBezTo>
                  <a:cubicBezTo>
                    <a:pt x="241" y="83"/>
                    <a:pt x="241" y="83"/>
                    <a:pt x="241" y="83"/>
                  </a:cubicBezTo>
                  <a:cubicBezTo>
                    <a:pt x="241" y="83"/>
                    <a:pt x="241" y="83"/>
                    <a:pt x="241" y="84"/>
                  </a:cubicBezTo>
                  <a:cubicBezTo>
                    <a:pt x="241" y="84"/>
                    <a:pt x="241" y="84"/>
                    <a:pt x="241" y="84"/>
                  </a:cubicBezTo>
                  <a:cubicBezTo>
                    <a:pt x="241" y="84"/>
                    <a:pt x="241" y="84"/>
                    <a:pt x="241" y="84"/>
                  </a:cubicBezTo>
                  <a:cubicBezTo>
                    <a:pt x="241" y="84"/>
                    <a:pt x="241" y="84"/>
                    <a:pt x="241" y="84"/>
                  </a:cubicBezTo>
                  <a:cubicBezTo>
                    <a:pt x="242" y="85"/>
                    <a:pt x="242" y="86"/>
                    <a:pt x="242" y="86"/>
                  </a:cubicBezTo>
                  <a:cubicBezTo>
                    <a:pt x="242" y="86"/>
                    <a:pt x="242" y="86"/>
                    <a:pt x="243" y="86"/>
                  </a:cubicBezTo>
                  <a:cubicBezTo>
                    <a:pt x="243" y="87"/>
                    <a:pt x="243" y="87"/>
                    <a:pt x="243" y="87"/>
                  </a:cubicBezTo>
                  <a:cubicBezTo>
                    <a:pt x="243" y="87"/>
                    <a:pt x="243" y="87"/>
                    <a:pt x="243" y="87"/>
                  </a:cubicBezTo>
                  <a:cubicBezTo>
                    <a:pt x="243" y="88"/>
                    <a:pt x="243" y="88"/>
                    <a:pt x="243" y="89"/>
                  </a:cubicBezTo>
                  <a:cubicBezTo>
                    <a:pt x="243" y="89"/>
                    <a:pt x="243" y="89"/>
                    <a:pt x="244" y="89"/>
                  </a:cubicBezTo>
                  <a:cubicBezTo>
                    <a:pt x="245" y="91"/>
                    <a:pt x="246" y="94"/>
                    <a:pt x="247" y="97"/>
                  </a:cubicBezTo>
                  <a:cubicBezTo>
                    <a:pt x="254" y="99"/>
                    <a:pt x="261" y="102"/>
                    <a:pt x="268" y="105"/>
                  </a:cubicBezTo>
                  <a:cubicBezTo>
                    <a:pt x="268" y="105"/>
                    <a:pt x="268" y="105"/>
                    <a:pt x="269" y="105"/>
                  </a:cubicBezTo>
                  <a:cubicBezTo>
                    <a:pt x="269" y="105"/>
                    <a:pt x="269" y="106"/>
                    <a:pt x="269" y="106"/>
                  </a:cubicBezTo>
                  <a:cubicBezTo>
                    <a:pt x="269" y="106"/>
                    <a:pt x="270" y="106"/>
                    <a:pt x="271" y="106"/>
                  </a:cubicBezTo>
                  <a:cubicBezTo>
                    <a:pt x="271" y="106"/>
                    <a:pt x="271" y="106"/>
                    <a:pt x="271" y="106"/>
                  </a:cubicBezTo>
                  <a:cubicBezTo>
                    <a:pt x="271" y="106"/>
                    <a:pt x="271" y="106"/>
                    <a:pt x="271" y="106"/>
                  </a:cubicBezTo>
                  <a:cubicBezTo>
                    <a:pt x="271" y="106"/>
                    <a:pt x="271" y="107"/>
                    <a:pt x="271" y="107"/>
                  </a:cubicBezTo>
                  <a:cubicBezTo>
                    <a:pt x="272" y="107"/>
                    <a:pt x="272" y="107"/>
                    <a:pt x="272" y="107"/>
                  </a:cubicBezTo>
                  <a:cubicBezTo>
                    <a:pt x="272" y="107"/>
                    <a:pt x="272" y="107"/>
                    <a:pt x="272" y="107"/>
                  </a:cubicBezTo>
                  <a:cubicBezTo>
                    <a:pt x="273" y="107"/>
                    <a:pt x="273" y="107"/>
                    <a:pt x="273" y="107"/>
                  </a:cubicBezTo>
                  <a:cubicBezTo>
                    <a:pt x="273" y="107"/>
                    <a:pt x="273" y="107"/>
                    <a:pt x="273" y="107"/>
                  </a:cubicBezTo>
                  <a:cubicBezTo>
                    <a:pt x="273" y="107"/>
                    <a:pt x="274" y="107"/>
                    <a:pt x="274" y="107"/>
                  </a:cubicBezTo>
                  <a:cubicBezTo>
                    <a:pt x="274" y="108"/>
                    <a:pt x="274" y="108"/>
                    <a:pt x="274" y="108"/>
                  </a:cubicBezTo>
                  <a:cubicBezTo>
                    <a:pt x="274" y="108"/>
                    <a:pt x="275" y="108"/>
                    <a:pt x="275" y="108"/>
                  </a:cubicBezTo>
                  <a:cubicBezTo>
                    <a:pt x="275" y="108"/>
                    <a:pt x="275" y="108"/>
                    <a:pt x="275" y="108"/>
                  </a:cubicBezTo>
                  <a:cubicBezTo>
                    <a:pt x="276" y="109"/>
                    <a:pt x="277" y="109"/>
                    <a:pt x="277" y="109"/>
                  </a:cubicBezTo>
                  <a:cubicBezTo>
                    <a:pt x="277" y="109"/>
                    <a:pt x="277" y="109"/>
                    <a:pt x="277" y="109"/>
                  </a:cubicBezTo>
                  <a:cubicBezTo>
                    <a:pt x="278" y="109"/>
                    <a:pt x="278" y="109"/>
                    <a:pt x="278" y="109"/>
                  </a:cubicBezTo>
                  <a:cubicBezTo>
                    <a:pt x="278" y="109"/>
                    <a:pt x="278" y="109"/>
                    <a:pt x="278" y="110"/>
                  </a:cubicBezTo>
                  <a:cubicBezTo>
                    <a:pt x="278" y="110"/>
                    <a:pt x="279" y="110"/>
                    <a:pt x="279" y="110"/>
                  </a:cubicBezTo>
                  <a:cubicBezTo>
                    <a:pt x="279" y="110"/>
                    <a:pt x="279" y="110"/>
                    <a:pt x="279" y="110"/>
                  </a:cubicBezTo>
                  <a:cubicBezTo>
                    <a:pt x="279" y="110"/>
                    <a:pt x="280" y="110"/>
                    <a:pt x="280" y="110"/>
                  </a:cubicBezTo>
                  <a:cubicBezTo>
                    <a:pt x="280" y="110"/>
                    <a:pt x="280" y="110"/>
                    <a:pt x="280" y="110"/>
                  </a:cubicBezTo>
                  <a:cubicBezTo>
                    <a:pt x="280" y="110"/>
                    <a:pt x="281" y="110"/>
                    <a:pt x="281" y="111"/>
                  </a:cubicBezTo>
                  <a:cubicBezTo>
                    <a:pt x="281" y="111"/>
                    <a:pt x="281" y="111"/>
                    <a:pt x="281" y="111"/>
                  </a:cubicBezTo>
                  <a:cubicBezTo>
                    <a:pt x="283" y="111"/>
                    <a:pt x="284" y="110"/>
                    <a:pt x="285" y="110"/>
                  </a:cubicBezTo>
                  <a:cubicBezTo>
                    <a:pt x="285" y="110"/>
                    <a:pt x="285" y="110"/>
                    <a:pt x="285" y="110"/>
                  </a:cubicBezTo>
                  <a:cubicBezTo>
                    <a:pt x="285" y="110"/>
                    <a:pt x="286" y="110"/>
                    <a:pt x="286" y="110"/>
                  </a:cubicBezTo>
                  <a:cubicBezTo>
                    <a:pt x="286" y="110"/>
                    <a:pt x="286" y="110"/>
                    <a:pt x="286" y="110"/>
                  </a:cubicBezTo>
                  <a:cubicBezTo>
                    <a:pt x="287" y="110"/>
                    <a:pt x="287" y="110"/>
                    <a:pt x="287" y="110"/>
                  </a:cubicBezTo>
                  <a:cubicBezTo>
                    <a:pt x="287" y="109"/>
                    <a:pt x="287" y="109"/>
                    <a:pt x="287" y="109"/>
                  </a:cubicBezTo>
                  <a:cubicBezTo>
                    <a:pt x="288" y="109"/>
                    <a:pt x="288" y="109"/>
                    <a:pt x="288" y="109"/>
                  </a:cubicBezTo>
                  <a:cubicBezTo>
                    <a:pt x="288" y="109"/>
                    <a:pt x="288" y="109"/>
                    <a:pt x="288" y="109"/>
                  </a:cubicBezTo>
                  <a:cubicBezTo>
                    <a:pt x="289" y="109"/>
                    <a:pt x="289" y="109"/>
                    <a:pt x="290" y="109"/>
                  </a:cubicBezTo>
                  <a:cubicBezTo>
                    <a:pt x="292" y="108"/>
                    <a:pt x="294" y="107"/>
                    <a:pt x="297" y="107"/>
                  </a:cubicBezTo>
                  <a:cubicBezTo>
                    <a:pt x="297" y="107"/>
                    <a:pt x="297" y="107"/>
                    <a:pt x="297" y="108"/>
                  </a:cubicBezTo>
                  <a:cubicBezTo>
                    <a:pt x="298" y="108"/>
                    <a:pt x="298" y="108"/>
                    <a:pt x="298" y="108"/>
                  </a:cubicBezTo>
                  <a:cubicBezTo>
                    <a:pt x="298" y="108"/>
                    <a:pt x="298" y="108"/>
                    <a:pt x="298" y="108"/>
                  </a:cubicBezTo>
                  <a:cubicBezTo>
                    <a:pt x="298" y="108"/>
                    <a:pt x="298" y="108"/>
                    <a:pt x="298" y="108"/>
                  </a:cubicBezTo>
                  <a:cubicBezTo>
                    <a:pt x="298" y="109"/>
                    <a:pt x="298" y="109"/>
                    <a:pt x="298" y="109"/>
                  </a:cubicBezTo>
                  <a:cubicBezTo>
                    <a:pt x="298" y="109"/>
                    <a:pt x="299" y="109"/>
                    <a:pt x="299" y="110"/>
                  </a:cubicBezTo>
                  <a:cubicBezTo>
                    <a:pt x="299" y="110"/>
                    <a:pt x="299" y="111"/>
                    <a:pt x="300" y="112"/>
                  </a:cubicBezTo>
                  <a:cubicBezTo>
                    <a:pt x="300" y="112"/>
                    <a:pt x="300" y="112"/>
                    <a:pt x="300" y="112"/>
                  </a:cubicBezTo>
                  <a:cubicBezTo>
                    <a:pt x="300" y="113"/>
                    <a:pt x="301" y="113"/>
                    <a:pt x="301" y="114"/>
                  </a:cubicBezTo>
                  <a:cubicBezTo>
                    <a:pt x="301" y="114"/>
                    <a:pt x="301" y="114"/>
                    <a:pt x="302" y="114"/>
                  </a:cubicBezTo>
                  <a:cubicBezTo>
                    <a:pt x="302" y="115"/>
                    <a:pt x="302" y="116"/>
                    <a:pt x="302" y="117"/>
                  </a:cubicBezTo>
                  <a:cubicBezTo>
                    <a:pt x="303" y="117"/>
                    <a:pt x="303" y="117"/>
                    <a:pt x="303" y="117"/>
                  </a:cubicBezTo>
                  <a:cubicBezTo>
                    <a:pt x="303" y="117"/>
                    <a:pt x="303" y="118"/>
                    <a:pt x="303" y="118"/>
                  </a:cubicBezTo>
                  <a:cubicBezTo>
                    <a:pt x="304" y="118"/>
                    <a:pt x="304" y="118"/>
                    <a:pt x="304" y="118"/>
                  </a:cubicBezTo>
                  <a:cubicBezTo>
                    <a:pt x="304" y="119"/>
                    <a:pt x="304" y="119"/>
                    <a:pt x="304" y="119"/>
                  </a:cubicBezTo>
                  <a:cubicBezTo>
                    <a:pt x="304" y="119"/>
                    <a:pt x="304" y="119"/>
                    <a:pt x="304" y="119"/>
                  </a:cubicBezTo>
                  <a:cubicBezTo>
                    <a:pt x="305" y="120"/>
                    <a:pt x="305" y="121"/>
                    <a:pt x="305" y="121"/>
                  </a:cubicBezTo>
                  <a:cubicBezTo>
                    <a:pt x="305" y="122"/>
                    <a:pt x="306" y="122"/>
                    <a:pt x="306" y="122"/>
                  </a:cubicBezTo>
                  <a:cubicBezTo>
                    <a:pt x="306" y="122"/>
                    <a:pt x="306" y="123"/>
                    <a:pt x="307" y="124"/>
                  </a:cubicBezTo>
                  <a:cubicBezTo>
                    <a:pt x="307" y="124"/>
                    <a:pt x="307" y="124"/>
                    <a:pt x="307" y="124"/>
                  </a:cubicBezTo>
                  <a:cubicBezTo>
                    <a:pt x="307" y="125"/>
                    <a:pt x="308" y="126"/>
                    <a:pt x="308" y="126"/>
                  </a:cubicBezTo>
                  <a:cubicBezTo>
                    <a:pt x="308" y="126"/>
                    <a:pt x="308" y="127"/>
                    <a:pt x="309" y="127"/>
                  </a:cubicBezTo>
                  <a:cubicBezTo>
                    <a:pt x="309" y="127"/>
                    <a:pt x="309" y="128"/>
                    <a:pt x="309" y="128"/>
                  </a:cubicBezTo>
                  <a:cubicBezTo>
                    <a:pt x="309" y="128"/>
                    <a:pt x="309" y="128"/>
                    <a:pt x="309" y="128"/>
                  </a:cubicBezTo>
                  <a:cubicBezTo>
                    <a:pt x="310" y="129"/>
                    <a:pt x="310" y="130"/>
                    <a:pt x="311" y="131"/>
                  </a:cubicBezTo>
                  <a:cubicBezTo>
                    <a:pt x="312" y="131"/>
                    <a:pt x="313" y="130"/>
                    <a:pt x="315" y="130"/>
                  </a:cubicBezTo>
                  <a:cubicBezTo>
                    <a:pt x="315" y="130"/>
                    <a:pt x="315" y="130"/>
                    <a:pt x="316" y="130"/>
                  </a:cubicBezTo>
                  <a:cubicBezTo>
                    <a:pt x="316" y="130"/>
                    <a:pt x="316" y="130"/>
                    <a:pt x="316" y="129"/>
                  </a:cubicBezTo>
                  <a:cubicBezTo>
                    <a:pt x="316" y="129"/>
                    <a:pt x="316" y="129"/>
                    <a:pt x="316" y="129"/>
                  </a:cubicBezTo>
                  <a:cubicBezTo>
                    <a:pt x="316" y="129"/>
                    <a:pt x="316" y="129"/>
                    <a:pt x="316" y="129"/>
                  </a:cubicBezTo>
                  <a:cubicBezTo>
                    <a:pt x="317" y="129"/>
                    <a:pt x="317" y="129"/>
                    <a:pt x="317" y="129"/>
                  </a:cubicBezTo>
                  <a:cubicBezTo>
                    <a:pt x="317" y="129"/>
                    <a:pt x="317" y="129"/>
                    <a:pt x="317" y="129"/>
                  </a:cubicBezTo>
                  <a:cubicBezTo>
                    <a:pt x="318" y="129"/>
                    <a:pt x="318" y="129"/>
                    <a:pt x="318" y="129"/>
                  </a:cubicBezTo>
                  <a:cubicBezTo>
                    <a:pt x="318" y="129"/>
                    <a:pt x="318" y="129"/>
                    <a:pt x="318" y="128"/>
                  </a:cubicBezTo>
                  <a:cubicBezTo>
                    <a:pt x="319" y="128"/>
                    <a:pt x="319" y="128"/>
                    <a:pt x="320" y="128"/>
                  </a:cubicBezTo>
                  <a:cubicBezTo>
                    <a:pt x="320" y="128"/>
                    <a:pt x="320" y="128"/>
                    <a:pt x="320" y="128"/>
                  </a:cubicBezTo>
                  <a:cubicBezTo>
                    <a:pt x="321" y="128"/>
                    <a:pt x="321" y="127"/>
                    <a:pt x="322" y="127"/>
                  </a:cubicBezTo>
                  <a:cubicBezTo>
                    <a:pt x="322" y="127"/>
                    <a:pt x="322" y="127"/>
                    <a:pt x="322" y="127"/>
                  </a:cubicBezTo>
                  <a:cubicBezTo>
                    <a:pt x="322" y="127"/>
                    <a:pt x="322" y="127"/>
                    <a:pt x="323" y="127"/>
                  </a:cubicBezTo>
                  <a:cubicBezTo>
                    <a:pt x="323" y="127"/>
                    <a:pt x="323" y="127"/>
                    <a:pt x="323" y="127"/>
                  </a:cubicBezTo>
                  <a:cubicBezTo>
                    <a:pt x="323" y="127"/>
                    <a:pt x="323" y="127"/>
                    <a:pt x="324" y="127"/>
                  </a:cubicBezTo>
                  <a:cubicBezTo>
                    <a:pt x="324" y="127"/>
                    <a:pt x="324" y="126"/>
                    <a:pt x="324" y="126"/>
                  </a:cubicBezTo>
                  <a:cubicBezTo>
                    <a:pt x="324" y="126"/>
                    <a:pt x="324" y="126"/>
                    <a:pt x="324" y="126"/>
                  </a:cubicBezTo>
                  <a:cubicBezTo>
                    <a:pt x="324" y="126"/>
                    <a:pt x="324" y="126"/>
                    <a:pt x="324" y="126"/>
                  </a:cubicBezTo>
                  <a:cubicBezTo>
                    <a:pt x="325" y="126"/>
                    <a:pt x="326" y="126"/>
                    <a:pt x="326" y="126"/>
                  </a:cubicBezTo>
                  <a:cubicBezTo>
                    <a:pt x="326" y="125"/>
                    <a:pt x="326" y="125"/>
                    <a:pt x="326" y="125"/>
                  </a:cubicBezTo>
                  <a:cubicBezTo>
                    <a:pt x="327" y="125"/>
                    <a:pt x="327" y="125"/>
                    <a:pt x="327" y="125"/>
                  </a:cubicBezTo>
                  <a:cubicBezTo>
                    <a:pt x="327" y="125"/>
                    <a:pt x="327" y="125"/>
                    <a:pt x="327" y="125"/>
                  </a:cubicBezTo>
                  <a:cubicBezTo>
                    <a:pt x="328" y="125"/>
                    <a:pt x="328" y="125"/>
                    <a:pt x="328" y="125"/>
                  </a:cubicBezTo>
                  <a:cubicBezTo>
                    <a:pt x="328" y="125"/>
                    <a:pt x="328" y="125"/>
                    <a:pt x="328" y="125"/>
                  </a:cubicBezTo>
                  <a:cubicBezTo>
                    <a:pt x="328" y="125"/>
                    <a:pt x="329" y="125"/>
                    <a:pt x="329" y="125"/>
                  </a:cubicBezTo>
                  <a:cubicBezTo>
                    <a:pt x="329" y="124"/>
                    <a:pt x="329" y="124"/>
                    <a:pt x="329" y="124"/>
                  </a:cubicBezTo>
                  <a:cubicBezTo>
                    <a:pt x="330" y="124"/>
                    <a:pt x="330" y="124"/>
                    <a:pt x="331" y="124"/>
                  </a:cubicBezTo>
                  <a:cubicBezTo>
                    <a:pt x="331" y="124"/>
                    <a:pt x="331" y="124"/>
                    <a:pt x="331" y="124"/>
                  </a:cubicBezTo>
                  <a:cubicBezTo>
                    <a:pt x="331" y="124"/>
                    <a:pt x="331" y="124"/>
                    <a:pt x="332" y="124"/>
                  </a:cubicBezTo>
                  <a:cubicBezTo>
                    <a:pt x="332" y="123"/>
                    <a:pt x="332" y="123"/>
                    <a:pt x="332" y="123"/>
                  </a:cubicBezTo>
                  <a:cubicBezTo>
                    <a:pt x="334" y="122"/>
                    <a:pt x="337" y="122"/>
                    <a:pt x="339" y="121"/>
                  </a:cubicBezTo>
                  <a:cubicBezTo>
                    <a:pt x="340" y="122"/>
                    <a:pt x="339" y="121"/>
                    <a:pt x="340" y="121"/>
                  </a:cubicBezTo>
                  <a:cubicBezTo>
                    <a:pt x="340" y="122"/>
                    <a:pt x="340" y="122"/>
                    <a:pt x="340" y="122"/>
                  </a:cubicBezTo>
                  <a:cubicBezTo>
                    <a:pt x="340" y="122"/>
                    <a:pt x="341" y="122"/>
                    <a:pt x="341" y="122"/>
                  </a:cubicBezTo>
                  <a:cubicBezTo>
                    <a:pt x="341" y="122"/>
                    <a:pt x="341" y="122"/>
                    <a:pt x="341" y="122"/>
                  </a:cubicBezTo>
                  <a:cubicBezTo>
                    <a:pt x="341" y="122"/>
                    <a:pt x="342" y="122"/>
                    <a:pt x="342" y="122"/>
                  </a:cubicBezTo>
                  <a:cubicBezTo>
                    <a:pt x="342" y="123"/>
                    <a:pt x="342" y="123"/>
                    <a:pt x="342" y="123"/>
                  </a:cubicBezTo>
                  <a:cubicBezTo>
                    <a:pt x="342" y="123"/>
                    <a:pt x="342" y="123"/>
                    <a:pt x="343" y="123"/>
                  </a:cubicBezTo>
                  <a:cubicBezTo>
                    <a:pt x="343" y="123"/>
                    <a:pt x="343" y="123"/>
                    <a:pt x="343" y="124"/>
                  </a:cubicBezTo>
                  <a:cubicBezTo>
                    <a:pt x="343" y="124"/>
                    <a:pt x="344" y="124"/>
                    <a:pt x="344" y="124"/>
                  </a:cubicBezTo>
                  <a:cubicBezTo>
                    <a:pt x="344" y="124"/>
                    <a:pt x="344" y="124"/>
                    <a:pt x="344" y="124"/>
                  </a:cubicBezTo>
                  <a:cubicBezTo>
                    <a:pt x="345" y="124"/>
                    <a:pt x="345" y="124"/>
                    <a:pt x="345" y="125"/>
                  </a:cubicBezTo>
                  <a:cubicBezTo>
                    <a:pt x="345" y="125"/>
                    <a:pt x="346" y="125"/>
                    <a:pt x="346" y="125"/>
                  </a:cubicBezTo>
                  <a:cubicBezTo>
                    <a:pt x="346" y="125"/>
                    <a:pt x="347" y="125"/>
                    <a:pt x="347" y="126"/>
                  </a:cubicBezTo>
                  <a:cubicBezTo>
                    <a:pt x="347" y="126"/>
                    <a:pt x="347" y="126"/>
                    <a:pt x="347" y="126"/>
                  </a:cubicBezTo>
                  <a:cubicBezTo>
                    <a:pt x="348" y="126"/>
                    <a:pt x="348" y="126"/>
                    <a:pt x="348" y="126"/>
                  </a:cubicBezTo>
                  <a:cubicBezTo>
                    <a:pt x="348" y="126"/>
                    <a:pt x="348" y="127"/>
                    <a:pt x="348" y="127"/>
                  </a:cubicBezTo>
                  <a:cubicBezTo>
                    <a:pt x="348" y="127"/>
                    <a:pt x="349" y="127"/>
                    <a:pt x="349" y="127"/>
                  </a:cubicBezTo>
                  <a:cubicBezTo>
                    <a:pt x="349" y="127"/>
                    <a:pt x="349" y="127"/>
                    <a:pt x="349" y="127"/>
                  </a:cubicBezTo>
                  <a:cubicBezTo>
                    <a:pt x="350" y="127"/>
                    <a:pt x="350" y="128"/>
                    <a:pt x="351" y="128"/>
                  </a:cubicBezTo>
                  <a:cubicBezTo>
                    <a:pt x="351" y="128"/>
                    <a:pt x="351" y="128"/>
                    <a:pt x="351" y="128"/>
                  </a:cubicBezTo>
                  <a:cubicBezTo>
                    <a:pt x="351" y="129"/>
                    <a:pt x="352" y="129"/>
                    <a:pt x="352" y="129"/>
                  </a:cubicBezTo>
                  <a:cubicBezTo>
                    <a:pt x="352" y="129"/>
                    <a:pt x="352" y="129"/>
                    <a:pt x="352" y="129"/>
                  </a:cubicBezTo>
                  <a:cubicBezTo>
                    <a:pt x="353" y="129"/>
                    <a:pt x="353" y="129"/>
                    <a:pt x="353" y="129"/>
                  </a:cubicBezTo>
                  <a:cubicBezTo>
                    <a:pt x="354" y="130"/>
                    <a:pt x="354" y="130"/>
                    <a:pt x="354" y="130"/>
                  </a:cubicBezTo>
                  <a:cubicBezTo>
                    <a:pt x="354" y="130"/>
                    <a:pt x="355" y="130"/>
                    <a:pt x="355" y="131"/>
                  </a:cubicBezTo>
                  <a:cubicBezTo>
                    <a:pt x="355" y="131"/>
                    <a:pt x="355" y="131"/>
                    <a:pt x="356" y="131"/>
                  </a:cubicBezTo>
                  <a:cubicBezTo>
                    <a:pt x="356" y="131"/>
                    <a:pt x="356" y="131"/>
                    <a:pt x="356" y="131"/>
                  </a:cubicBezTo>
                  <a:cubicBezTo>
                    <a:pt x="356" y="131"/>
                    <a:pt x="356" y="131"/>
                    <a:pt x="356" y="132"/>
                  </a:cubicBezTo>
                  <a:cubicBezTo>
                    <a:pt x="356" y="132"/>
                    <a:pt x="357" y="132"/>
                    <a:pt x="357" y="132"/>
                  </a:cubicBezTo>
                  <a:cubicBezTo>
                    <a:pt x="357" y="132"/>
                    <a:pt x="357" y="132"/>
                    <a:pt x="357" y="132"/>
                  </a:cubicBezTo>
                  <a:cubicBezTo>
                    <a:pt x="358" y="132"/>
                    <a:pt x="358" y="132"/>
                    <a:pt x="359" y="133"/>
                  </a:cubicBezTo>
                  <a:cubicBezTo>
                    <a:pt x="359" y="133"/>
                    <a:pt x="359" y="133"/>
                    <a:pt x="359" y="133"/>
                  </a:cubicBezTo>
                  <a:cubicBezTo>
                    <a:pt x="359" y="133"/>
                    <a:pt x="360" y="134"/>
                    <a:pt x="360" y="134"/>
                  </a:cubicBezTo>
                  <a:cubicBezTo>
                    <a:pt x="360" y="134"/>
                    <a:pt x="360" y="134"/>
                    <a:pt x="360" y="134"/>
                  </a:cubicBezTo>
                  <a:cubicBezTo>
                    <a:pt x="361" y="134"/>
                    <a:pt x="361" y="134"/>
                    <a:pt x="362" y="134"/>
                  </a:cubicBezTo>
                  <a:cubicBezTo>
                    <a:pt x="362" y="134"/>
                    <a:pt x="362" y="135"/>
                    <a:pt x="362" y="135"/>
                  </a:cubicBezTo>
                  <a:cubicBezTo>
                    <a:pt x="362" y="135"/>
                    <a:pt x="363" y="135"/>
                    <a:pt x="363" y="135"/>
                  </a:cubicBezTo>
                  <a:cubicBezTo>
                    <a:pt x="363" y="135"/>
                    <a:pt x="363" y="135"/>
                    <a:pt x="363" y="135"/>
                  </a:cubicBezTo>
                  <a:cubicBezTo>
                    <a:pt x="364" y="135"/>
                    <a:pt x="364" y="136"/>
                    <a:pt x="365" y="136"/>
                  </a:cubicBezTo>
                  <a:cubicBezTo>
                    <a:pt x="365" y="136"/>
                    <a:pt x="365" y="136"/>
                    <a:pt x="365" y="136"/>
                  </a:cubicBezTo>
                  <a:cubicBezTo>
                    <a:pt x="365" y="136"/>
                    <a:pt x="365" y="136"/>
                    <a:pt x="366" y="136"/>
                  </a:cubicBezTo>
                  <a:cubicBezTo>
                    <a:pt x="366" y="136"/>
                    <a:pt x="366" y="136"/>
                    <a:pt x="366" y="136"/>
                  </a:cubicBezTo>
                  <a:cubicBezTo>
                    <a:pt x="366" y="136"/>
                    <a:pt x="366" y="136"/>
                    <a:pt x="366" y="136"/>
                  </a:cubicBezTo>
                  <a:cubicBezTo>
                    <a:pt x="366" y="137"/>
                    <a:pt x="366" y="137"/>
                    <a:pt x="366" y="137"/>
                  </a:cubicBezTo>
                  <a:cubicBezTo>
                    <a:pt x="367" y="137"/>
                    <a:pt x="367" y="137"/>
                    <a:pt x="367" y="137"/>
                  </a:cubicBezTo>
                  <a:cubicBezTo>
                    <a:pt x="367" y="137"/>
                    <a:pt x="367" y="137"/>
                    <a:pt x="367" y="137"/>
                  </a:cubicBezTo>
                  <a:cubicBezTo>
                    <a:pt x="367" y="137"/>
                    <a:pt x="368" y="137"/>
                    <a:pt x="368" y="137"/>
                  </a:cubicBezTo>
                  <a:cubicBezTo>
                    <a:pt x="368" y="137"/>
                    <a:pt x="368" y="137"/>
                    <a:pt x="368" y="138"/>
                  </a:cubicBezTo>
                  <a:cubicBezTo>
                    <a:pt x="368" y="138"/>
                    <a:pt x="368" y="138"/>
                    <a:pt x="368" y="138"/>
                  </a:cubicBezTo>
                  <a:cubicBezTo>
                    <a:pt x="368" y="138"/>
                    <a:pt x="368" y="138"/>
                    <a:pt x="368" y="138"/>
                  </a:cubicBezTo>
                  <a:cubicBezTo>
                    <a:pt x="369" y="138"/>
                    <a:pt x="369" y="138"/>
                    <a:pt x="369" y="138"/>
                  </a:cubicBezTo>
                  <a:cubicBezTo>
                    <a:pt x="369" y="138"/>
                    <a:pt x="369" y="138"/>
                    <a:pt x="369" y="138"/>
                  </a:cubicBezTo>
                  <a:cubicBezTo>
                    <a:pt x="369" y="138"/>
                    <a:pt x="370" y="138"/>
                    <a:pt x="370" y="138"/>
                  </a:cubicBezTo>
                  <a:cubicBezTo>
                    <a:pt x="370" y="138"/>
                    <a:pt x="370" y="138"/>
                    <a:pt x="370" y="139"/>
                  </a:cubicBezTo>
                  <a:cubicBezTo>
                    <a:pt x="370" y="139"/>
                    <a:pt x="370" y="139"/>
                    <a:pt x="371" y="139"/>
                  </a:cubicBezTo>
                  <a:cubicBezTo>
                    <a:pt x="371" y="139"/>
                    <a:pt x="371" y="139"/>
                    <a:pt x="371" y="139"/>
                  </a:cubicBezTo>
                  <a:cubicBezTo>
                    <a:pt x="371" y="139"/>
                    <a:pt x="371" y="139"/>
                    <a:pt x="372" y="139"/>
                  </a:cubicBezTo>
                  <a:cubicBezTo>
                    <a:pt x="372" y="139"/>
                    <a:pt x="372" y="139"/>
                    <a:pt x="372" y="140"/>
                  </a:cubicBezTo>
                  <a:cubicBezTo>
                    <a:pt x="372" y="140"/>
                    <a:pt x="373" y="140"/>
                    <a:pt x="373" y="140"/>
                  </a:cubicBezTo>
                  <a:cubicBezTo>
                    <a:pt x="373" y="140"/>
                    <a:pt x="373" y="140"/>
                    <a:pt x="373" y="140"/>
                  </a:cubicBezTo>
                  <a:cubicBezTo>
                    <a:pt x="374" y="140"/>
                    <a:pt x="374" y="140"/>
                    <a:pt x="374" y="140"/>
                  </a:cubicBezTo>
                  <a:cubicBezTo>
                    <a:pt x="374" y="140"/>
                    <a:pt x="374" y="141"/>
                    <a:pt x="374" y="141"/>
                  </a:cubicBezTo>
                  <a:cubicBezTo>
                    <a:pt x="374" y="141"/>
                    <a:pt x="375" y="141"/>
                    <a:pt x="375" y="141"/>
                  </a:cubicBezTo>
                  <a:cubicBezTo>
                    <a:pt x="375" y="141"/>
                    <a:pt x="375" y="141"/>
                    <a:pt x="375" y="141"/>
                  </a:cubicBezTo>
                  <a:cubicBezTo>
                    <a:pt x="375" y="141"/>
                    <a:pt x="375" y="141"/>
                    <a:pt x="375" y="141"/>
                  </a:cubicBezTo>
                  <a:cubicBezTo>
                    <a:pt x="375" y="141"/>
                    <a:pt x="375" y="141"/>
                    <a:pt x="375" y="141"/>
                  </a:cubicBezTo>
                  <a:cubicBezTo>
                    <a:pt x="376" y="141"/>
                    <a:pt x="376" y="141"/>
                    <a:pt x="376" y="141"/>
                  </a:cubicBezTo>
                  <a:cubicBezTo>
                    <a:pt x="376" y="141"/>
                    <a:pt x="376" y="142"/>
                    <a:pt x="376" y="142"/>
                  </a:cubicBezTo>
                  <a:cubicBezTo>
                    <a:pt x="377" y="142"/>
                    <a:pt x="377" y="142"/>
                    <a:pt x="378" y="142"/>
                  </a:cubicBezTo>
                  <a:cubicBezTo>
                    <a:pt x="378" y="142"/>
                    <a:pt x="378" y="142"/>
                    <a:pt x="378" y="142"/>
                  </a:cubicBezTo>
                  <a:cubicBezTo>
                    <a:pt x="378" y="142"/>
                    <a:pt x="378" y="142"/>
                    <a:pt x="378" y="142"/>
                  </a:cubicBezTo>
                  <a:cubicBezTo>
                    <a:pt x="378" y="143"/>
                    <a:pt x="378" y="143"/>
                    <a:pt x="378" y="143"/>
                  </a:cubicBezTo>
                  <a:cubicBezTo>
                    <a:pt x="379" y="143"/>
                    <a:pt x="379" y="143"/>
                    <a:pt x="379" y="143"/>
                  </a:cubicBezTo>
                  <a:cubicBezTo>
                    <a:pt x="379" y="143"/>
                    <a:pt x="379" y="143"/>
                    <a:pt x="379" y="143"/>
                  </a:cubicBezTo>
                  <a:cubicBezTo>
                    <a:pt x="380" y="143"/>
                    <a:pt x="380" y="143"/>
                    <a:pt x="380" y="143"/>
                  </a:cubicBezTo>
                  <a:cubicBezTo>
                    <a:pt x="381" y="144"/>
                    <a:pt x="382" y="144"/>
                    <a:pt x="383" y="144"/>
                  </a:cubicBezTo>
                  <a:cubicBezTo>
                    <a:pt x="383" y="145"/>
                    <a:pt x="382" y="146"/>
                    <a:pt x="382" y="147"/>
                  </a:cubicBezTo>
                  <a:cubicBezTo>
                    <a:pt x="382" y="147"/>
                    <a:pt x="382" y="147"/>
                    <a:pt x="381" y="147"/>
                  </a:cubicBezTo>
                  <a:cubicBezTo>
                    <a:pt x="381" y="147"/>
                    <a:pt x="381" y="148"/>
                    <a:pt x="381" y="148"/>
                  </a:cubicBezTo>
                  <a:cubicBezTo>
                    <a:pt x="381" y="148"/>
                    <a:pt x="381" y="149"/>
                    <a:pt x="380" y="149"/>
                  </a:cubicBezTo>
                  <a:cubicBezTo>
                    <a:pt x="380" y="149"/>
                    <a:pt x="380" y="149"/>
                    <a:pt x="380" y="149"/>
                  </a:cubicBezTo>
                  <a:cubicBezTo>
                    <a:pt x="380" y="150"/>
                    <a:pt x="380" y="150"/>
                    <a:pt x="380" y="150"/>
                  </a:cubicBezTo>
                  <a:cubicBezTo>
                    <a:pt x="380" y="150"/>
                    <a:pt x="379" y="151"/>
                    <a:pt x="379" y="151"/>
                  </a:cubicBezTo>
                  <a:cubicBezTo>
                    <a:pt x="379" y="151"/>
                    <a:pt x="379" y="151"/>
                    <a:pt x="379" y="151"/>
                  </a:cubicBezTo>
                  <a:cubicBezTo>
                    <a:pt x="379" y="152"/>
                    <a:pt x="379" y="152"/>
                    <a:pt x="379" y="152"/>
                  </a:cubicBezTo>
                  <a:cubicBezTo>
                    <a:pt x="378" y="152"/>
                    <a:pt x="378" y="152"/>
                    <a:pt x="378" y="153"/>
                  </a:cubicBezTo>
                  <a:cubicBezTo>
                    <a:pt x="378" y="153"/>
                    <a:pt x="378" y="153"/>
                    <a:pt x="378" y="154"/>
                  </a:cubicBezTo>
                  <a:cubicBezTo>
                    <a:pt x="377" y="154"/>
                    <a:pt x="377" y="154"/>
                    <a:pt x="377" y="154"/>
                  </a:cubicBezTo>
                  <a:cubicBezTo>
                    <a:pt x="377" y="155"/>
                    <a:pt x="377" y="155"/>
                    <a:pt x="376" y="156"/>
                  </a:cubicBezTo>
                  <a:cubicBezTo>
                    <a:pt x="376" y="156"/>
                    <a:pt x="376" y="156"/>
                    <a:pt x="376" y="156"/>
                  </a:cubicBezTo>
                  <a:cubicBezTo>
                    <a:pt x="376" y="156"/>
                    <a:pt x="376" y="156"/>
                    <a:pt x="376" y="157"/>
                  </a:cubicBezTo>
                  <a:cubicBezTo>
                    <a:pt x="376" y="157"/>
                    <a:pt x="375" y="157"/>
                    <a:pt x="375" y="157"/>
                  </a:cubicBezTo>
                  <a:cubicBezTo>
                    <a:pt x="375" y="158"/>
                    <a:pt x="375" y="158"/>
                    <a:pt x="375" y="158"/>
                  </a:cubicBezTo>
                  <a:cubicBezTo>
                    <a:pt x="375" y="159"/>
                    <a:pt x="374" y="159"/>
                    <a:pt x="374" y="159"/>
                  </a:cubicBezTo>
                  <a:cubicBezTo>
                    <a:pt x="374" y="159"/>
                    <a:pt x="374" y="160"/>
                    <a:pt x="374" y="160"/>
                  </a:cubicBezTo>
                  <a:cubicBezTo>
                    <a:pt x="374" y="160"/>
                    <a:pt x="373" y="160"/>
                    <a:pt x="373" y="160"/>
                  </a:cubicBezTo>
                  <a:cubicBezTo>
                    <a:pt x="373" y="160"/>
                    <a:pt x="373" y="161"/>
                    <a:pt x="373" y="161"/>
                  </a:cubicBezTo>
                  <a:cubicBezTo>
                    <a:pt x="373" y="161"/>
                    <a:pt x="373" y="162"/>
                    <a:pt x="372" y="162"/>
                  </a:cubicBezTo>
                  <a:cubicBezTo>
                    <a:pt x="372" y="162"/>
                    <a:pt x="372" y="163"/>
                    <a:pt x="372" y="163"/>
                  </a:cubicBezTo>
                  <a:cubicBezTo>
                    <a:pt x="372" y="163"/>
                    <a:pt x="371" y="163"/>
                    <a:pt x="371" y="163"/>
                  </a:cubicBezTo>
                  <a:cubicBezTo>
                    <a:pt x="371" y="164"/>
                    <a:pt x="371" y="164"/>
                    <a:pt x="371" y="164"/>
                  </a:cubicBezTo>
                  <a:cubicBezTo>
                    <a:pt x="371" y="164"/>
                    <a:pt x="371" y="164"/>
                    <a:pt x="371" y="164"/>
                  </a:cubicBezTo>
                  <a:cubicBezTo>
                    <a:pt x="371" y="165"/>
                    <a:pt x="371" y="165"/>
                    <a:pt x="371" y="165"/>
                  </a:cubicBezTo>
                  <a:cubicBezTo>
                    <a:pt x="370" y="165"/>
                    <a:pt x="370" y="165"/>
                    <a:pt x="370" y="165"/>
                  </a:cubicBezTo>
                  <a:cubicBezTo>
                    <a:pt x="370" y="166"/>
                    <a:pt x="371" y="169"/>
                    <a:pt x="371" y="169"/>
                  </a:cubicBezTo>
                  <a:cubicBezTo>
                    <a:pt x="371" y="170"/>
                    <a:pt x="371" y="171"/>
                    <a:pt x="371" y="171"/>
                  </a:cubicBezTo>
                  <a:cubicBezTo>
                    <a:pt x="372" y="175"/>
                    <a:pt x="372" y="179"/>
                    <a:pt x="373" y="183"/>
                  </a:cubicBezTo>
                  <a:cubicBezTo>
                    <a:pt x="374" y="188"/>
                    <a:pt x="375" y="193"/>
                    <a:pt x="376" y="198"/>
                  </a:cubicBezTo>
                  <a:cubicBezTo>
                    <a:pt x="376" y="199"/>
                    <a:pt x="377" y="203"/>
                    <a:pt x="377" y="205"/>
                  </a:cubicBezTo>
                  <a:cubicBezTo>
                    <a:pt x="377" y="205"/>
                    <a:pt x="377" y="205"/>
                    <a:pt x="376" y="205"/>
                  </a:cubicBezTo>
                  <a:cubicBezTo>
                    <a:pt x="376" y="206"/>
                    <a:pt x="376" y="207"/>
                    <a:pt x="376" y="208"/>
                  </a:cubicBezTo>
                  <a:cubicBezTo>
                    <a:pt x="376" y="208"/>
                    <a:pt x="376" y="208"/>
                    <a:pt x="376" y="208"/>
                  </a:cubicBezTo>
                  <a:cubicBezTo>
                    <a:pt x="376" y="209"/>
                    <a:pt x="376" y="210"/>
                    <a:pt x="376" y="211"/>
                  </a:cubicBezTo>
                  <a:cubicBezTo>
                    <a:pt x="375" y="213"/>
                    <a:pt x="375" y="217"/>
                    <a:pt x="375" y="220"/>
                  </a:cubicBezTo>
                  <a:cubicBezTo>
                    <a:pt x="376" y="220"/>
                    <a:pt x="376" y="220"/>
                    <a:pt x="377" y="221"/>
                  </a:cubicBezTo>
                  <a:cubicBezTo>
                    <a:pt x="377" y="221"/>
                    <a:pt x="377" y="221"/>
                    <a:pt x="377" y="221"/>
                  </a:cubicBezTo>
                  <a:cubicBezTo>
                    <a:pt x="377" y="221"/>
                    <a:pt x="378" y="221"/>
                    <a:pt x="378" y="221"/>
                  </a:cubicBezTo>
                  <a:cubicBezTo>
                    <a:pt x="378" y="222"/>
                    <a:pt x="378" y="222"/>
                    <a:pt x="379" y="222"/>
                  </a:cubicBezTo>
                  <a:cubicBezTo>
                    <a:pt x="379" y="222"/>
                    <a:pt x="380" y="222"/>
                    <a:pt x="380" y="222"/>
                  </a:cubicBezTo>
                  <a:cubicBezTo>
                    <a:pt x="380" y="223"/>
                    <a:pt x="380" y="223"/>
                    <a:pt x="380" y="223"/>
                  </a:cubicBezTo>
                  <a:cubicBezTo>
                    <a:pt x="381" y="223"/>
                    <a:pt x="381" y="223"/>
                    <a:pt x="382" y="224"/>
                  </a:cubicBezTo>
                  <a:cubicBezTo>
                    <a:pt x="382" y="224"/>
                    <a:pt x="382" y="224"/>
                    <a:pt x="382" y="224"/>
                  </a:cubicBezTo>
                  <a:cubicBezTo>
                    <a:pt x="382" y="224"/>
                    <a:pt x="383" y="224"/>
                    <a:pt x="383" y="224"/>
                  </a:cubicBezTo>
                  <a:cubicBezTo>
                    <a:pt x="383" y="224"/>
                    <a:pt x="383" y="224"/>
                    <a:pt x="383" y="225"/>
                  </a:cubicBezTo>
                  <a:cubicBezTo>
                    <a:pt x="383" y="225"/>
                    <a:pt x="383" y="225"/>
                    <a:pt x="383" y="225"/>
                  </a:cubicBezTo>
                  <a:cubicBezTo>
                    <a:pt x="384" y="225"/>
                    <a:pt x="384" y="225"/>
                    <a:pt x="384" y="225"/>
                  </a:cubicBezTo>
                  <a:cubicBezTo>
                    <a:pt x="384" y="225"/>
                    <a:pt x="385" y="226"/>
                    <a:pt x="385" y="226"/>
                  </a:cubicBezTo>
                  <a:cubicBezTo>
                    <a:pt x="385" y="226"/>
                    <a:pt x="385" y="226"/>
                    <a:pt x="386" y="226"/>
                  </a:cubicBezTo>
                  <a:cubicBezTo>
                    <a:pt x="386" y="226"/>
                    <a:pt x="386" y="226"/>
                    <a:pt x="386" y="226"/>
                  </a:cubicBezTo>
                  <a:cubicBezTo>
                    <a:pt x="386" y="226"/>
                    <a:pt x="386" y="227"/>
                    <a:pt x="386" y="227"/>
                  </a:cubicBezTo>
                  <a:cubicBezTo>
                    <a:pt x="387" y="227"/>
                    <a:pt x="387" y="227"/>
                    <a:pt x="387" y="227"/>
                  </a:cubicBezTo>
                  <a:cubicBezTo>
                    <a:pt x="387" y="227"/>
                    <a:pt x="387" y="227"/>
                    <a:pt x="387" y="227"/>
                  </a:cubicBezTo>
                  <a:cubicBezTo>
                    <a:pt x="388" y="228"/>
                    <a:pt x="388" y="228"/>
                    <a:pt x="389" y="228"/>
                  </a:cubicBezTo>
                  <a:cubicBezTo>
                    <a:pt x="389" y="228"/>
                    <a:pt x="389" y="228"/>
                    <a:pt x="389" y="228"/>
                  </a:cubicBezTo>
                  <a:cubicBezTo>
                    <a:pt x="390" y="229"/>
                    <a:pt x="390" y="229"/>
                    <a:pt x="390" y="229"/>
                  </a:cubicBezTo>
                  <a:cubicBezTo>
                    <a:pt x="391" y="229"/>
                    <a:pt x="391" y="229"/>
                    <a:pt x="391" y="229"/>
                  </a:cubicBezTo>
                  <a:cubicBezTo>
                    <a:pt x="391" y="230"/>
                    <a:pt x="392" y="230"/>
                    <a:pt x="392" y="230"/>
                  </a:cubicBezTo>
                  <a:cubicBezTo>
                    <a:pt x="392" y="230"/>
                    <a:pt x="392" y="230"/>
                    <a:pt x="393" y="231"/>
                  </a:cubicBezTo>
                  <a:cubicBezTo>
                    <a:pt x="393" y="231"/>
                    <a:pt x="394" y="231"/>
                    <a:pt x="394" y="231"/>
                  </a:cubicBezTo>
                  <a:cubicBezTo>
                    <a:pt x="394" y="231"/>
                    <a:pt x="394" y="231"/>
                    <a:pt x="394" y="232"/>
                  </a:cubicBezTo>
                  <a:cubicBezTo>
                    <a:pt x="395" y="232"/>
                    <a:pt x="395" y="232"/>
                    <a:pt x="396" y="232"/>
                  </a:cubicBezTo>
                  <a:cubicBezTo>
                    <a:pt x="396" y="232"/>
                    <a:pt x="396" y="232"/>
                    <a:pt x="396" y="233"/>
                  </a:cubicBezTo>
                  <a:cubicBezTo>
                    <a:pt x="397" y="233"/>
                    <a:pt x="397" y="233"/>
                    <a:pt x="397" y="233"/>
                  </a:cubicBezTo>
                  <a:cubicBezTo>
                    <a:pt x="398" y="233"/>
                    <a:pt x="398" y="233"/>
                    <a:pt x="398" y="234"/>
                  </a:cubicBezTo>
                  <a:cubicBezTo>
                    <a:pt x="398" y="234"/>
                    <a:pt x="399" y="234"/>
                    <a:pt x="399" y="234"/>
                  </a:cubicBezTo>
                  <a:cubicBezTo>
                    <a:pt x="399" y="234"/>
                    <a:pt x="399" y="234"/>
                    <a:pt x="399" y="234"/>
                  </a:cubicBezTo>
                  <a:cubicBezTo>
                    <a:pt x="401" y="235"/>
                    <a:pt x="401" y="233"/>
                    <a:pt x="402" y="234"/>
                  </a:cubicBezTo>
                  <a:cubicBezTo>
                    <a:pt x="403" y="235"/>
                    <a:pt x="402" y="237"/>
                    <a:pt x="403" y="239"/>
                  </a:cubicBezTo>
                  <a:cubicBezTo>
                    <a:pt x="403" y="239"/>
                    <a:pt x="403" y="239"/>
                    <a:pt x="403" y="239"/>
                  </a:cubicBezTo>
                  <a:cubicBezTo>
                    <a:pt x="403" y="240"/>
                    <a:pt x="403" y="241"/>
                    <a:pt x="403" y="241"/>
                  </a:cubicBezTo>
                  <a:cubicBezTo>
                    <a:pt x="403" y="241"/>
                    <a:pt x="403" y="241"/>
                    <a:pt x="403" y="241"/>
                  </a:cubicBezTo>
                  <a:cubicBezTo>
                    <a:pt x="403" y="242"/>
                    <a:pt x="403" y="243"/>
                    <a:pt x="403" y="244"/>
                  </a:cubicBezTo>
                  <a:cubicBezTo>
                    <a:pt x="404" y="247"/>
                    <a:pt x="404" y="251"/>
                    <a:pt x="405" y="254"/>
                  </a:cubicBezTo>
                  <a:cubicBezTo>
                    <a:pt x="405" y="254"/>
                    <a:pt x="405" y="255"/>
                    <a:pt x="405" y="256"/>
                  </a:cubicBezTo>
                  <a:cubicBezTo>
                    <a:pt x="406" y="260"/>
                    <a:pt x="407" y="264"/>
                    <a:pt x="408" y="267"/>
                  </a:cubicBezTo>
                  <a:cubicBezTo>
                    <a:pt x="408" y="268"/>
                    <a:pt x="409" y="269"/>
                    <a:pt x="409" y="270"/>
                  </a:cubicBezTo>
                  <a:cubicBezTo>
                    <a:pt x="409" y="270"/>
                    <a:pt x="409" y="270"/>
                    <a:pt x="409" y="270"/>
                  </a:cubicBezTo>
                  <a:cubicBezTo>
                    <a:pt x="409" y="271"/>
                    <a:pt x="409" y="271"/>
                    <a:pt x="409" y="271"/>
                  </a:cubicBezTo>
                  <a:cubicBezTo>
                    <a:pt x="409" y="271"/>
                    <a:pt x="409" y="271"/>
                    <a:pt x="409" y="271"/>
                  </a:cubicBezTo>
                  <a:cubicBezTo>
                    <a:pt x="409" y="272"/>
                    <a:pt x="409" y="272"/>
                    <a:pt x="409" y="273"/>
                  </a:cubicBezTo>
                  <a:cubicBezTo>
                    <a:pt x="409" y="273"/>
                    <a:pt x="410" y="273"/>
                    <a:pt x="410" y="273"/>
                  </a:cubicBezTo>
                  <a:cubicBezTo>
                    <a:pt x="410" y="273"/>
                    <a:pt x="410" y="274"/>
                    <a:pt x="410" y="274"/>
                  </a:cubicBezTo>
                  <a:cubicBezTo>
                    <a:pt x="410" y="274"/>
                    <a:pt x="410" y="274"/>
                    <a:pt x="410" y="274"/>
                  </a:cubicBezTo>
                  <a:cubicBezTo>
                    <a:pt x="410" y="275"/>
                    <a:pt x="410" y="275"/>
                    <a:pt x="410" y="276"/>
                  </a:cubicBezTo>
                  <a:cubicBezTo>
                    <a:pt x="410" y="276"/>
                    <a:pt x="411" y="276"/>
                    <a:pt x="411" y="276"/>
                  </a:cubicBezTo>
                  <a:cubicBezTo>
                    <a:pt x="411" y="277"/>
                    <a:pt x="411" y="276"/>
                    <a:pt x="410" y="277"/>
                  </a:cubicBezTo>
                  <a:cubicBezTo>
                    <a:pt x="410" y="278"/>
                    <a:pt x="410" y="278"/>
                    <a:pt x="409" y="278"/>
                  </a:cubicBezTo>
                  <a:cubicBezTo>
                    <a:pt x="409" y="278"/>
                    <a:pt x="409" y="278"/>
                    <a:pt x="409" y="278"/>
                  </a:cubicBezTo>
                  <a:cubicBezTo>
                    <a:pt x="409" y="279"/>
                    <a:pt x="409" y="279"/>
                    <a:pt x="409" y="279"/>
                  </a:cubicBezTo>
                  <a:cubicBezTo>
                    <a:pt x="409" y="279"/>
                    <a:pt x="409" y="279"/>
                    <a:pt x="408" y="279"/>
                  </a:cubicBezTo>
                  <a:cubicBezTo>
                    <a:pt x="408" y="280"/>
                    <a:pt x="408" y="280"/>
                    <a:pt x="408" y="281"/>
                  </a:cubicBezTo>
                  <a:cubicBezTo>
                    <a:pt x="407" y="281"/>
                    <a:pt x="407" y="281"/>
                    <a:pt x="407" y="281"/>
                  </a:cubicBezTo>
                  <a:cubicBezTo>
                    <a:pt x="407" y="281"/>
                    <a:pt x="407" y="281"/>
                    <a:pt x="407" y="281"/>
                  </a:cubicBezTo>
                  <a:cubicBezTo>
                    <a:pt x="407" y="281"/>
                    <a:pt x="407" y="281"/>
                    <a:pt x="407" y="281"/>
                  </a:cubicBezTo>
                  <a:cubicBezTo>
                    <a:pt x="406" y="282"/>
                    <a:pt x="406" y="282"/>
                    <a:pt x="406" y="283"/>
                  </a:cubicBezTo>
                  <a:cubicBezTo>
                    <a:pt x="394" y="284"/>
                    <a:pt x="382" y="285"/>
                    <a:pt x="371" y="286"/>
                  </a:cubicBezTo>
                  <a:cubicBezTo>
                    <a:pt x="367" y="287"/>
                    <a:pt x="362" y="287"/>
                    <a:pt x="358" y="289"/>
                  </a:cubicBezTo>
                  <a:cubicBezTo>
                    <a:pt x="357" y="289"/>
                    <a:pt x="357" y="289"/>
                    <a:pt x="356" y="289"/>
                  </a:cubicBezTo>
                  <a:cubicBezTo>
                    <a:pt x="353" y="289"/>
                    <a:pt x="350" y="290"/>
                    <a:pt x="347" y="290"/>
                  </a:cubicBezTo>
                  <a:cubicBezTo>
                    <a:pt x="347" y="297"/>
                    <a:pt x="347" y="303"/>
                    <a:pt x="347" y="309"/>
                  </a:cubicBezTo>
                  <a:cubicBezTo>
                    <a:pt x="347" y="309"/>
                    <a:pt x="346" y="309"/>
                    <a:pt x="346" y="309"/>
                  </a:cubicBezTo>
                  <a:cubicBezTo>
                    <a:pt x="346" y="309"/>
                    <a:pt x="346" y="309"/>
                    <a:pt x="346" y="310"/>
                  </a:cubicBezTo>
                  <a:cubicBezTo>
                    <a:pt x="346" y="310"/>
                    <a:pt x="346" y="310"/>
                    <a:pt x="345" y="310"/>
                  </a:cubicBezTo>
                  <a:cubicBezTo>
                    <a:pt x="345" y="310"/>
                    <a:pt x="345" y="310"/>
                    <a:pt x="345" y="310"/>
                  </a:cubicBezTo>
                  <a:cubicBezTo>
                    <a:pt x="344" y="311"/>
                    <a:pt x="344" y="311"/>
                    <a:pt x="343" y="311"/>
                  </a:cubicBezTo>
                  <a:cubicBezTo>
                    <a:pt x="343" y="311"/>
                    <a:pt x="343" y="311"/>
                    <a:pt x="343" y="311"/>
                  </a:cubicBezTo>
                  <a:cubicBezTo>
                    <a:pt x="343" y="311"/>
                    <a:pt x="342" y="311"/>
                    <a:pt x="342" y="311"/>
                  </a:cubicBezTo>
                  <a:cubicBezTo>
                    <a:pt x="342" y="311"/>
                    <a:pt x="342" y="312"/>
                    <a:pt x="342" y="312"/>
                  </a:cubicBezTo>
                  <a:cubicBezTo>
                    <a:pt x="342" y="312"/>
                    <a:pt x="342" y="312"/>
                    <a:pt x="342" y="312"/>
                  </a:cubicBezTo>
                  <a:cubicBezTo>
                    <a:pt x="342" y="312"/>
                    <a:pt x="342" y="312"/>
                    <a:pt x="342" y="312"/>
                  </a:cubicBezTo>
                  <a:cubicBezTo>
                    <a:pt x="341" y="312"/>
                    <a:pt x="341" y="312"/>
                    <a:pt x="341" y="312"/>
                  </a:cubicBezTo>
                  <a:cubicBezTo>
                    <a:pt x="341" y="312"/>
                    <a:pt x="341" y="312"/>
                    <a:pt x="341" y="312"/>
                  </a:cubicBezTo>
                  <a:cubicBezTo>
                    <a:pt x="341" y="312"/>
                    <a:pt x="340" y="312"/>
                    <a:pt x="340" y="312"/>
                  </a:cubicBezTo>
                  <a:cubicBezTo>
                    <a:pt x="340" y="312"/>
                    <a:pt x="340" y="313"/>
                    <a:pt x="340" y="313"/>
                  </a:cubicBezTo>
                  <a:cubicBezTo>
                    <a:pt x="340" y="313"/>
                    <a:pt x="340" y="313"/>
                    <a:pt x="339" y="313"/>
                  </a:cubicBezTo>
                  <a:cubicBezTo>
                    <a:pt x="339" y="313"/>
                    <a:pt x="339" y="313"/>
                    <a:pt x="339" y="313"/>
                  </a:cubicBezTo>
                  <a:cubicBezTo>
                    <a:pt x="339" y="313"/>
                    <a:pt x="339" y="313"/>
                    <a:pt x="338" y="313"/>
                  </a:cubicBezTo>
                  <a:cubicBezTo>
                    <a:pt x="338" y="314"/>
                    <a:pt x="338" y="314"/>
                    <a:pt x="338" y="314"/>
                  </a:cubicBezTo>
                  <a:cubicBezTo>
                    <a:pt x="338" y="314"/>
                    <a:pt x="338" y="314"/>
                    <a:pt x="338" y="314"/>
                  </a:cubicBezTo>
                  <a:cubicBezTo>
                    <a:pt x="338" y="314"/>
                    <a:pt x="338" y="314"/>
                    <a:pt x="338" y="314"/>
                  </a:cubicBezTo>
                  <a:cubicBezTo>
                    <a:pt x="337" y="314"/>
                    <a:pt x="337" y="314"/>
                    <a:pt x="337" y="314"/>
                  </a:cubicBezTo>
                  <a:cubicBezTo>
                    <a:pt x="337" y="314"/>
                    <a:pt x="337" y="314"/>
                    <a:pt x="337" y="314"/>
                  </a:cubicBezTo>
                  <a:cubicBezTo>
                    <a:pt x="337" y="314"/>
                    <a:pt x="337" y="314"/>
                    <a:pt x="336" y="314"/>
                  </a:cubicBezTo>
                  <a:cubicBezTo>
                    <a:pt x="336" y="315"/>
                    <a:pt x="336" y="315"/>
                    <a:pt x="336" y="315"/>
                  </a:cubicBezTo>
                  <a:cubicBezTo>
                    <a:pt x="336" y="315"/>
                    <a:pt x="336" y="315"/>
                    <a:pt x="336" y="315"/>
                  </a:cubicBezTo>
                  <a:cubicBezTo>
                    <a:pt x="336" y="315"/>
                    <a:pt x="336" y="315"/>
                    <a:pt x="336" y="315"/>
                  </a:cubicBezTo>
                  <a:cubicBezTo>
                    <a:pt x="335" y="315"/>
                    <a:pt x="335" y="315"/>
                    <a:pt x="334" y="316"/>
                  </a:cubicBezTo>
                  <a:cubicBezTo>
                    <a:pt x="334" y="316"/>
                    <a:pt x="334" y="316"/>
                    <a:pt x="334" y="316"/>
                  </a:cubicBezTo>
                  <a:cubicBezTo>
                    <a:pt x="333" y="316"/>
                    <a:pt x="333" y="316"/>
                    <a:pt x="332" y="317"/>
                  </a:cubicBezTo>
                  <a:cubicBezTo>
                    <a:pt x="332" y="317"/>
                    <a:pt x="332" y="317"/>
                    <a:pt x="332" y="317"/>
                  </a:cubicBezTo>
                  <a:cubicBezTo>
                    <a:pt x="328" y="317"/>
                    <a:pt x="323" y="318"/>
                    <a:pt x="318" y="318"/>
                  </a:cubicBezTo>
                  <a:cubicBezTo>
                    <a:pt x="316" y="318"/>
                    <a:pt x="310" y="319"/>
                    <a:pt x="309" y="319"/>
                  </a:cubicBezTo>
                  <a:cubicBezTo>
                    <a:pt x="306" y="317"/>
                    <a:pt x="304" y="315"/>
                    <a:pt x="302" y="313"/>
                  </a:cubicBezTo>
                  <a:cubicBezTo>
                    <a:pt x="300" y="311"/>
                    <a:pt x="298" y="309"/>
                    <a:pt x="296" y="307"/>
                  </a:cubicBezTo>
                  <a:cubicBezTo>
                    <a:pt x="294" y="305"/>
                    <a:pt x="293" y="304"/>
                    <a:pt x="291" y="302"/>
                  </a:cubicBezTo>
                  <a:cubicBezTo>
                    <a:pt x="291" y="302"/>
                    <a:pt x="290" y="302"/>
                    <a:pt x="289" y="302"/>
                  </a:cubicBezTo>
                  <a:cubicBezTo>
                    <a:pt x="289" y="301"/>
                    <a:pt x="287" y="302"/>
                    <a:pt x="286" y="302"/>
                  </a:cubicBezTo>
                  <a:cubicBezTo>
                    <a:pt x="286" y="301"/>
                    <a:pt x="286" y="301"/>
                    <a:pt x="286" y="301"/>
                  </a:cubicBezTo>
                  <a:cubicBezTo>
                    <a:pt x="285" y="301"/>
                    <a:pt x="283" y="301"/>
                    <a:pt x="282" y="301"/>
                  </a:cubicBezTo>
                  <a:cubicBezTo>
                    <a:pt x="282" y="301"/>
                    <a:pt x="282" y="301"/>
                    <a:pt x="282" y="301"/>
                  </a:cubicBezTo>
                  <a:cubicBezTo>
                    <a:pt x="282" y="301"/>
                    <a:pt x="282" y="301"/>
                    <a:pt x="282" y="301"/>
                  </a:cubicBezTo>
                  <a:cubicBezTo>
                    <a:pt x="282" y="301"/>
                    <a:pt x="282" y="301"/>
                    <a:pt x="282" y="300"/>
                  </a:cubicBezTo>
                  <a:cubicBezTo>
                    <a:pt x="281" y="300"/>
                    <a:pt x="281" y="300"/>
                    <a:pt x="281" y="300"/>
                  </a:cubicBezTo>
                  <a:cubicBezTo>
                    <a:pt x="281" y="300"/>
                    <a:pt x="281" y="300"/>
                    <a:pt x="281" y="300"/>
                  </a:cubicBezTo>
                  <a:cubicBezTo>
                    <a:pt x="280" y="300"/>
                    <a:pt x="280" y="300"/>
                    <a:pt x="280" y="300"/>
                  </a:cubicBezTo>
                  <a:cubicBezTo>
                    <a:pt x="280" y="300"/>
                    <a:pt x="280" y="300"/>
                    <a:pt x="280" y="300"/>
                  </a:cubicBezTo>
                  <a:cubicBezTo>
                    <a:pt x="279" y="300"/>
                    <a:pt x="279" y="300"/>
                    <a:pt x="279" y="300"/>
                  </a:cubicBezTo>
                  <a:cubicBezTo>
                    <a:pt x="279" y="300"/>
                    <a:pt x="279" y="300"/>
                    <a:pt x="279" y="299"/>
                  </a:cubicBezTo>
                  <a:cubicBezTo>
                    <a:pt x="278" y="299"/>
                    <a:pt x="278" y="299"/>
                    <a:pt x="277" y="299"/>
                  </a:cubicBezTo>
                  <a:cubicBezTo>
                    <a:pt x="277" y="299"/>
                    <a:pt x="277" y="299"/>
                    <a:pt x="277" y="299"/>
                  </a:cubicBezTo>
                  <a:cubicBezTo>
                    <a:pt x="277" y="299"/>
                    <a:pt x="276" y="299"/>
                    <a:pt x="276" y="299"/>
                  </a:cubicBezTo>
                  <a:cubicBezTo>
                    <a:pt x="276" y="299"/>
                    <a:pt x="276" y="298"/>
                    <a:pt x="276" y="298"/>
                  </a:cubicBezTo>
                  <a:cubicBezTo>
                    <a:pt x="275" y="298"/>
                    <a:pt x="275" y="298"/>
                    <a:pt x="274" y="298"/>
                  </a:cubicBezTo>
                  <a:cubicBezTo>
                    <a:pt x="274" y="298"/>
                    <a:pt x="274" y="298"/>
                    <a:pt x="274" y="298"/>
                  </a:cubicBezTo>
                  <a:cubicBezTo>
                    <a:pt x="274" y="298"/>
                    <a:pt x="274" y="298"/>
                    <a:pt x="273" y="298"/>
                  </a:cubicBezTo>
                  <a:cubicBezTo>
                    <a:pt x="273" y="298"/>
                    <a:pt x="273" y="297"/>
                    <a:pt x="273" y="297"/>
                  </a:cubicBezTo>
                  <a:cubicBezTo>
                    <a:pt x="273" y="297"/>
                    <a:pt x="273" y="297"/>
                    <a:pt x="272" y="297"/>
                  </a:cubicBezTo>
                  <a:cubicBezTo>
                    <a:pt x="272" y="297"/>
                    <a:pt x="272" y="297"/>
                    <a:pt x="272" y="297"/>
                  </a:cubicBezTo>
                  <a:cubicBezTo>
                    <a:pt x="272" y="297"/>
                    <a:pt x="272" y="297"/>
                    <a:pt x="271" y="297"/>
                  </a:cubicBezTo>
                  <a:cubicBezTo>
                    <a:pt x="271" y="297"/>
                    <a:pt x="271" y="297"/>
                    <a:pt x="271" y="297"/>
                  </a:cubicBezTo>
                  <a:cubicBezTo>
                    <a:pt x="271" y="297"/>
                    <a:pt x="270" y="297"/>
                    <a:pt x="270" y="297"/>
                  </a:cubicBezTo>
                  <a:cubicBezTo>
                    <a:pt x="270" y="297"/>
                    <a:pt x="270" y="296"/>
                    <a:pt x="270" y="296"/>
                  </a:cubicBezTo>
                  <a:cubicBezTo>
                    <a:pt x="269" y="296"/>
                    <a:pt x="269" y="296"/>
                    <a:pt x="268" y="296"/>
                  </a:cubicBezTo>
                  <a:cubicBezTo>
                    <a:pt x="268" y="296"/>
                    <a:pt x="268" y="296"/>
                    <a:pt x="268" y="296"/>
                  </a:cubicBezTo>
                  <a:cubicBezTo>
                    <a:pt x="267" y="296"/>
                    <a:pt x="266" y="296"/>
                    <a:pt x="265" y="296"/>
                  </a:cubicBezTo>
                  <a:cubicBezTo>
                    <a:pt x="265" y="295"/>
                    <a:pt x="265" y="295"/>
                    <a:pt x="265" y="295"/>
                  </a:cubicBezTo>
                  <a:cubicBezTo>
                    <a:pt x="264" y="295"/>
                    <a:pt x="264" y="295"/>
                    <a:pt x="264" y="295"/>
                  </a:cubicBezTo>
                  <a:cubicBezTo>
                    <a:pt x="264" y="295"/>
                    <a:pt x="264" y="295"/>
                    <a:pt x="264" y="295"/>
                  </a:cubicBezTo>
                  <a:cubicBezTo>
                    <a:pt x="262" y="295"/>
                    <a:pt x="261" y="295"/>
                    <a:pt x="260" y="295"/>
                  </a:cubicBezTo>
                  <a:cubicBezTo>
                    <a:pt x="260" y="294"/>
                    <a:pt x="260" y="294"/>
                    <a:pt x="260" y="294"/>
                  </a:cubicBezTo>
                  <a:cubicBezTo>
                    <a:pt x="259" y="294"/>
                    <a:pt x="258" y="294"/>
                    <a:pt x="257" y="294"/>
                  </a:cubicBezTo>
                  <a:cubicBezTo>
                    <a:pt x="257" y="294"/>
                    <a:pt x="257" y="294"/>
                    <a:pt x="257" y="293"/>
                  </a:cubicBezTo>
                  <a:cubicBezTo>
                    <a:pt x="254" y="293"/>
                    <a:pt x="251" y="292"/>
                    <a:pt x="247" y="292"/>
                  </a:cubicBezTo>
                  <a:cubicBezTo>
                    <a:pt x="247" y="293"/>
                    <a:pt x="245" y="293"/>
                    <a:pt x="244" y="294"/>
                  </a:cubicBezTo>
                  <a:cubicBezTo>
                    <a:pt x="244" y="294"/>
                    <a:pt x="244" y="294"/>
                    <a:pt x="244" y="295"/>
                  </a:cubicBezTo>
                  <a:cubicBezTo>
                    <a:pt x="243" y="295"/>
                    <a:pt x="243" y="295"/>
                    <a:pt x="243" y="295"/>
                  </a:cubicBezTo>
                  <a:cubicBezTo>
                    <a:pt x="243" y="295"/>
                    <a:pt x="243" y="295"/>
                    <a:pt x="243" y="295"/>
                  </a:cubicBezTo>
                  <a:cubicBezTo>
                    <a:pt x="242" y="295"/>
                    <a:pt x="242" y="295"/>
                    <a:pt x="241" y="296"/>
                  </a:cubicBezTo>
                  <a:cubicBezTo>
                    <a:pt x="241" y="296"/>
                    <a:pt x="241" y="296"/>
                    <a:pt x="241" y="296"/>
                  </a:cubicBezTo>
                  <a:cubicBezTo>
                    <a:pt x="241" y="296"/>
                    <a:pt x="241" y="296"/>
                    <a:pt x="240" y="296"/>
                  </a:cubicBezTo>
                  <a:cubicBezTo>
                    <a:pt x="240" y="297"/>
                    <a:pt x="240" y="297"/>
                    <a:pt x="240" y="297"/>
                  </a:cubicBezTo>
                  <a:cubicBezTo>
                    <a:pt x="240" y="297"/>
                    <a:pt x="240" y="297"/>
                    <a:pt x="239" y="297"/>
                  </a:cubicBezTo>
                  <a:cubicBezTo>
                    <a:pt x="239" y="297"/>
                    <a:pt x="239" y="297"/>
                    <a:pt x="239" y="298"/>
                  </a:cubicBezTo>
                  <a:cubicBezTo>
                    <a:pt x="239" y="298"/>
                    <a:pt x="239" y="298"/>
                    <a:pt x="238" y="298"/>
                  </a:cubicBezTo>
                  <a:cubicBezTo>
                    <a:pt x="238" y="298"/>
                    <a:pt x="238" y="298"/>
                    <a:pt x="238" y="298"/>
                  </a:cubicBezTo>
                  <a:cubicBezTo>
                    <a:pt x="238" y="298"/>
                    <a:pt x="237" y="299"/>
                    <a:pt x="237" y="299"/>
                  </a:cubicBezTo>
                  <a:cubicBezTo>
                    <a:pt x="236" y="299"/>
                    <a:pt x="236" y="299"/>
                    <a:pt x="236" y="299"/>
                  </a:cubicBezTo>
                  <a:cubicBezTo>
                    <a:pt x="236" y="299"/>
                    <a:pt x="236" y="299"/>
                    <a:pt x="236" y="299"/>
                  </a:cubicBezTo>
                  <a:cubicBezTo>
                    <a:pt x="235" y="300"/>
                    <a:pt x="234" y="302"/>
                    <a:pt x="234" y="303"/>
                  </a:cubicBezTo>
                  <a:cubicBezTo>
                    <a:pt x="234" y="303"/>
                    <a:pt x="234" y="303"/>
                    <a:pt x="233" y="303"/>
                  </a:cubicBezTo>
                  <a:cubicBezTo>
                    <a:pt x="233" y="303"/>
                    <a:pt x="233" y="303"/>
                    <a:pt x="233" y="304"/>
                  </a:cubicBezTo>
                  <a:cubicBezTo>
                    <a:pt x="233" y="304"/>
                    <a:pt x="233" y="304"/>
                    <a:pt x="232" y="304"/>
                  </a:cubicBezTo>
                  <a:cubicBezTo>
                    <a:pt x="232" y="304"/>
                    <a:pt x="232" y="304"/>
                    <a:pt x="232" y="305"/>
                  </a:cubicBezTo>
                  <a:cubicBezTo>
                    <a:pt x="232" y="305"/>
                    <a:pt x="232" y="305"/>
                    <a:pt x="231" y="305"/>
                  </a:cubicBezTo>
                  <a:cubicBezTo>
                    <a:pt x="231" y="306"/>
                    <a:pt x="231" y="306"/>
                    <a:pt x="231" y="306"/>
                  </a:cubicBezTo>
                  <a:cubicBezTo>
                    <a:pt x="231" y="306"/>
                    <a:pt x="231" y="306"/>
                    <a:pt x="231" y="306"/>
                  </a:cubicBezTo>
                  <a:cubicBezTo>
                    <a:pt x="231" y="307"/>
                    <a:pt x="231" y="307"/>
                    <a:pt x="231" y="307"/>
                  </a:cubicBezTo>
                  <a:cubicBezTo>
                    <a:pt x="230" y="307"/>
                    <a:pt x="230" y="307"/>
                    <a:pt x="230" y="307"/>
                  </a:cubicBezTo>
                  <a:cubicBezTo>
                    <a:pt x="230" y="308"/>
                    <a:pt x="230" y="308"/>
                    <a:pt x="230" y="308"/>
                  </a:cubicBezTo>
                  <a:cubicBezTo>
                    <a:pt x="230" y="308"/>
                    <a:pt x="230" y="308"/>
                    <a:pt x="230" y="308"/>
                  </a:cubicBezTo>
                  <a:cubicBezTo>
                    <a:pt x="229" y="309"/>
                    <a:pt x="229" y="309"/>
                    <a:pt x="229" y="309"/>
                  </a:cubicBezTo>
                  <a:cubicBezTo>
                    <a:pt x="229" y="309"/>
                    <a:pt x="229" y="309"/>
                    <a:pt x="229" y="310"/>
                  </a:cubicBezTo>
                  <a:cubicBezTo>
                    <a:pt x="229" y="310"/>
                    <a:pt x="229" y="310"/>
                    <a:pt x="229" y="310"/>
                  </a:cubicBezTo>
                  <a:cubicBezTo>
                    <a:pt x="228" y="311"/>
                    <a:pt x="227" y="311"/>
                    <a:pt x="226" y="312"/>
                  </a:cubicBezTo>
                  <a:cubicBezTo>
                    <a:pt x="226" y="312"/>
                    <a:pt x="226" y="312"/>
                    <a:pt x="226" y="312"/>
                  </a:cubicBezTo>
                  <a:cubicBezTo>
                    <a:pt x="226" y="312"/>
                    <a:pt x="226" y="312"/>
                    <a:pt x="225" y="313"/>
                  </a:cubicBezTo>
                  <a:cubicBezTo>
                    <a:pt x="225" y="313"/>
                    <a:pt x="225" y="313"/>
                    <a:pt x="225" y="313"/>
                  </a:cubicBezTo>
                  <a:cubicBezTo>
                    <a:pt x="225" y="313"/>
                    <a:pt x="225" y="313"/>
                    <a:pt x="225" y="313"/>
                  </a:cubicBezTo>
                  <a:cubicBezTo>
                    <a:pt x="224" y="313"/>
                    <a:pt x="224" y="313"/>
                    <a:pt x="224" y="313"/>
                  </a:cubicBezTo>
                  <a:cubicBezTo>
                    <a:pt x="224" y="313"/>
                    <a:pt x="224" y="313"/>
                    <a:pt x="224" y="313"/>
                  </a:cubicBezTo>
                  <a:cubicBezTo>
                    <a:pt x="224" y="313"/>
                    <a:pt x="224" y="313"/>
                    <a:pt x="223" y="313"/>
                  </a:cubicBezTo>
                  <a:cubicBezTo>
                    <a:pt x="223" y="314"/>
                    <a:pt x="223" y="314"/>
                    <a:pt x="223" y="314"/>
                  </a:cubicBezTo>
                  <a:cubicBezTo>
                    <a:pt x="223" y="314"/>
                    <a:pt x="222" y="314"/>
                    <a:pt x="222" y="314"/>
                  </a:cubicBezTo>
                  <a:cubicBezTo>
                    <a:pt x="222" y="314"/>
                    <a:pt x="222" y="314"/>
                    <a:pt x="222" y="314"/>
                  </a:cubicBezTo>
                  <a:cubicBezTo>
                    <a:pt x="222" y="314"/>
                    <a:pt x="222" y="314"/>
                    <a:pt x="222" y="314"/>
                  </a:cubicBezTo>
                  <a:cubicBezTo>
                    <a:pt x="222" y="315"/>
                    <a:pt x="222" y="315"/>
                    <a:pt x="222" y="315"/>
                  </a:cubicBezTo>
                  <a:cubicBezTo>
                    <a:pt x="221" y="315"/>
                    <a:pt x="221" y="315"/>
                    <a:pt x="221" y="315"/>
                  </a:cubicBezTo>
                  <a:cubicBezTo>
                    <a:pt x="221" y="315"/>
                    <a:pt x="221" y="315"/>
                    <a:pt x="221" y="315"/>
                  </a:cubicBezTo>
                  <a:cubicBezTo>
                    <a:pt x="221" y="315"/>
                    <a:pt x="220" y="315"/>
                    <a:pt x="220" y="315"/>
                  </a:cubicBezTo>
                  <a:cubicBezTo>
                    <a:pt x="220" y="315"/>
                    <a:pt x="220" y="316"/>
                    <a:pt x="220" y="316"/>
                  </a:cubicBezTo>
                  <a:cubicBezTo>
                    <a:pt x="219" y="316"/>
                    <a:pt x="218" y="316"/>
                    <a:pt x="218" y="317"/>
                  </a:cubicBezTo>
                  <a:cubicBezTo>
                    <a:pt x="218" y="317"/>
                    <a:pt x="217" y="317"/>
                    <a:pt x="217" y="317"/>
                  </a:cubicBezTo>
                  <a:cubicBezTo>
                    <a:pt x="217" y="317"/>
                    <a:pt x="216" y="318"/>
                    <a:pt x="215" y="318"/>
                  </a:cubicBezTo>
                  <a:cubicBezTo>
                    <a:pt x="215" y="318"/>
                    <a:pt x="215" y="318"/>
                    <a:pt x="215" y="319"/>
                  </a:cubicBezTo>
                  <a:cubicBezTo>
                    <a:pt x="215" y="319"/>
                    <a:pt x="214" y="319"/>
                    <a:pt x="214" y="319"/>
                  </a:cubicBezTo>
                  <a:cubicBezTo>
                    <a:pt x="214" y="319"/>
                    <a:pt x="214" y="319"/>
                    <a:pt x="214" y="319"/>
                  </a:cubicBezTo>
                  <a:cubicBezTo>
                    <a:pt x="214" y="319"/>
                    <a:pt x="214" y="319"/>
                    <a:pt x="214" y="319"/>
                  </a:cubicBezTo>
                  <a:cubicBezTo>
                    <a:pt x="214" y="319"/>
                    <a:pt x="214" y="319"/>
                    <a:pt x="214" y="319"/>
                  </a:cubicBezTo>
                  <a:cubicBezTo>
                    <a:pt x="213" y="319"/>
                    <a:pt x="213" y="319"/>
                    <a:pt x="213" y="319"/>
                  </a:cubicBezTo>
                  <a:cubicBezTo>
                    <a:pt x="213" y="319"/>
                    <a:pt x="213" y="320"/>
                    <a:pt x="213" y="320"/>
                  </a:cubicBezTo>
                  <a:cubicBezTo>
                    <a:pt x="213" y="320"/>
                    <a:pt x="212" y="320"/>
                    <a:pt x="212" y="320"/>
                  </a:cubicBezTo>
                  <a:cubicBezTo>
                    <a:pt x="212" y="320"/>
                    <a:pt x="212" y="320"/>
                    <a:pt x="212" y="320"/>
                  </a:cubicBezTo>
                  <a:cubicBezTo>
                    <a:pt x="211" y="320"/>
                    <a:pt x="211" y="320"/>
                    <a:pt x="211" y="320"/>
                  </a:cubicBezTo>
                  <a:cubicBezTo>
                    <a:pt x="211" y="321"/>
                    <a:pt x="211" y="321"/>
                    <a:pt x="211" y="321"/>
                  </a:cubicBezTo>
                  <a:cubicBezTo>
                    <a:pt x="207" y="321"/>
                    <a:pt x="204" y="321"/>
                    <a:pt x="201" y="321"/>
                  </a:cubicBezTo>
                  <a:cubicBezTo>
                    <a:pt x="200" y="321"/>
                    <a:pt x="200" y="321"/>
                    <a:pt x="199" y="321"/>
                  </a:cubicBezTo>
                  <a:cubicBezTo>
                    <a:pt x="199" y="321"/>
                    <a:pt x="199" y="321"/>
                    <a:pt x="199" y="321"/>
                  </a:cubicBezTo>
                  <a:cubicBezTo>
                    <a:pt x="198" y="321"/>
                    <a:pt x="196" y="321"/>
                    <a:pt x="195" y="321"/>
                  </a:cubicBezTo>
                  <a:cubicBezTo>
                    <a:pt x="192" y="321"/>
                    <a:pt x="190" y="321"/>
                    <a:pt x="188" y="321"/>
                  </a:cubicBezTo>
                  <a:cubicBezTo>
                    <a:pt x="188" y="321"/>
                    <a:pt x="188" y="321"/>
                    <a:pt x="188" y="321"/>
                  </a:cubicBezTo>
                  <a:cubicBezTo>
                    <a:pt x="188" y="321"/>
                    <a:pt x="187" y="321"/>
                    <a:pt x="187" y="321"/>
                  </a:cubicBezTo>
                  <a:cubicBezTo>
                    <a:pt x="187" y="321"/>
                    <a:pt x="187" y="321"/>
                    <a:pt x="187" y="321"/>
                  </a:cubicBezTo>
                  <a:cubicBezTo>
                    <a:pt x="185" y="321"/>
                    <a:pt x="182" y="320"/>
                    <a:pt x="180" y="320"/>
                  </a:cubicBezTo>
                  <a:cubicBezTo>
                    <a:pt x="177" y="320"/>
                    <a:pt x="174" y="319"/>
                    <a:pt x="172" y="319"/>
                  </a:cubicBezTo>
                  <a:cubicBezTo>
                    <a:pt x="171" y="319"/>
                    <a:pt x="171" y="319"/>
                    <a:pt x="170" y="319"/>
                  </a:cubicBezTo>
                  <a:cubicBezTo>
                    <a:pt x="170" y="319"/>
                    <a:pt x="170" y="318"/>
                    <a:pt x="170" y="318"/>
                  </a:cubicBezTo>
                  <a:cubicBezTo>
                    <a:pt x="170" y="318"/>
                    <a:pt x="170" y="318"/>
                    <a:pt x="169" y="318"/>
                  </a:cubicBezTo>
                  <a:cubicBezTo>
                    <a:pt x="169" y="318"/>
                    <a:pt x="169" y="318"/>
                    <a:pt x="169" y="318"/>
                  </a:cubicBezTo>
                  <a:cubicBezTo>
                    <a:pt x="169" y="318"/>
                    <a:pt x="169" y="319"/>
                    <a:pt x="169" y="319"/>
                  </a:cubicBezTo>
                  <a:cubicBezTo>
                    <a:pt x="168" y="320"/>
                    <a:pt x="167" y="321"/>
                    <a:pt x="165" y="322"/>
                  </a:cubicBezTo>
                  <a:cubicBezTo>
                    <a:pt x="165" y="322"/>
                    <a:pt x="165" y="323"/>
                    <a:pt x="165" y="323"/>
                  </a:cubicBezTo>
                  <a:cubicBezTo>
                    <a:pt x="165" y="323"/>
                    <a:pt x="164" y="324"/>
                    <a:pt x="163" y="325"/>
                  </a:cubicBezTo>
                  <a:cubicBezTo>
                    <a:pt x="161" y="326"/>
                    <a:pt x="159" y="328"/>
                    <a:pt x="158" y="331"/>
                  </a:cubicBezTo>
                  <a:cubicBezTo>
                    <a:pt x="157" y="332"/>
                    <a:pt x="155" y="333"/>
                    <a:pt x="154" y="334"/>
                  </a:cubicBezTo>
                  <a:cubicBezTo>
                    <a:pt x="154" y="334"/>
                    <a:pt x="154" y="335"/>
                    <a:pt x="154" y="335"/>
                  </a:cubicBezTo>
                  <a:cubicBezTo>
                    <a:pt x="154" y="335"/>
                    <a:pt x="154" y="335"/>
                    <a:pt x="154" y="335"/>
                  </a:cubicBezTo>
                  <a:cubicBezTo>
                    <a:pt x="154" y="336"/>
                    <a:pt x="153" y="336"/>
                    <a:pt x="153" y="337"/>
                  </a:cubicBezTo>
                  <a:cubicBezTo>
                    <a:pt x="153" y="337"/>
                    <a:pt x="153" y="337"/>
                    <a:pt x="153" y="337"/>
                  </a:cubicBezTo>
                  <a:cubicBezTo>
                    <a:pt x="153" y="338"/>
                    <a:pt x="153" y="340"/>
                    <a:pt x="152" y="341"/>
                  </a:cubicBezTo>
                  <a:cubicBezTo>
                    <a:pt x="152" y="341"/>
                    <a:pt x="152" y="341"/>
                    <a:pt x="152" y="341"/>
                  </a:cubicBezTo>
                  <a:cubicBezTo>
                    <a:pt x="152" y="342"/>
                    <a:pt x="152" y="343"/>
                    <a:pt x="152" y="343"/>
                  </a:cubicBezTo>
                  <a:cubicBezTo>
                    <a:pt x="151" y="343"/>
                    <a:pt x="151" y="343"/>
                    <a:pt x="151" y="343"/>
                  </a:cubicBezTo>
                  <a:cubicBezTo>
                    <a:pt x="151" y="344"/>
                    <a:pt x="151" y="344"/>
                    <a:pt x="151" y="345"/>
                  </a:cubicBezTo>
                  <a:cubicBezTo>
                    <a:pt x="151" y="345"/>
                    <a:pt x="151" y="345"/>
                    <a:pt x="151" y="345"/>
                  </a:cubicBezTo>
                  <a:cubicBezTo>
                    <a:pt x="151" y="345"/>
                    <a:pt x="151" y="346"/>
                    <a:pt x="151" y="347"/>
                  </a:cubicBezTo>
                  <a:cubicBezTo>
                    <a:pt x="150" y="347"/>
                    <a:pt x="150" y="347"/>
                    <a:pt x="150" y="347"/>
                  </a:cubicBezTo>
                  <a:cubicBezTo>
                    <a:pt x="150" y="347"/>
                    <a:pt x="150" y="347"/>
                    <a:pt x="150" y="347"/>
                  </a:cubicBezTo>
                  <a:cubicBezTo>
                    <a:pt x="150" y="347"/>
                    <a:pt x="149" y="347"/>
                    <a:pt x="148" y="347"/>
                  </a:cubicBezTo>
                  <a:cubicBezTo>
                    <a:pt x="148" y="347"/>
                    <a:pt x="145" y="347"/>
                    <a:pt x="144" y="347"/>
                  </a:cubicBezTo>
                  <a:cubicBezTo>
                    <a:pt x="141" y="347"/>
                    <a:pt x="137" y="347"/>
                    <a:pt x="134" y="347"/>
                  </a:cubicBezTo>
                  <a:cubicBezTo>
                    <a:pt x="131" y="340"/>
                    <a:pt x="129" y="333"/>
                    <a:pt x="126" y="327"/>
                  </a:cubicBezTo>
                  <a:cubicBezTo>
                    <a:pt x="124" y="317"/>
                    <a:pt x="122" y="307"/>
                    <a:pt x="120" y="298"/>
                  </a:cubicBezTo>
                  <a:cubicBezTo>
                    <a:pt x="120" y="297"/>
                    <a:pt x="119" y="297"/>
                    <a:pt x="118" y="297"/>
                  </a:cubicBezTo>
                  <a:cubicBezTo>
                    <a:pt x="118" y="296"/>
                    <a:pt x="118" y="296"/>
                    <a:pt x="118" y="296"/>
                  </a:cubicBezTo>
                  <a:cubicBezTo>
                    <a:pt x="117" y="296"/>
                    <a:pt x="117" y="296"/>
                    <a:pt x="117" y="296"/>
                  </a:cubicBezTo>
                  <a:cubicBezTo>
                    <a:pt x="117" y="296"/>
                    <a:pt x="117" y="295"/>
                    <a:pt x="117" y="295"/>
                  </a:cubicBezTo>
                  <a:cubicBezTo>
                    <a:pt x="116" y="295"/>
                    <a:pt x="116" y="295"/>
                    <a:pt x="116" y="295"/>
                  </a:cubicBezTo>
                  <a:cubicBezTo>
                    <a:pt x="116" y="295"/>
                    <a:pt x="116" y="295"/>
                    <a:pt x="116" y="295"/>
                  </a:cubicBezTo>
                  <a:cubicBezTo>
                    <a:pt x="115" y="294"/>
                    <a:pt x="115" y="294"/>
                    <a:pt x="114" y="294"/>
                  </a:cubicBezTo>
                  <a:cubicBezTo>
                    <a:pt x="114" y="294"/>
                    <a:pt x="114" y="294"/>
                    <a:pt x="114" y="293"/>
                  </a:cubicBezTo>
                  <a:cubicBezTo>
                    <a:pt x="114" y="293"/>
                    <a:pt x="113" y="293"/>
                    <a:pt x="113" y="293"/>
                  </a:cubicBezTo>
                  <a:cubicBezTo>
                    <a:pt x="113" y="293"/>
                    <a:pt x="113" y="293"/>
                    <a:pt x="113" y="293"/>
                  </a:cubicBezTo>
                  <a:cubicBezTo>
                    <a:pt x="113" y="293"/>
                    <a:pt x="112" y="293"/>
                    <a:pt x="112" y="293"/>
                  </a:cubicBezTo>
                  <a:cubicBezTo>
                    <a:pt x="112" y="293"/>
                    <a:pt x="112" y="292"/>
                    <a:pt x="112" y="292"/>
                  </a:cubicBezTo>
                  <a:cubicBezTo>
                    <a:pt x="112" y="292"/>
                    <a:pt x="111" y="292"/>
                    <a:pt x="111" y="292"/>
                  </a:cubicBezTo>
                  <a:cubicBezTo>
                    <a:pt x="111" y="292"/>
                    <a:pt x="111" y="292"/>
                    <a:pt x="111" y="291"/>
                  </a:cubicBezTo>
                  <a:cubicBezTo>
                    <a:pt x="110" y="291"/>
                    <a:pt x="110" y="291"/>
                    <a:pt x="109" y="291"/>
                  </a:cubicBezTo>
                  <a:cubicBezTo>
                    <a:pt x="109" y="291"/>
                    <a:pt x="109" y="291"/>
                    <a:pt x="109" y="291"/>
                  </a:cubicBezTo>
                  <a:cubicBezTo>
                    <a:pt x="109" y="291"/>
                    <a:pt x="109" y="290"/>
                    <a:pt x="108" y="290"/>
                  </a:cubicBezTo>
                  <a:cubicBezTo>
                    <a:pt x="108" y="290"/>
                    <a:pt x="108" y="290"/>
                    <a:pt x="108" y="290"/>
                  </a:cubicBezTo>
                  <a:cubicBezTo>
                    <a:pt x="108" y="290"/>
                    <a:pt x="107" y="290"/>
                    <a:pt x="107" y="290"/>
                  </a:cubicBezTo>
                  <a:cubicBezTo>
                    <a:pt x="107" y="289"/>
                    <a:pt x="107" y="289"/>
                    <a:pt x="107" y="289"/>
                  </a:cubicBezTo>
                  <a:cubicBezTo>
                    <a:pt x="107" y="289"/>
                    <a:pt x="106" y="289"/>
                    <a:pt x="106" y="289"/>
                  </a:cubicBezTo>
                  <a:cubicBezTo>
                    <a:pt x="106" y="289"/>
                    <a:pt x="106" y="288"/>
                    <a:pt x="106" y="288"/>
                  </a:cubicBezTo>
                  <a:cubicBezTo>
                    <a:pt x="105" y="288"/>
                    <a:pt x="105" y="288"/>
                    <a:pt x="104" y="288"/>
                  </a:cubicBezTo>
                  <a:cubicBezTo>
                    <a:pt x="104" y="288"/>
                    <a:pt x="104" y="287"/>
                    <a:pt x="104" y="287"/>
                  </a:cubicBezTo>
                  <a:cubicBezTo>
                    <a:pt x="104" y="287"/>
                    <a:pt x="104" y="287"/>
                    <a:pt x="103" y="287"/>
                  </a:cubicBezTo>
                  <a:cubicBezTo>
                    <a:pt x="103" y="287"/>
                    <a:pt x="103" y="287"/>
                    <a:pt x="103" y="287"/>
                  </a:cubicBezTo>
                  <a:cubicBezTo>
                    <a:pt x="103" y="286"/>
                    <a:pt x="102" y="287"/>
                    <a:pt x="102" y="286"/>
                  </a:cubicBezTo>
                  <a:cubicBezTo>
                    <a:pt x="101" y="287"/>
                    <a:pt x="101" y="287"/>
                    <a:pt x="100" y="287"/>
                  </a:cubicBezTo>
                  <a:cubicBezTo>
                    <a:pt x="100" y="287"/>
                    <a:pt x="100" y="287"/>
                    <a:pt x="100" y="288"/>
                  </a:cubicBezTo>
                  <a:cubicBezTo>
                    <a:pt x="100" y="288"/>
                    <a:pt x="100" y="288"/>
                    <a:pt x="100" y="288"/>
                  </a:cubicBezTo>
                  <a:cubicBezTo>
                    <a:pt x="100" y="288"/>
                    <a:pt x="100" y="288"/>
                    <a:pt x="100" y="288"/>
                  </a:cubicBezTo>
                  <a:cubicBezTo>
                    <a:pt x="99" y="288"/>
                    <a:pt x="99" y="288"/>
                    <a:pt x="99" y="288"/>
                  </a:cubicBezTo>
                  <a:cubicBezTo>
                    <a:pt x="99" y="288"/>
                    <a:pt x="99" y="288"/>
                    <a:pt x="99" y="288"/>
                  </a:cubicBezTo>
                  <a:cubicBezTo>
                    <a:pt x="99" y="288"/>
                    <a:pt x="98" y="288"/>
                    <a:pt x="98" y="288"/>
                  </a:cubicBezTo>
                  <a:cubicBezTo>
                    <a:pt x="98" y="288"/>
                    <a:pt x="98" y="288"/>
                    <a:pt x="98" y="289"/>
                  </a:cubicBezTo>
                  <a:cubicBezTo>
                    <a:pt x="98" y="289"/>
                    <a:pt x="98" y="289"/>
                    <a:pt x="97" y="289"/>
                  </a:cubicBezTo>
                  <a:cubicBezTo>
                    <a:pt x="97" y="289"/>
                    <a:pt x="97" y="289"/>
                    <a:pt x="97" y="289"/>
                  </a:cubicBezTo>
                  <a:cubicBezTo>
                    <a:pt x="97" y="289"/>
                    <a:pt x="97" y="289"/>
                    <a:pt x="97" y="289"/>
                  </a:cubicBezTo>
                  <a:cubicBezTo>
                    <a:pt x="97" y="289"/>
                    <a:pt x="97" y="289"/>
                    <a:pt x="97" y="289"/>
                  </a:cubicBezTo>
                  <a:cubicBezTo>
                    <a:pt x="96" y="289"/>
                    <a:pt x="96" y="289"/>
                    <a:pt x="96" y="289"/>
                  </a:cubicBezTo>
                  <a:cubicBezTo>
                    <a:pt x="96" y="289"/>
                    <a:pt x="96" y="290"/>
                    <a:pt x="96" y="290"/>
                  </a:cubicBezTo>
                  <a:cubicBezTo>
                    <a:pt x="96" y="290"/>
                    <a:pt x="96" y="290"/>
                    <a:pt x="95" y="290"/>
                  </a:cubicBezTo>
                  <a:cubicBezTo>
                    <a:pt x="95" y="290"/>
                    <a:pt x="95" y="290"/>
                    <a:pt x="95" y="290"/>
                  </a:cubicBezTo>
                  <a:cubicBezTo>
                    <a:pt x="95" y="290"/>
                    <a:pt x="95" y="290"/>
                    <a:pt x="95" y="290"/>
                  </a:cubicBezTo>
                  <a:cubicBezTo>
                    <a:pt x="95" y="290"/>
                    <a:pt x="95" y="290"/>
                    <a:pt x="95" y="290"/>
                  </a:cubicBezTo>
                  <a:cubicBezTo>
                    <a:pt x="94" y="290"/>
                    <a:pt x="94" y="290"/>
                    <a:pt x="94" y="290"/>
                  </a:cubicBezTo>
                  <a:cubicBezTo>
                    <a:pt x="94" y="290"/>
                    <a:pt x="94" y="291"/>
                    <a:pt x="94" y="291"/>
                  </a:cubicBezTo>
                  <a:cubicBezTo>
                    <a:pt x="94" y="291"/>
                    <a:pt x="93" y="291"/>
                    <a:pt x="93" y="291"/>
                  </a:cubicBezTo>
                  <a:cubicBezTo>
                    <a:pt x="93" y="291"/>
                    <a:pt x="93" y="291"/>
                    <a:pt x="93" y="291"/>
                  </a:cubicBezTo>
                  <a:cubicBezTo>
                    <a:pt x="93" y="291"/>
                    <a:pt x="92" y="292"/>
                    <a:pt x="91" y="292"/>
                  </a:cubicBezTo>
                  <a:cubicBezTo>
                    <a:pt x="91" y="292"/>
                    <a:pt x="91" y="292"/>
                    <a:pt x="91" y="292"/>
                  </a:cubicBezTo>
                  <a:cubicBezTo>
                    <a:pt x="91" y="292"/>
                    <a:pt x="90" y="292"/>
                    <a:pt x="90" y="292"/>
                  </a:cubicBezTo>
                  <a:cubicBezTo>
                    <a:pt x="90" y="293"/>
                    <a:pt x="90" y="293"/>
                    <a:pt x="90" y="293"/>
                  </a:cubicBezTo>
                  <a:cubicBezTo>
                    <a:pt x="89" y="293"/>
                    <a:pt x="89" y="293"/>
                    <a:pt x="88" y="293"/>
                  </a:cubicBezTo>
                  <a:cubicBezTo>
                    <a:pt x="88" y="293"/>
                    <a:pt x="88" y="293"/>
                    <a:pt x="88" y="293"/>
                  </a:cubicBezTo>
                  <a:cubicBezTo>
                    <a:pt x="88" y="293"/>
                    <a:pt x="88" y="293"/>
                    <a:pt x="88" y="293"/>
                  </a:cubicBezTo>
                  <a:cubicBezTo>
                    <a:pt x="88" y="294"/>
                    <a:pt x="88" y="294"/>
                    <a:pt x="88" y="294"/>
                  </a:cubicBezTo>
                  <a:cubicBezTo>
                    <a:pt x="87" y="294"/>
                    <a:pt x="87" y="294"/>
                    <a:pt x="87" y="294"/>
                  </a:cubicBezTo>
                  <a:cubicBezTo>
                    <a:pt x="87" y="294"/>
                    <a:pt x="87" y="294"/>
                    <a:pt x="87" y="294"/>
                  </a:cubicBezTo>
                  <a:cubicBezTo>
                    <a:pt x="87" y="294"/>
                    <a:pt x="86" y="294"/>
                    <a:pt x="86" y="294"/>
                  </a:cubicBezTo>
                  <a:cubicBezTo>
                    <a:pt x="86" y="294"/>
                    <a:pt x="86" y="294"/>
                    <a:pt x="86" y="295"/>
                  </a:cubicBezTo>
                  <a:cubicBezTo>
                    <a:pt x="86" y="295"/>
                    <a:pt x="86" y="295"/>
                    <a:pt x="86" y="295"/>
                  </a:cubicBezTo>
                  <a:cubicBezTo>
                    <a:pt x="86" y="295"/>
                    <a:pt x="86" y="295"/>
                    <a:pt x="86" y="295"/>
                  </a:cubicBezTo>
                  <a:cubicBezTo>
                    <a:pt x="85" y="295"/>
                    <a:pt x="85" y="295"/>
                    <a:pt x="85" y="295"/>
                  </a:cubicBezTo>
                  <a:cubicBezTo>
                    <a:pt x="85" y="295"/>
                    <a:pt x="85" y="295"/>
                    <a:pt x="85" y="295"/>
                  </a:cubicBezTo>
                  <a:cubicBezTo>
                    <a:pt x="83" y="296"/>
                    <a:pt x="81" y="296"/>
                    <a:pt x="80" y="298"/>
                  </a:cubicBezTo>
                  <a:cubicBezTo>
                    <a:pt x="79" y="297"/>
                    <a:pt x="80" y="298"/>
                    <a:pt x="79" y="297"/>
                  </a:cubicBezTo>
                  <a:cubicBezTo>
                    <a:pt x="78" y="297"/>
                    <a:pt x="78" y="296"/>
                    <a:pt x="77" y="295"/>
                  </a:cubicBezTo>
                  <a:cubicBezTo>
                    <a:pt x="77" y="294"/>
                    <a:pt x="76" y="294"/>
                    <a:pt x="76" y="294"/>
                  </a:cubicBezTo>
                  <a:cubicBezTo>
                    <a:pt x="76" y="294"/>
                    <a:pt x="76" y="293"/>
                    <a:pt x="76" y="293"/>
                  </a:cubicBezTo>
                  <a:cubicBezTo>
                    <a:pt x="76" y="293"/>
                    <a:pt x="76" y="293"/>
                    <a:pt x="75" y="293"/>
                  </a:cubicBezTo>
                  <a:cubicBezTo>
                    <a:pt x="75" y="293"/>
                    <a:pt x="75" y="292"/>
                    <a:pt x="75" y="292"/>
                  </a:cubicBezTo>
                  <a:cubicBezTo>
                    <a:pt x="75" y="292"/>
                    <a:pt x="75" y="292"/>
                    <a:pt x="75" y="292"/>
                  </a:cubicBezTo>
                  <a:cubicBezTo>
                    <a:pt x="75" y="291"/>
                    <a:pt x="74" y="291"/>
                    <a:pt x="74" y="291"/>
                  </a:cubicBezTo>
                  <a:cubicBezTo>
                    <a:pt x="74" y="290"/>
                    <a:pt x="74" y="290"/>
                    <a:pt x="73" y="290"/>
                  </a:cubicBezTo>
                  <a:cubicBezTo>
                    <a:pt x="73" y="290"/>
                    <a:pt x="73" y="290"/>
                    <a:pt x="73" y="289"/>
                  </a:cubicBezTo>
                  <a:cubicBezTo>
                    <a:pt x="73" y="289"/>
                    <a:pt x="73" y="289"/>
                    <a:pt x="72" y="289"/>
                  </a:cubicBezTo>
                  <a:cubicBezTo>
                    <a:pt x="72" y="288"/>
                    <a:pt x="72" y="288"/>
                    <a:pt x="72" y="288"/>
                  </a:cubicBezTo>
                  <a:cubicBezTo>
                    <a:pt x="72" y="288"/>
                    <a:pt x="72" y="288"/>
                    <a:pt x="72" y="288"/>
                  </a:cubicBezTo>
                  <a:cubicBezTo>
                    <a:pt x="72" y="287"/>
                    <a:pt x="72" y="287"/>
                    <a:pt x="72" y="287"/>
                  </a:cubicBezTo>
                  <a:cubicBezTo>
                    <a:pt x="71" y="287"/>
                    <a:pt x="71" y="287"/>
                    <a:pt x="71" y="286"/>
                  </a:cubicBezTo>
                  <a:cubicBezTo>
                    <a:pt x="71" y="286"/>
                    <a:pt x="71" y="286"/>
                    <a:pt x="70" y="285"/>
                  </a:cubicBezTo>
                  <a:cubicBezTo>
                    <a:pt x="70" y="285"/>
                    <a:pt x="70" y="285"/>
                    <a:pt x="69" y="285"/>
                  </a:cubicBezTo>
                  <a:cubicBezTo>
                    <a:pt x="69" y="285"/>
                    <a:pt x="69" y="284"/>
                    <a:pt x="69" y="284"/>
                  </a:cubicBezTo>
                  <a:cubicBezTo>
                    <a:pt x="69" y="284"/>
                    <a:pt x="69" y="284"/>
                    <a:pt x="68" y="283"/>
                  </a:cubicBezTo>
                  <a:cubicBezTo>
                    <a:pt x="68" y="283"/>
                    <a:pt x="68" y="283"/>
                    <a:pt x="68" y="283"/>
                  </a:cubicBezTo>
                  <a:cubicBezTo>
                    <a:pt x="68" y="283"/>
                    <a:pt x="68" y="282"/>
                    <a:pt x="68" y="282"/>
                  </a:cubicBezTo>
                  <a:cubicBezTo>
                    <a:pt x="68" y="282"/>
                    <a:pt x="68" y="282"/>
                    <a:pt x="68" y="282"/>
                  </a:cubicBezTo>
                  <a:cubicBezTo>
                    <a:pt x="67" y="281"/>
                    <a:pt x="67" y="281"/>
                    <a:pt x="67" y="281"/>
                  </a:cubicBezTo>
                  <a:cubicBezTo>
                    <a:pt x="67" y="281"/>
                    <a:pt x="67" y="281"/>
                    <a:pt x="67" y="280"/>
                  </a:cubicBezTo>
                  <a:cubicBezTo>
                    <a:pt x="66" y="280"/>
                    <a:pt x="66" y="280"/>
                    <a:pt x="66" y="279"/>
                  </a:cubicBezTo>
                  <a:cubicBezTo>
                    <a:pt x="65" y="279"/>
                    <a:pt x="65" y="279"/>
                    <a:pt x="65" y="278"/>
                  </a:cubicBezTo>
                  <a:cubicBezTo>
                    <a:pt x="63" y="278"/>
                    <a:pt x="60" y="277"/>
                    <a:pt x="58" y="276"/>
                  </a:cubicBezTo>
                  <a:cubicBezTo>
                    <a:pt x="58" y="276"/>
                    <a:pt x="58" y="276"/>
                    <a:pt x="58" y="276"/>
                  </a:cubicBezTo>
                  <a:cubicBezTo>
                    <a:pt x="58" y="276"/>
                    <a:pt x="57" y="276"/>
                    <a:pt x="57" y="276"/>
                  </a:cubicBezTo>
                  <a:cubicBezTo>
                    <a:pt x="57" y="276"/>
                    <a:pt x="57" y="275"/>
                    <a:pt x="57" y="275"/>
                  </a:cubicBezTo>
                  <a:cubicBezTo>
                    <a:pt x="57" y="275"/>
                    <a:pt x="56" y="275"/>
                    <a:pt x="56" y="275"/>
                  </a:cubicBezTo>
                  <a:cubicBezTo>
                    <a:pt x="56" y="275"/>
                    <a:pt x="56" y="275"/>
                    <a:pt x="56" y="275"/>
                  </a:cubicBezTo>
                  <a:cubicBezTo>
                    <a:pt x="56" y="275"/>
                    <a:pt x="56" y="275"/>
                    <a:pt x="55" y="275"/>
                  </a:cubicBezTo>
                  <a:cubicBezTo>
                    <a:pt x="55" y="275"/>
                    <a:pt x="55" y="275"/>
                    <a:pt x="55" y="275"/>
                  </a:cubicBezTo>
                  <a:cubicBezTo>
                    <a:pt x="55" y="274"/>
                    <a:pt x="54" y="274"/>
                    <a:pt x="53" y="274"/>
                  </a:cubicBezTo>
                  <a:cubicBezTo>
                    <a:pt x="53" y="274"/>
                    <a:pt x="53" y="274"/>
                    <a:pt x="53" y="274"/>
                  </a:cubicBezTo>
                  <a:cubicBezTo>
                    <a:pt x="53" y="274"/>
                    <a:pt x="53" y="274"/>
                    <a:pt x="53" y="274"/>
                  </a:cubicBezTo>
                  <a:cubicBezTo>
                    <a:pt x="53" y="274"/>
                    <a:pt x="53" y="274"/>
                    <a:pt x="53" y="274"/>
                  </a:cubicBezTo>
                  <a:cubicBezTo>
                    <a:pt x="52" y="274"/>
                    <a:pt x="52" y="274"/>
                    <a:pt x="52" y="274"/>
                  </a:cubicBezTo>
                  <a:cubicBezTo>
                    <a:pt x="52" y="273"/>
                    <a:pt x="52" y="273"/>
                    <a:pt x="52" y="273"/>
                  </a:cubicBezTo>
                  <a:cubicBezTo>
                    <a:pt x="51" y="273"/>
                    <a:pt x="51" y="273"/>
                    <a:pt x="51" y="273"/>
                  </a:cubicBezTo>
                  <a:cubicBezTo>
                    <a:pt x="51" y="273"/>
                    <a:pt x="51" y="273"/>
                    <a:pt x="51" y="273"/>
                  </a:cubicBezTo>
                  <a:cubicBezTo>
                    <a:pt x="51" y="273"/>
                    <a:pt x="50" y="273"/>
                    <a:pt x="50" y="273"/>
                  </a:cubicBezTo>
                  <a:cubicBezTo>
                    <a:pt x="50" y="273"/>
                    <a:pt x="50" y="273"/>
                    <a:pt x="50" y="273"/>
                  </a:cubicBezTo>
                  <a:cubicBezTo>
                    <a:pt x="50" y="273"/>
                    <a:pt x="49" y="273"/>
                    <a:pt x="49" y="273"/>
                  </a:cubicBezTo>
                  <a:cubicBezTo>
                    <a:pt x="49" y="272"/>
                    <a:pt x="49" y="272"/>
                    <a:pt x="49" y="272"/>
                  </a:cubicBezTo>
                  <a:cubicBezTo>
                    <a:pt x="49" y="272"/>
                    <a:pt x="48" y="272"/>
                    <a:pt x="48" y="272"/>
                  </a:cubicBezTo>
                  <a:cubicBezTo>
                    <a:pt x="48" y="272"/>
                    <a:pt x="48" y="272"/>
                    <a:pt x="48" y="272"/>
                  </a:cubicBezTo>
                  <a:cubicBezTo>
                    <a:pt x="48" y="272"/>
                    <a:pt x="48" y="272"/>
                    <a:pt x="47" y="272"/>
                  </a:cubicBezTo>
                  <a:cubicBezTo>
                    <a:pt x="47" y="272"/>
                    <a:pt x="47" y="272"/>
                    <a:pt x="47" y="271"/>
                  </a:cubicBezTo>
                  <a:cubicBezTo>
                    <a:pt x="47" y="271"/>
                    <a:pt x="46" y="271"/>
                    <a:pt x="45" y="271"/>
                  </a:cubicBezTo>
                  <a:cubicBezTo>
                    <a:pt x="45" y="271"/>
                    <a:pt x="45" y="271"/>
                    <a:pt x="45" y="271"/>
                  </a:cubicBezTo>
                  <a:cubicBezTo>
                    <a:pt x="45" y="271"/>
                    <a:pt x="45" y="271"/>
                    <a:pt x="45" y="271"/>
                  </a:cubicBezTo>
                  <a:cubicBezTo>
                    <a:pt x="45" y="271"/>
                    <a:pt x="45" y="271"/>
                    <a:pt x="45" y="270"/>
                  </a:cubicBezTo>
                  <a:cubicBezTo>
                    <a:pt x="44" y="270"/>
                    <a:pt x="44" y="270"/>
                    <a:pt x="44" y="270"/>
                  </a:cubicBezTo>
                  <a:cubicBezTo>
                    <a:pt x="44" y="270"/>
                    <a:pt x="44" y="270"/>
                    <a:pt x="44" y="270"/>
                  </a:cubicBezTo>
                  <a:cubicBezTo>
                    <a:pt x="43" y="270"/>
                    <a:pt x="43" y="270"/>
                    <a:pt x="43" y="270"/>
                  </a:cubicBezTo>
                  <a:cubicBezTo>
                    <a:pt x="43" y="270"/>
                    <a:pt x="43" y="270"/>
                    <a:pt x="43" y="270"/>
                  </a:cubicBezTo>
                  <a:cubicBezTo>
                    <a:pt x="42" y="270"/>
                    <a:pt x="42" y="270"/>
                    <a:pt x="42" y="270"/>
                  </a:cubicBezTo>
                  <a:cubicBezTo>
                    <a:pt x="42" y="270"/>
                    <a:pt x="42" y="269"/>
                    <a:pt x="42" y="269"/>
                  </a:cubicBezTo>
                  <a:cubicBezTo>
                    <a:pt x="42" y="269"/>
                    <a:pt x="41" y="269"/>
                    <a:pt x="41" y="269"/>
                  </a:cubicBezTo>
                  <a:cubicBezTo>
                    <a:pt x="41" y="269"/>
                    <a:pt x="41" y="269"/>
                    <a:pt x="41" y="269"/>
                  </a:cubicBezTo>
                  <a:cubicBezTo>
                    <a:pt x="41" y="269"/>
                    <a:pt x="40" y="269"/>
                    <a:pt x="40" y="269"/>
                  </a:cubicBezTo>
                  <a:cubicBezTo>
                    <a:pt x="40" y="269"/>
                    <a:pt x="40" y="269"/>
                    <a:pt x="40" y="269"/>
                  </a:cubicBezTo>
                  <a:cubicBezTo>
                    <a:pt x="40" y="269"/>
                    <a:pt x="40" y="269"/>
                    <a:pt x="39" y="269"/>
                  </a:cubicBezTo>
                  <a:cubicBezTo>
                    <a:pt x="39" y="269"/>
                    <a:pt x="39" y="268"/>
                    <a:pt x="39" y="268"/>
                  </a:cubicBezTo>
                  <a:cubicBezTo>
                    <a:pt x="39" y="268"/>
                    <a:pt x="39" y="268"/>
                    <a:pt x="38" y="268"/>
                  </a:cubicBezTo>
                  <a:cubicBezTo>
                    <a:pt x="37" y="268"/>
                    <a:pt x="36" y="267"/>
                    <a:pt x="35" y="267"/>
                  </a:cubicBezTo>
                  <a:cubicBezTo>
                    <a:pt x="34" y="258"/>
                    <a:pt x="33" y="250"/>
                    <a:pt x="32" y="241"/>
                  </a:cubicBezTo>
                  <a:cubicBezTo>
                    <a:pt x="32" y="241"/>
                    <a:pt x="32" y="241"/>
                    <a:pt x="31" y="241"/>
                  </a:cubicBezTo>
                  <a:cubicBezTo>
                    <a:pt x="31" y="241"/>
                    <a:pt x="31" y="240"/>
                    <a:pt x="31" y="240"/>
                  </a:cubicBezTo>
                  <a:cubicBezTo>
                    <a:pt x="31" y="240"/>
                    <a:pt x="31" y="240"/>
                    <a:pt x="31" y="240"/>
                  </a:cubicBezTo>
                  <a:cubicBezTo>
                    <a:pt x="31" y="240"/>
                    <a:pt x="31" y="240"/>
                    <a:pt x="31" y="239"/>
                  </a:cubicBezTo>
                  <a:cubicBezTo>
                    <a:pt x="30" y="239"/>
                    <a:pt x="30" y="239"/>
                    <a:pt x="30" y="239"/>
                  </a:cubicBezTo>
                  <a:cubicBezTo>
                    <a:pt x="30" y="239"/>
                    <a:pt x="30" y="238"/>
                    <a:pt x="30" y="238"/>
                  </a:cubicBezTo>
                  <a:cubicBezTo>
                    <a:pt x="30" y="238"/>
                    <a:pt x="29" y="238"/>
                    <a:pt x="29" y="238"/>
                  </a:cubicBezTo>
                  <a:cubicBezTo>
                    <a:pt x="29" y="238"/>
                    <a:pt x="29" y="237"/>
                    <a:pt x="29" y="237"/>
                  </a:cubicBezTo>
                  <a:cubicBezTo>
                    <a:pt x="29" y="237"/>
                    <a:pt x="29" y="237"/>
                    <a:pt x="29" y="237"/>
                  </a:cubicBezTo>
                  <a:cubicBezTo>
                    <a:pt x="29" y="237"/>
                    <a:pt x="29" y="236"/>
                    <a:pt x="29" y="236"/>
                  </a:cubicBezTo>
                  <a:cubicBezTo>
                    <a:pt x="28" y="236"/>
                    <a:pt x="28" y="236"/>
                    <a:pt x="28" y="236"/>
                  </a:cubicBezTo>
                  <a:cubicBezTo>
                    <a:pt x="28" y="236"/>
                    <a:pt x="28" y="235"/>
                    <a:pt x="28" y="235"/>
                  </a:cubicBezTo>
                  <a:cubicBezTo>
                    <a:pt x="28" y="235"/>
                    <a:pt x="28" y="235"/>
                    <a:pt x="27" y="235"/>
                  </a:cubicBezTo>
                  <a:cubicBezTo>
                    <a:pt x="27" y="235"/>
                    <a:pt x="27" y="234"/>
                    <a:pt x="27" y="234"/>
                  </a:cubicBezTo>
                  <a:cubicBezTo>
                    <a:pt x="27" y="234"/>
                    <a:pt x="27" y="234"/>
                    <a:pt x="26" y="234"/>
                  </a:cubicBezTo>
                  <a:cubicBezTo>
                    <a:pt x="26" y="233"/>
                    <a:pt x="26" y="233"/>
                    <a:pt x="26" y="233"/>
                  </a:cubicBezTo>
                  <a:cubicBezTo>
                    <a:pt x="26" y="233"/>
                    <a:pt x="26" y="233"/>
                    <a:pt x="26" y="233"/>
                  </a:cubicBezTo>
                  <a:cubicBezTo>
                    <a:pt x="26" y="233"/>
                    <a:pt x="26" y="232"/>
                    <a:pt x="26" y="232"/>
                  </a:cubicBezTo>
                  <a:cubicBezTo>
                    <a:pt x="25" y="232"/>
                    <a:pt x="25" y="232"/>
                    <a:pt x="25" y="232"/>
                  </a:cubicBezTo>
                  <a:cubicBezTo>
                    <a:pt x="25" y="231"/>
                    <a:pt x="25" y="231"/>
                    <a:pt x="25" y="231"/>
                  </a:cubicBezTo>
                  <a:cubicBezTo>
                    <a:pt x="25" y="231"/>
                    <a:pt x="25" y="231"/>
                    <a:pt x="24" y="231"/>
                  </a:cubicBezTo>
                  <a:cubicBezTo>
                    <a:pt x="24" y="230"/>
                    <a:pt x="24" y="230"/>
                    <a:pt x="24" y="230"/>
                  </a:cubicBezTo>
                  <a:cubicBezTo>
                    <a:pt x="24" y="230"/>
                    <a:pt x="24" y="230"/>
                    <a:pt x="24" y="230"/>
                  </a:cubicBezTo>
                  <a:cubicBezTo>
                    <a:pt x="24" y="229"/>
                    <a:pt x="24" y="229"/>
                    <a:pt x="24" y="229"/>
                  </a:cubicBezTo>
                  <a:cubicBezTo>
                    <a:pt x="23" y="229"/>
                    <a:pt x="23" y="229"/>
                    <a:pt x="23" y="228"/>
                  </a:cubicBezTo>
                  <a:cubicBezTo>
                    <a:pt x="23" y="228"/>
                    <a:pt x="23" y="228"/>
                    <a:pt x="23" y="228"/>
                  </a:cubicBezTo>
                  <a:cubicBezTo>
                    <a:pt x="23" y="228"/>
                    <a:pt x="22" y="228"/>
                    <a:pt x="22" y="227"/>
                  </a:cubicBezTo>
                  <a:cubicBezTo>
                    <a:pt x="22" y="227"/>
                    <a:pt x="22" y="227"/>
                    <a:pt x="22" y="227"/>
                  </a:cubicBezTo>
                  <a:cubicBezTo>
                    <a:pt x="22" y="227"/>
                    <a:pt x="22" y="226"/>
                    <a:pt x="22" y="226"/>
                  </a:cubicBezTo>
                  <a:cubicBezTo>
                    <a:pt x="22" y="226"/>
                    <a:pt x="22" y="226"/>
                    <a:pt x="22" y="226"/>
                  </a:cubicBezTo>
                  <a:cubicBezTo>
                    <a:pt x="21" y="226"/>
                    <a:pt x="21" y="225"/>
                    <a:pt x="21" y="225"/>
                  </a:cubicBezTo>
                  <a:cubicBezTo>
                    <a:pt x="21" y="225"/>
                    <a:pt x="21" y="225"/>
                    <a:pt x="21" y="225"/>
                  </a:cubicBezTo>
                  <a:cubicBezTo>
                    <a:pt x="21" y="224"/>
                    <a:pt x="20" y="224"/>
                    <a:pt x="20" y="224"/>
                  </a:cubicBezTo>
                  <a:cubicBezTo>
                    <a:pt x="20" y="224"/>
                    <a:pt x="20" y="224"/>
                    <a:pt x="20" y="224"/>
                  </a:cubicBezTo>
                  <a:cubicBezTo>
                    <a:pt x="20" y="223"/>
                    <a:pt x="20" y="223"/>
                    <a:pt x="19" y="223"/>
                  </a:cubicBezTo>
                  <a:cubicBezTo>
                    <a:pt x="19" y="223"/>
                    <a:pt x="19" y="223"/>
                    <a:pt x="19" y="222"/>
                  </a:cubicBezTo>
                  <a:cubicBezTo>
                    <a:pt x="19" y="222"/>
                    <a:pt x="19" y="222"/>
                    <a:pt x="19" y="222"/>
                  </a:cubicBezTo>
                  <a:cubicBezTo>
                    <a:pt x="19" y="222"/>
                    <a:pt x="19" y="222"/>
                    <a:pt x="19" y="221"/>
                  </a:cubicBezTo>
                  <a:cubicBezTo>
                    <a:pt x="19" y="221"/>
                    <a:pt x="18" y="221"/>
                    <a:pt x="18" y="221"/>
                  </a:cubicBezTo>
                  <a:cubicBezTo>
                    <a:pt x="18" y="221"/>
                    <a:pt x="18" y="221"/>
                    <a:pt x="18" y="220"/>
                  </a:cubicBezTo>
                  <a:cubicBezTo>
                    <a:pt x="18" y="220"/>
                    <a:pt x="18" y="220"/>
                    <a:pt x="17" y="220"/>
                  </a:cubicBezTo>
                  <a:cubicBezTo>
                    <a:pt x="17" y="220"/>
                    <a:pt x="17" y="220"/>
                    <a:pt x="17" y="219"/>
                  </a:cubicBezTo>
                  <a:cubicBezTo>
                    <a:pt x="17" y="219"/>
                    <a:pt x="17" y="219"/>
                    <a:pt x="17" y="219"/>
                  </a:cubicBezTo>
                  <a:cubicBezTo>
                    <a:pt x="17" y="219"/>
                    <a:pt x="17" y="219"/>
                    <a:pt x="17" y="218"/>
                  </a:cubicBezTo>
                  <a:cubicBezTo>
                    <a:pt x="16" y="218"/>
                    <a:pt x="16" y="218"/>
                    <a:pt x="16" y="218"/>
                  </a:cubicBezTo>
                  <a:cubicBezTo>
                    <a:pt x="15" y="217"/>
                    <a:pt x="15" y="217"/>
                    <a:pt x="14" y="216"/>
                  </a:cubicBezTo>
                  <a:cubicBezTo>
                    <a:pt x="14" y="216"/>
                    <a:pt x="14" y="216"/>
                    <a:pt x="13" y="216"/>
                  </a:cubicBezTo>
                  <a:cubicBezTo>
                    <a:pt x="12" y="214"/>
                    <a:pt x="11" y="213"/>
                    <a:pt x="10" y="212"/>
                  </a:cubicBezTo>
                  <a:cubicBezTo>
                    <a:pt x="9" y="212"/>
                    <a:pt x="9" y="212"/>
                    <a:pt x="9" y="212"/>
                  </a:cubicBezTo>
                  <a:cubicBezTo>
                    <a:pt x="8" y="210"/>
                    <a:pt x="6" y="209"/>
                    <a:pt x="5" y="207"/>
                  </a:cubicBezTo>
                  <a:cubicBezTo>
                    <a:pt x="5" y="207"/>
                    <a:pt x="5" y="207"/>
                    <a:pt x="4" y="207"/>
                  </a:cubicBezTo>
                  <a:cubicBezTo>
                    <a:pt x="4" y="207"/>
                    <a:pt x="3" y="206"/>
                    <a:pt x="3" y="206"/>
                  </a:cubicBezTo>
                  <a:cubicBezTo>
                    <a:pt x="2" y="205"/>
                    <a:pt x="1" y="204"/>
                    <a:pt x="0" y="203"/>
                  </a:cubicBezTo>
                  <a:cubicBezTo>
                    <a:pt x="0" y="203"/>
                    <a:pt x="0" y="203"/>
                    <a:pt x="0" y="202"/>
                  </a:cubicBezTo>
                  <a:cubicBezTo>
                    <a:pt x="2" y="201"/>
                    <a:pt x="2" y="199"/>
                    <a:pt x="3" y="198"/>
                  </a:cubicBezTo>
                  <a:cubicBezTo>
                    <a:pt x="3" y="198"/>
                    <a:pt x="3" y="198"/>
                    <a:pt x="4" y="198"/>
                  </a:cubicBezTo>
                  <a:cubicBezTo>
                    <a:pt x="4" y="197"/>
                    <a:pt x="4" y="197"/>
                    <a:pt x="4" y="197"/>
                  </a:cubicBezTo>
                  <a:cubicBezTo>
                    <a:pt x="4" y="197"/>
                    <a:pt x="4" y="197"/>
                    <a:pt x="4" y="197"/>
                  </a:cubicBezTo>
                  <a:cubicBezTo>
                    <a:pt x="4" y="196"/>
                    <a:pt x="4" y="196"/>
                    <a:pt x="4" y="196"/>
                  </a:cubicBezTo>
                  <a:cubicBezTo>
                    <a:pt x="5" y="196"/>
                    <a:pt x="5" y="196"/>
                    <a:pt x="5" y="196"/>
                  </a:cubicBezTo>
                  <a:cubicBezTo>
                    <a:pt x="5" y="195"/>
                    <a:pt x="5" y="195"/>
                    <a:pt x="5" y="195"/>
                  </a:cubicBezTo>
                  <a:cubicBezTo>
                    <a:pt x="5" y="195"/>
                    <a:pt x="6" y="194"/>
                    <a:pt x="6" y="194"/>
                  </a:cubicBezTo>
                  <a:cubicBezTo>
                    <a:pt x="6" y="194"/>
                    <a:pt x="6" y="194"/>
                    <a:pt x="6" y="193"/>
                  </a:cubicBezTo>
                  <a:cubicBezTo>
                    <a:pt x="6" y="193"/>
                    <a:pt x="7" y="193"/>
                    <a:pt x="7" y="193"/>
                  </a:cubicBezTo>
                  <a:cubicBezTo>
                    <a:pt x="7" y="193"/>
                    <a:pt x="7" y="192"/>
                    <a:pt x="7" y="192"/>
                  </a:cubicBezTo>
                  <a:cubicBezTo>
                    <a:pt x="7" y="192"/>
                    <a:pt x="7" y="192"/>
                    <a:pt x="8" y="192"/>
                  </a:cubicBezTo>
                  <a:cubicBezTo>
                    <a:pt x="8" y="192"/>
                    <a:pt x="8" y="192"/>
                    <a:pt x="8" y="191"/>
                  </a:cubicBezTo>
                  <a:cubicBezTo>
                    <a:pt x="8" y="191"/>
                    <a:pt x="8" y="191"/>
                    <a:pt x="8" y="191"/>
                  </a:cubicBezTo>
                  <a:cubicBezTo>
                    <a:pt x="8" y="191"/>
                    <a:pt x="8" y="191"/>
                    <a:pt x="8" y="190"/>
                  </a:cubicBezTo>
                  <a:cubicBezTo>
                    <a:pt x="8" y="190"/>
                    <a:pt x="9" y="190"/>
                    <a:pt x="9" y="190"/>
                  </a:cubicBezTo>
                  <a:cubicBezTo>
                    <a:pt x="9" y="190"/>
                    <a:pt x="9" y="189"/>
                    <a:pt x="9" y="189"/>
                  </a:cubicBezTo>
                  <a:cubicBezTo>
                    <a:pt x="9" y="189"/>
                    <a:pt x="9" y="189"/>
                    <a:pt x="10" y="189"/>
                  </a:cubicBezTo>
                  <a:cubicBezTo>
                    <a:pt x="10" y="189"/>
                    <a:pt x="10" y="188"/>
                    <a:pt x="10" y="188"/>
                  </a:cubicBezTo>
                  <a:cubicBezTo>
                    <a:pt x="10" y="188"/>
                    <a:pt x="10" y="188"/>
                    <a:pt x="10" y="188"/>
                  </a:cubicBezTo>
                  <a:cubicBezTo>
                    <a:pt x="10" y="188"/>
                    <a:pt x="10" y="187"/>
                    <a:pt x="10" y="187"/>
                  </a:cubicBezTo>
                  <a:cubicBezTo>
                    <a:pt x="11" y="187"/>
                    <a:pt x="11" y="187"/>
                    <a:pt x="11" y="187"/>
                  </a:cubicBezTo>
                  <a:cubicBezTo>
                    <a:pt x="11" y="187"/>
                    <a:pt x="11" y="186"/>
                    <a:pt x="11" y="186"/>
                  </a:cubicBezTo>
                  <a:cubicBezTo>
                    <a:pt x="11" y="186"/>
                    <a:pt x="11" y="186"/>
                    <a:pt x="12" y="186"/>
                  </a:cubicBezTo>
                  <a:cubicBezTo>
                    <a:pt x="12" y="186"/>
                    <a:pt x="12" y="185"/>
                    <a:pt x="12" y="185"/>
                  </a:cubicBezTo>
                  <a:cubicBezTo>
                    <a:pt x="12" y="185"/>
                    <a:pt x="12" y="185"/>
                    <a:pt x="12" y="185"/>
                  </a:cubicBezTo>
                  <a:cubicBezTo>
                    <a:pt x="12" y="185"/>
                    <a:pt x="12" y="184"/>
                    <a:pt x="12" y="184"/>
                  </a:cubicBezTo>
                  <a:cubicBezTo>
                    <a:pt x="13" y="184"/>
                    <a:pt x="13" y="184"/>
                    <a:pt x="13" y="184"/>
                  </a:cubicBezTo>
                  <a:cubicBezTo>
                    <a:pt x="13" y="183"/>
                    <a:pt x="13" y="183"/>
                    <a:pt x="13" y="183"/>
                  </a:cubicBezTo>
                  <a:cubicBezTo>
                    <a:pt x="13" y="183"/>
                    <a:pt x="14" y="183"/>
                    <a:pt x="14" y="182"/>
                  </a:cubicBezTo>
                  <a:cubicBezTo>
                    <a:pt x="14" y="182"/>
                    <a:pt x="14" y="182"/>
                    <a:pt x="14" y="182"/>
                  </a:cubicBezTo>
                  <a:cubicBezTo>
                    <a:pt x="14" y="181"/>
                    <a:pt x="15" y="181"/>
                    <a:pt x="15" y="181"/>
                  </a:cubicBezTo>
                  <a:cubicBezTo>
                    <a:pt x="15" y="181"/>
                    <a:pt x="15" y="181"/>
                    <a:pt x="15" y="180"/>
                  </a:cubicBezTo>
                  <a:cubicBezTo>
                    <a:pt x="15" y="180"/>
                    <a:pt x="15" y="180"/>
                    <a:pt x="16" y="180"/>
                  </a:cubicBezTo>
                  <a:cubicBezTo>
                    <a:pt x="16" y="180"/>
                    <a:pt x="16" y="180"/>
                    <a:pt x="16" y="179"/>
                  </a:cubicBezTo>
                  <a:cubicBezTo>
                    <a:pt x="16" y="179"/>
                    <a:pt x="16" y="179"/>
                    <a:pt x="16" y="179"/>
                  </a:cubicBezTo>
                  <a:cubicBezTo>
                    <a:pt x="16" y="179"/>
                    <a:pt x="16" y="179"/>
                    <a:pt x="16" y="178"/>
                  </a:cubicBezTo>
                  <a:cubicBezTo>
                    <a:pt x="16" y="178"/>
                    <a:pt x="17" y="178"/>
                    <a:pt x="17" y="178"/>
                  </a:cubicBezTo>
                  <a:cubicBezTo>
                    <a:pt x="17" y="178"/>
                    <a:pt x="17" y="178"/>
                    <a:pt x="17" y="177"/>
                  </a:cubicBezTo>
                  <a:cubicBezTo>
                    <a:pt x="17" y="177"/>
                    <a:pt x="17" y="177"/>
                    <a:pt x="18" y="177"/>
                  </a:cubicBezTo>
                  <a:cubicBezTo>
                    <a:pt x="18" y="177"/>
                    <a:pt x="18" y="177"/>
                    <a:pt x="18" y="176"/>
                  </a:cubicBezTo>
                  <a:cubicBezTo>
                    <a:pt x="18" y="176"/>
                    <a:pt x="18" y="176"/>
                    <a:pt x="18" y="176"/>
                  </a:cubicBezTo>
                  <a:cubicBezTo>
                    <a:pt x="18" y="176"/>
                    <a:pt x="18" y="176"/>
                    <a:pt x="18" y="175"/>
                  </a:cubicBezTo>
                  <a:cubicBezTo>
                    <a:pt x="19" y="175"/>
                    <a:pt x="19" y="175"/>
                    <a:pt x="19" y="175"/>
                  </a:cubicBezTo>
                  <a:cubicBezTo>
                    <a:pt x="19" y="175"/>
                    <a:pt x="19" y="174"/>
                    <a:pt x="19" y="174"/>
                  </a:cubicBezTo>
                  <a:cubicBezTo>
                    <a:pt x="19" y="174"/>
                    <a:pt x="20" y="174"/>
                    <a:pt x="20" y="174"/>
                  </a:cubicBezTo>
                  <a:cubicBezTo>
                    <a:pt x="20" y="174"/>
                    <a:pt x="20" y="173"/>
                    <a:pt x="20" y="173"/>
                  </a:cubicBezTo>
                  <a:cubicBezTo>
                    <a:pt x="20" y="173"/>
                    <a:pt x="20" y="173"/>
                    <a:pt x="20" y="173"/>
                  </a:cubicBezTo>
                  <a:cubicBezTo>
                    <a:pt x="20" y="173"/>
                    <a:pt x="20" y="172"/>
                    <a:pt x="20" y="172"/>
                  </a:cubicBezTo>
                  <a:cubicBezTo>
                    <a:pt x="21" y="172"/>
                    <a:pt x="21" y="172"/>
                    <a:pt x="21" y="172"/>
                  </a:cubicBezTo>
                  <a:cubicBezTo>
                    <a:pt x="21" y="172"/>
                    <a:pt x="21" y="171"/>
                    <a:pt x="21" y="171"/>
                  </a:cubicBezTo>
                  <a:cubicBezTo>
                    <a:pt x="22" y="171"/>
                    <a:pt x="22" y="171"/>
                    <a:pt x="22" y="170"/>
                  </a:cubicBezTo>
                  <a:cubicBezTo>
                    <a:pt x="22" y="170"/>
                    <a:pt x="22" y="170"/>
                    <a:pt x="22" y="170"/>
                  </a:cubicBezTo>
                  <a:cubicBezTo>
                    <a:pt x="22" y="170"/>
                    <a:pt x="23" y="169"/>
                    <a:pt x="23" y="169"/>
                  </a:cubicBezTo>
                  <a:cubicBezTo>
                    <a:pt x="23" y="169"/>
                    <a:pt x="23" y="169"/>
                    <a:pt x="23" y="168"/>
                  </a:cubicBezTo>
                  <a:cubicBezTo>
                    <a:pt x="23" y="168"/>
                    <a:pt x="23" y="168"/>
                    <a:pt x="24" y="168"/>
                  </a:cubicBezTo>
                  <a:cubicBezTo>
                    <a:pt x="24" y="168"/>
                    <a:pt x="24" y="168"/>
                    <a:pt x="24" y="168"/>
                  </a:cubicBezTo>
                  <a:cubicBezTo>
                    <a:pt x="24" y="167"/>
                    <a:pt x="24" y="167"/>
                    <a:pt x="24" y="167"/>
                  </a:cubicBezTo>
                  <a:cubicBezTo>
                    <a:pt x="24" y="167"/>
                    <a:pt x="24" y="167"/>
                    <a:pt x="24" y="167"/>
                  </a:cubicBezTo>
                  <a:cubicBezTo>
                    <a:pt x="25" y="166"/>
                    <a:pt x="25" y="166"/>
                    <a:pt x="25" y="166"/>
                  </a:cubicBezTo>
                  <a:cubicBezTo>
                    <a:pt x="25" y="166"/>
                    <a:pt x="25" y="166"/>
                    <a:pt x="25" y="165"/>
                  </a:cubicBezTo>
                  <a:cubicBezTo>
                    <a:pt x="25" y="165"/>
                    <a:pt x="25" y="165"/>
                    <a:pt x="26" y="165"/>
                  </a:cubicBezTo>
                  <a:cubicBezTo>
                    <a:pt x="26" y="165"/>
                    <a:pt x="26" y="165"/>
                    <a:pt x="26" y="164"/>
                  </a:cubicBezTo>
                  <a:cubicBezTo>
                    <a:pt x="26" y="164"/>
                    <a:pt x="26" y="164"/>
                    <a:pt x="26" y="164"/>
                  </a:cubicBezTo>
                  <a:cubicBezTo>
                    <a:pt x="26" y="164"/>
                    <a:pt x="26" y="164"/>
                    <a:pt x="26" y="163"/>
                  </a:cubicBezTo>
                  <a:cubicBezTo>
                    <a:pt x="27" y="163"/>
                    <a:pt x="27" y="163"/>
                    <a:pt x="27" y="163"/>
                  </a:cubicBezTo>
                  <a:cubicBezTo>
                    <a:pt x="27" y="163"/>
                    <a:pt x="27" y="163"/>
                    <a:pt x="27" y="162"/>
                  </a:cubicBezTo>
                  <a:cubicBezTo>
                    <a:pt x="27" y="162"/>
                    <a:pt x="27" y="162"/>
                    <a:pt x="27" y="162"/>
                  </a:cubicBezTo>
                  <a:cubicBezTo>
                    <a:pt x="28" y="162"/>
                    <a:pt x="28" y="162"/>
                    <a:pt x="28" y="161"/>
                  </a:cubicBezTo>
                  <a:cubicBezTo>
                    <a:pt x="28" y="161"/>
                    <a:pt x="28" y="161"/>
                    <a:pt x="29" y="161"/>
                  </a:cubicBezTo>
                  <a:cubicBezTo>
                    <a:pt x="29" y="161"/>
                    <a:pt x="29" y="160"/>
                    <a:pt x="29" y="160"/>
                  </a:cubicBezTo>
                  <a:cubicBezTo>
                    <a:pt x="29" y="160"/>
                    <a:pt x="30" y="159"/>
                    <a:pt x="30" y="159"/>
                  </a:cubicBezTo>
                  <a:cubicBezTo>
                    <a:pt x="30" y="159"/>
                    <a:pt x="30" y="158"/>
                    <a:pt x="30" y="158"/>
                  </a:cubicBezTo>
                  <a:cubicBezTo>
                    <a:pt x="31" y="157"/>
                    <a:pt x="32" y="156"/>
                    <a:pt x="33" y="155"/>
                  </a:cubicBezTo>
                  <a:cubicBezTo>
                    <a:pt x="33" y="155"/>
                    <a:pt x="33" y="155"/>
                    <a:pt x="33" y="155"/>
                  </a:cubicBezTo>
                  <a:cubicBezTo>
                    <a:pt x="34" y="154"/>
                    <a:pt x="35" y="153"/>
                    <a:pt x="37" y="152"/>
                  </a:cubicBezTo>
                  <a:cubicBezTo>
                    <a:pt x="37" y="152"/>
                    <a:pt x="37" y="151"/>
                    <a:pt x="37" y="151"/>
                  </a:cubicBezTo>
                  <a:cubicBezTo>
                    <a:pt x="38" y="150"/>
                    <a:pt x="39" y="149"/>
                    <a:pt x="40" y="148"/>
                  </a:cubicBezTo>
                  <a:cubicBezTo>
                    <a:pt x="40" y="148"/>
                    <a:pt x="40" y="148"/>
                    <a:pt x="40" y="148"/>
                  </a:cubicBezTo>
                  <a:cubicBezTo>
                    <a:pt x="41" y="147"/>
                    <a:pt x="42" y="146"/>
                    <a:pt x="43" y="145"/>
                  </a:cubicBezTo>
                  <a:cubicBezTo>
                    <a:pt x="43" y="145"/>
                    <a:pt x="43" y="144"/>
                    <a:pt x="43" y="144"/>
                  </a:cubicBezTo>
                  <a:cubicBezTo>
                    <a:pt x="44" y="143"/>
                    <a:pt x="45" y="142"/>
                    <a:pt x="46" y="141"/>
                  </a:cubicBezTo>
                  <a:cubicBezTo>
                    <a:pt x="46" y="141"/>
                    <a:pt x="46" y="141"/>
                    <a:pt x="46" y="141"/>
                  </a:cubicBezTo>
                  <a:cubicBezTo>
                    <a:pt x="47" y="140"/>
                    <a:pt x="48" y="139"/>
                    <a:pt x="49" y="138"/>
                  </a:cubicBezTo>
                  <a:cubicBezTo>
                    <a:pt x="49" y="138"/>
                    <a:pt x="49" y="137"/>
                    <a:pt x="49" y="137"/>
                  </a:cubicBezTo>
                  <a:cubicBezTo>
                    <a:pt x="50" y="136"/>
                    <a:pt x="51" y="136"/>
                    <a:pt x="52" y="135"/>
                  </a:cubicBezTo>
                  <a:cubicBezTo>
                    <a:pt x="52" y="134"/>
                    <a:pt x="52" y="134"/>
                    <a:pt x="53" y="134"/>
                  </a:cubicBezTo>
                  <a:cubicBezTo>
                    <a:pt x="55" y="133"/>
                    <a:pt x="57" y="132"/>
                    <a:pt x="60" y="132"/>
                  </a:cubicBezTo>
                  <a:cubicBezTo>
                    <a:pt x="60" y="131"/>
                    <a:pt x="60" y="131"/>
                    <a:pt x="60" y="131"/>
                  </a:cubicBezTo>
                  <a:cubicBezTo>
                    <a:pt x="60" y="131"/>
                    <a:pt x="60" y="131"/>
                    <a:pt x="60" y="131"/>
                  </a:cubicBezTo>
                  <a:cubicBezTo>
                    <a:pt x="60" y="131"/>
                    <a:pt x="60" y="131"/>
                    <a:pt x="60" y="131"/>
                  </a:cubicBezTo>
                  <a:cubicBezTo>
                    <a:pt x="61" y="131"/>
                    <a:pt x="62" y="130"/>
                    <a:pt x="63" y="130"/>
                  </a:cubicBezTo>
                  <a:cubicBezTo>
                    <a:pt x="63" y="130"/>
                    <a:pt x="63" y="130"/>
                    <a:pt x="63" y="130"/>
                  </a:cubicBezTo>
                  <a:cubicBezTo>
                    <a:pt x="65" y="130"/>
                    <a:pt x="66" y="129"/>
                    <a:pt x="67" y="129"/>
                  </a:cubicBezTo>
                  <a:cubicBezTo>
                    <a:pt x="67" y="129"/>
                    <a:pt x="67" y="129"/>
                    <a:pt x="67" y="129"/>
                  </a:cubicBezTo>
                  <a:cubicBezTo>
                    <a:pt x="67" y="129"/>
                    <a:pt x="67" y="129"/>
                    <a:pt x="67" y="129"/>
                  </a:cubicBezTo>
                  <a:cubicBezTo>
                    <a:pt x="67" y="129"/>
                    <a:pt x="67" y="129"/>
                    <a:pt x="67" y="128"/>
                  </a:cubicBezTo>
                  <a:cubicBezTo>
                    <a:pt x="68" y="128"/>
                    <a:pt x="69" y="128"/>
                    <a:pt x="69" y="128"/>
                  </a:cubicBezTo>
                  <a:cubicBezTo>
                    <a:pt x="69" y="128"/>
                    <a:pt x="69" y="128"/>
                    <a:pt x="69" y="128"/>
                  </a:cubicBezTo>
                  <a:cubicBezTo>
                    <a:pt x="70" y="128"/>
                    <a:pt x="70" y="128"/>
                    <a:pt x="70" y="128"/>
                  </a:cubicBezTo>
                  <a:cubicBezTo>
                    <a:pt x="70" y="128"/>
                    <a:pt x="70" y="127"/>
                    <a:pt x="70" y="127"/>
                  </a:cubicBezTo>
                  <a:cubicBezTo>
                    <a:pt x="71" y="127"/>
                    <a:pt x="71" y="127"/>
                    <a:pt x="72" y="127"/>
                  </a:cubicBezTo>
                  <a:cubicBezTo>
                    <a:pt x="72" y="127"/>
                    <a:pt x="72" y="127"/>
                    <a:pt x="72" y="127"/>
                  </a:cubicBezTo>
                  <a:cubicBezTo>
                    <a:pt x="72" y="127"/>
                    <a:pt x="72" y="127"/>
                    <a:pt x="73" y="127"/>
                  </a:cubicBezTo>
                  <a:cubicBezTo>
                    <a:pt x="73" y="127"/>
                    <a:pt x="73" y="127"/>
                    <a:pt x="73" y="127"/>
                  </a:cubicBezTo>
                  <a:cubicBezTo>
                    <a:pt x="73" y="127"/>
                    <a:pt x="73" y="127"/>
                    <a:pt x="74" y="127"/>
                  </a:cubicBezTo>
                  <a:cubicBezTo>
                    <a:pt x="74" y="127"/>
                    <a:pt x="74" y="126"/>
                    <a:pt x="74" y="126"/>
                  </a:cubicBezTo>
                  <a:cubicBezTo>
                    <a:pt x="74" y="126"/>
                    <a:pt x="74" y="126"/>
                    <a:pt x="74" y="126"/>
                  </a:cubicBezTo>
                  <a:cubicBezTo>
                    <a:pt x="74" y="126"/>
                    <a:pt x="74" y="126"/>
                    <a:pt x="74" y="126"/>
                  </a:cubicBezTo>
                  <a:cubicBezTo>
                    <a:pt x="75" y="126"/>
                    <a:pt x="75" y="126"/>
                    <a:pt x="75" y="126"/>
                  </a:cubicBezTo>
                  <a:cubicBezTo>
                    <a:pt x="75" y="126"/>
                    <a:pt x="75" y="126"/>
                    <a:pt x="75" y="126"/>
                  </a:cubicBezTo>
                  <a:cubicBezTo>
                    <a:pt x="76" y="126"/>
                    <a:pt x="76" y="126"/>
                    <a:pt x="76" y="126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77" y="125"/>
                    <a:pt x="77" y="125"/>
                    <a:pt x="77" y="125"/>
                  </a:cubicBezTo>
                  <a:cubicBezTo>
                    <a:pt x="77" y="125"/>
                    <a:pt x="77" y="125"/>
                    <a:pt x="77" y="125"/>
                  </a:cubicBezTo>
                  <a:cubicBezTo>
                    <a:pt x="81" y="125"/>
                    <a:pt x="85" y="124"/>
                    <a:pt x="89" y="124"/>
                  </a:cubicBezTo>
                  <a:cubicBezTo>
                    <a:pt x="89" y="124"/>
                    <a:pt x="89" y="124"/>
                    <a:pt x="89" y="124"/>
                  </a:cubicBezTo>
                  <a:cubicBezTo>
                    <a:pt x="90" y="124"/>
                    <a:pt x="91" y="124"/>
                    <a:pt x="92" y="124"/>
                  </a:cubicBezTo>
                  <a:cubicBezTo>
                    <a:pt x="93" y="124"/>
                    <a:pt x="94" y="124"/>
                    <a:pt x="95" y="124"/>
                  </a:cubicBezTo>
                  <a:cubicBezTo>
                    <a:pt x="95" y="124"/>
                    <a:pt x="95" y="124"/>
                    <a:pt x="95" y="124"/>
                  </a:cubicBezTo>
                  <a:cubicBezTo>
                    <a:pt x="95" y="124"/>
                    <a:pt x="96" y="124"/>
                    <a:pt x="96" y="124"/>
                  </a:cubicBezTo>
                  <a:cubicBezTo>
                    <a:pt x="96" y="124"/>
                    <a:pt x="96" y="124"/>
                    <a:pt x="96" y="124"/>
                  </a:cubicBezTo>
                  <a:cubicBezTo>
                    <a:pt x="96" y="124"/>
                    <a:pt x="97" y="124"/>
                    <a:pt x="97" y="124"/>
                  </a:cubicBezTo>
                  <a:cubicBezTo>
                    <a:pt x="97" y="124"/>
                    <a:pt x="97" y="124"/>
                    <a:pt x="97" y="125"/>
                  </a:cubicBezTo>
                  <a:cubicBezTo>
                    <a:pt x="98" y="125"/>
                    <a:pt x="98" y="125"/>
                    <a:pt x="99" y="125"/>
                  </a:cubicBezTo>
                  <a:cubicBezTo>
                    <a:pt x="99" y="125"/>
                    <a:pt x="99" y="125"/>
                    <a:pt x="99" y="125"/>
                  </a:cubicBezTo>
                  <a:cubicBezTo>
                    <a:pt x="99" y="125"/>
                    <a:pt x="100" y="125"/>
                    <a:pt x="100" y="125"/>
                  </a:cubicBezTo>
                  <a:cubicBezTo>
                    <a:pt x="100" y="125"/>
                    <a:pt x="100" y="125"/>
                    <a:pt x="100" y="125"/>
                  </a:cubicBezTo>
                  <a:cubicBezTo>
                    <a:pt x="100" y="125"/>
                    <a:pt x="101" y="125"/>
                    <a:pt x="101" y="125"/>
                  </a:cubicBezTo>
                  <a:cubicBezTo>
                    <a:pt x="101" y="125"/>
                    <a:pt x="101" y="125"/>
                    <a:pt x="101" y="126"/>
                  </a:cubicBezTo>
                  <a:cubicBezTo>
                    <a:pt x="102" y="126"/>
                    <a:pt x="102" y="126"/>
                    <a:pt x="103" y="126"/>
                  </a:cubicBezTo>
                  <a:cubicBezTo>
                    <a:pt x="103" y="126"/>
                    <a:pt x="103" y="126"/>
                    <a:pt x="103" y="126"/>
                  </a:cubicBezTo>
                  <a:cubicBezTo>
                    <a:pt x="103" y="126"/>
                    <a:pt x="103" y="126"/>
                    <a:pt x="104" y="126"/>
                  </a:cubicBezTo>
                  <a:cubicBezTo>
                    <a:pt x="104" y="126"/>
                    <a:pt x="104" y="126"/>
                    <a:pt x="104" y="126"/>
                  </a:cubicBezTo>
                  <a:cubicBezTo>
                    <a:pt x="104" y="126"/>
                    <a:pt x="105" y="126"/>
                    <a:pt x="105" y="126"/>
                  </a:cubicBezTo>
                  <a:cubicBezTo>
                    <a:pt x="106" y="127"/>
                    <a:pt x="107" y="127"/>
                    <a:pt x="109" y="127"/>
                  </a:cubicBezTo>
                  <a:cubicBezTo>
                    <a:pt x="112" y="121"/>
                    <a:pt x="114" y="115"/>
                    <a:pt x="117" y="109"/>
                  </a:cubicBezTo>
                  <a:cubicBezTo>
                    <a:pt x="117" y="108"/>
                    <a:pt x="117" y="108"/>
                    <a:pt x="117" y="108"/>
                  </a:cubicBezTo>
                  <a:cubicBezTo>
                    <a:pt x="117" y="108"/>
                    <a:pt x="117" y="108"/>
                    <a:pt x="117" y="108"/>
                  </a:cubicBezTo>
                  <a:cubicBezTo>
                    <a:pt x="117" y="108"/>
                    <a:pt x="117" y="107"/>
                    <a:pt x="117" y="107"/>
                  </a:cubicBezTo>
                  <a:cubicBezTo>
                    <a:pt x="117" y="107"/>
                    <a:pt x="117" y="107"/>
                    <a:pt x="117" y="107"/>
                  </a:cubicBezTo>
                  <a:cubicBezTo>
                    <a:pt x="117" y="107"/>
                    <a:pt x="117" y="106"/>
                    <a:pt x="117" y="106"/>
                  </a:cubicBezTo>
                  <a:cubicBezTo>
                    <a:pt x="117" y="106"/>
                    <a:pt x="118" y="106"/>
                    <a:pt x="118" y="106"/>
                  </a:cubicBezTo>
                  <a:cubicBezTo>
                    <a:pt x="118" y="105"/>
                    <a:pt x="118" y="105"/>
                    <a:pt x="118" y="104"/>
                  </a:cubicBezTo>
                  <a:cubicBezTo>
                    <a:pt x="118" y="104"/>
                    <a:pt x="118" y="104"/>
                    <a:pt x="118" y="104"/>
                  </a:cubicBezTo>
                  <a:cubicBezTo>
                    <a:pt x="118" y="104"/>
                    <a:pt x="118" y="104"/>
                    <a:pt x="118" y="104"/>
                  </a:cubicBezTo>
                  <a:cubicBezTo>
                    <a:pt x="119" y="104"/>
                    <a:pt x="119" y="104"/>
                    <a:pt x="119" y="104"/>
                  </a:cubicBezTo>
                  <a:cubicBezTo>
                    <a:pt x="119" y="103"/>
                    <a:pt x="119" y="103"/>
                    <a:pt x="119" y="103"/>
                  </a:cubicBezTo>
                  <a:cubicBezTo>
                    <a:pt x="119" y="103"/>
                    <a:pt x="119" y="103"/>
                    <a:pt x="119" y="103"/>
                  </a:cubicBezTo>
                  <a:cubicBezTo>
                    <a:pt x="119" y="102"/>
                    <a:pt x="119" y="102"/>
                    <a:pt x="119" y="102"/>
                  </a:cubicBezTo>
                  <a:cubicBezTo>
                    <a:pt x="119" y="102"/>
                    <a:pt x="119" y="102"/>
                    <a:pt x="119" y="102"/>
                  </a:cubicBezTo>
                  <a:cubicBezTo>
                    <a:pt x="119" y="102"/>
                    <a:pt x="119" y="101"/>
                    <a:pt x="119" y="101"/>
                  </a:cubicBezTo>
                  <a:cubicBezTo>
                    <a:pt x="120" y="101"/>
                    <a:pt x="120" y="100"/>
                    <a:pt x="121" y="100"/>
                  </a:cubicBezTo>
                  <a:cubicBezTo>
                    <a:pt x="121" y="100"/>
                    <a:pt x="121" y="100"/>
                    <a:pt x="121" y="99"/>
                  </a:cubicBezTo>
                  <a:cubicBezTo>
                    <a:pt x="121" y="99"/>
                    <a:pt x="122" y="98"/>
                    <a:pt x="123" y="98"/>
                  </a:cubicBezTo>
                  <a:cubicBezTo>
                    <a:pt x="123" y="98"/>
                    <a:pt x="123" y="98"/>
                    <a:pt x="123" y="97"/>
                  </a:cubicBezTo>
                  <a:cubicBezTo>
                    <a:pt x="123" y="97"/>
                    <a:pt x="124" y="97"/>
                    <a:pt x="124" y="96"/>
                  </a:cubicBezTo>
                  <a:cubicBezTo>
                    <a:pt x="124" y="96"/>
                    <a:pt x="124" y="96"/>
                    <a:pt x="124" y="96"/>
                  </a:cubicBezTo>
                  <a:cubicBezTo>
                    <a:pt x="124" y="95"/>
                    <a:pt x="125" y="95"/>
                    <a:pt x="125" y="94"/>
                  </a:cubicBezTo>
                  <a:cubicBezTo>
                    <a:pt x="125" y="94"/>
                    <a:pt x="125" y="94"/>
                    <a:pt x="125" y="94"/>
                  </a:cubicBezTo>
                  <a:cubicBezTo>
                    <a:pt x="126" y="93"/>
                    <a:pt x="127" y="93"/>
                    <a:pt x="127" y="92"/>
                  </a:cubicBezTo>
                  <a:cubicBezTo>
                    <a:pt x="127" y="92"/>
                    <a:pt x="127" y="92"/>
                    <a:pt x="127" y="92"/>
                  </a:cubicBezTo>
                  <a:cubicBezTo>
                    <a:pt x="127" y="92"/>
                    <a:pt x="128" y="91"/>
                    <a:pt x="128" y="91"/>
                  </a:cubicBezTo>
                  <a:cubicBezTo>
                    <a:pt x="128" y="91"/>
                    <a:pt x="128" y="91"/>
                    <a:pt x="128" y="91"/>
                  </a:cubicBezTo>
                  <a:cubicBezTo>
                    <a:pt x="128" y="91"/>
                    <a:pt x="128" y="91"/>
                    <a:pt x="129" y="91"/>
                  </a:cubicBezTo>
                  <a:cubicBezTo>
                    <a:pt x="129" y="90"/>
                    <a:pt x="129" y="90"/>
                    <a:pt x="129" y="90"/>
                  </a:cubicBezTo>
                  <a:cubicBezTo>
                    <a:pt x="129" y="90"/>
                    <a:pt x="129" y="89"/>
                    <a:pt x="130" y="89"/>
                  </a:cubicBezTo>
                  <a:cubicBezTo>
                    <a:pt x="130" y="89"/>
                    <a:pt x="130" y="88"/>
                    <a:pt x="130" y="88"/>
                  </a:cubicBezTo>
                  <a:cubicBezTo>
                    <a:pt x="131" y="88"/>
                    <a:pt x="131" y="87"/>
                    <a:pt x="132" y="87"/>
                  </a:cubicBezTo>
                  <a:cubicBezTo>
                    <a:pt x="132" y="87"/>
                    <a:pt x="132" y="86"/>
                    <a:pt x="132" y="86"/>
                  </a:cubicBezTo>
                  <a:cubicBezTo>
                    <a:pt x="132" y="86"/>
                    <a:pt x="133" y="85"/>
                    <a:pt x="133" y="85"/>
                  </a:cubicBezTo>
                  <a:cubicBezTo>
                    <a:pt x="133" y="85"/>
                    <a:pt x="133" y="85"/>
                    <a:pt x="133" y="84"/>
                  </a:cubicBezTo>
                  <a:cubicBezTo>
                    <a:pt x="134" y="84"/>
                    <a:pt x="134" y="84"/>
                    <a:pt x="134" y="83"/>
                  </a:cubicBezTo>
                  <a:cubicBezTo>
                    <a:pt x="134" y="83"/>
                    <a:pt x="134" y="83"/>
                    <a:pt x="134" y="83"/>
                  </a:cubicBezTo>
                  <a:cubicBezTo>
                    <a:pt x="135" y="83"/>
                    <a:pt x="135" y="83"/>
                    <a:pt x="135" y="83"/>
                  </a:cubicBezTo>
                  <a:cubicBezTo>
                    <a:pt x="135" y="82"/>
                    <a:pt x="136" y="81"/>
                    <a:pt x="136" y="81"/>
                  </a:cubicBezTo>
                  <a:cubicBezTo>
                    <a:pt x="137" y="81"/>
                    <a:pt x="137" y="81"/>
                    <a:pt x="138" y="81"/>
                  </a:cubicBezTo>
                  <a:cubicBezTo>
                    <a:pt x="138" y="81"/>
                    <a:pt x="138" y="81"/>
                    <a:pt x="138" y="80"/>
                  </a:cubicBezTo>
                  <a:cubicBezTo>
                    <a:pt x="138" y="80"/>
                    <a:pt x="138" y="80"/>
                    <a:pt x="139" y="80"/>
                  </a:cubicBezTo>
                  <a:cubicBezTo>
                    <a:pt x="139" y="80"/>
                    <a:pt x="139" y="80"/>
                    <a:pt x="139" y="80"/>
                  </a:cubicBezTo>
                  <a:cubicBezTo>
                    <a:pt x="139" y="80"/>
                    <a:pt x="139" y="80"/>
                    <a:pt x="140" y="80"/>
                  </a:cubicBezTo>
                  <a:cubicBezTo>
                    <a:pt x="140" y="80"/>
                    <a:pt x="140" y="80"/>
                    <a:pt x="140" y="80"/>
                  </a:cubicBezTo>
                  <a:cubicBezTo>
                    <a:pt x="140" y="80"/>
                    <a:pt x="140" y="80"/>
                    <a:pt x="141" y="80"/>
                  </a:cubicBezTo>
                  <a:cubicBezTo>
                    <a:pt x="141" y="80"/>
                    <a:pt x="141" y="80"/>
                    <a:pt x="141" y="79"/>
                  </a:cubicBezTo>
                  <a:cubicBezTo>
                    <a:pt x="141" y="79"/>
                    <a:pt x="141" y="79"/>
                    <a:pt x="142" y="79"/>
                  </a:cubicBezTo>
                  <a:cubicBezTo>
                    <a:pt x="142" y="79"/>
                    <a:pt x="142" y="79"/>
                    <a:pt x="142" y="79"/>
                  </a:cubicBezTo>
                  <a:cubicBezTo>
                    <a:pt x="142" y="79"/>
                    <a:pt x="143" y="79"/>
                    <a:pt x="143" y="79"/>
                  </a:cubicBezTo>
                  <a:cubicBezTo>
                    <a:pt x="143" y="79"/>
                    <a:pt x="143" y="79"/>
                    <a:pt x="143" y="79"/>
                  </a:cubicBezTo>
                  <a:cubicBezTo>
                    <a:pt x="144" y="79"/>
                    <a:pt x="144" y="79"/>
                    <a:pt x="144" y="79"/>
                  </a:cubicBezTo>
                  <a:cubicBezTo>
                    <a:pt x="144" y="79"/>
                    <a:pt x="144" y="79"/>
                    <a:pt x="144" y="78"/>
                  </a:cubicBezTo>
                  <a:cubicBezTo>
                    <a:pt x="145" y="78"/>
                    <a:pt x="145" y="78"/>
                    <a:pt x="145" y="78"/>
                  </a:cubicBezTo>
                  <a:cubicBezTo>
                    <a:pt x="145" y="78"/>
                    <a:pt x="145" y="78"/>
                    <a:pt x="145" y="78"/>
                  </a:cubicBezTo>
                  <a:cubicBezTo>
                    <a:pt x="146" y="78"/>
                    <a:pt x="146" y="78"/>
                    <a:pt x="146" y="78"/>
                  </a:cubicBezTo>
                  <a:cubicBezTo>
                    <a:pt x="146" y="78"/>
                    <a:pt x="146" y="78"/>
                    <a:pt x="146" y="78"/>
                  </a:cubicBezTo>
                  <a:cubicBezTo>
                    <a:pt x="147" y="78"/>
                    <a:pt x="147" y="78"/>
                    <a:pt x="147" y="78"/>
                  </a:cubicBezTo>
                  <a:cubicBezTo>
                    <a:pt x="147" y="78"/>
                    <a:pt x="147" y="77"/>
                    <a:pt x="147" y="77"/>
                  </a:cubicBezTo>
                  <a:cubicBezTo>
                    <a:pt x="148" y="77"/>
                    <a:pt x="148" y="77"/>
                    <a:pt x="149" y="77"/>
                  </a:cubicBezTo>
                  <a:cubicBezTo>
                    <a:pt x="149" y="77"/>
                    <a:pt x="149" y="77"/>
                    <a:pt x="149" y="77"/>
                  </a:cubicBezTo>
                  <a:cubicBezTo>
                    <a:pt x="149" y="77"/>
                    <a:pt x="150" y="77"/>
                    <a:pt x="150" y="77"/>
                  </a:cubicBezTo>
                  <a:cubicBezTo>
                    <a:pt x="150" y="77"/>
                    <a:pt x="150" y="77"/>
                    <a:pt x="150" y="77"/>
                  </a:cubicBezTo>
                  <a:cubicBezTo>
                    <a:pt x="150" y="77"/>
                    <a:pt x="151" y="77"/>
                    <a:pt x="151" y="77"/>
                  </a:cubicBezTo>
                  <a:cubicBezTo>
                    <a:pt x="151" y="77"/>
                    <a:pt x="151" y="76"/>
                    <a:pt x="151" y="76"/>
                  </a:cubicBezTo>
                  <a:cubicBezTo>
                    <a:pt x="151" y="76"/>
                    <a:pt x="152" y="76"/>
                    <a:pt x="152" y="76"/>
                  </a:cubicBezTo>
                  <a:cubicBezTo>
                    <a:pt x="152" y="76"/>
                    <a:pt x="152" y="76"/>
                    <a:pt x="152" y="76"/>
                  </a:cubicBezTo>
                  <a:cubicBezTo>
                    <a:pt x="152" y="76"/>
                    <a:pt x="153" y="76"/>
                    <a:pt x="153" y="76"/>
                  </a:cubicBezTo>
                  <a:cubicBezTo>
                    <a:pt x="153" y="76"/>
                    <a:pt x="153" y="76"/>
                    <a:pt x="153" y="76"/>
                  </a:cubicBezTo>
                  <a:cubicBezTo>
                    <a:pt x="154" y="75"/>
                    <a:pt x="155" y="75"/>
                    <a:pt x="157" y="75"/>
                  </a:cubicBezTo>
                  <a:cubicBezTo>
                    <a:pt x="157" y="75"/>
                    <a:pt x="157" y="75"/>
                    <a:pt x="157" y="75"/>
                  </a:cubicBezTo>
                  <a:cubicBezTo>
                    <a:pt x="157" y="74"/>
                    <a:pt x="157" y="74"/>
                    <a:pt x="158" y="74"/>
                  </a:cubicBezTo>
                  <a:cubicBezTo>
                    <a:pt x="158" y="74"/>
                    <a:pt x="158" y="73"/>
                    <a:pt x="158" y="73"/>
                  </a:cubicBezTo>
                  <a:cubicBezTo>
                    <a:pt x="158" y="73"/>
                    <a:pt x="158" y="72"/>
                    <a:pt x="159" y="72"/>
                  </a:cubicBezTo>
                  <a:cubicBezTo>
                    <a:pt x="159" y="72"/>
                    <a:pt x="159" y="72"/>
                    <a:pt x="159" y="71"/>
                  </a:cubicBezTo>
                  <a:cubicBezTo>
                    <a:pt x="160" y="71"/>
                    <a:pt x="160" y="70"/>
                    <a:pt x="161" y="70"/>
                  </a:cubicBezTo>
                  <a:cubicBezTo>
                    <a:pt x="161" y="70"/>
                    <a:pt x="161" y="70"/>
                    <a:pt x="161" y="69"/>
                  </a:cubicBezTo>
                  <a:cubicBezTo>
                    <a:pt x="161" y="69"/>
                    <a:pt x="162" y="69"/>
                    <a:pt x="162" y="68"/>
                  </a:cubicBezTo>
                  <a:cubicBezTo>
                    <a:pt x="162" y="68"/>
                    <a:pt x="162" y="68"/>
                    <a:pt x="162" y="68"/>
                  </a:cubicBezTo>
                  <a:cubicBezTo>
                    <a:pt x="163" y="67"/>
                    <a:pt x="163" y="67"/>
                    <a:pt x="164" y="66"/>
                  </a:cubicBezTo>
                  <a:cubicBezTo>
                    <a:pt x="164" y="66"/>
                    <a:pt x="164" y="66"/>
                    <a:pt x="164" y="65"/>
                  </a:cubicBezTo>
                  <a:cubicBezTo>
                    <a:pt x="164" y="65"/>
                    <a:pt x="164" y="65"/>
                    <a:pt x="165" y="65"/>
                  </a:cubicBezTo>
                  <a:cubicBezTo>
                    <a:pt x="165" y="65"/>
                    <a:pt x="165" y="65"/>
                    <a:pt x="165" y="65"/>
                  </a:cubicBezTo>
                  <a:cubicBezTo>
                    <a:pt x="165" y="65"/>
                    <a:pt x="165" y="65"/>
                    <a:pt x="165" y="64"/>
                  </a:cubicBezTo>
                  <a:cubicBezTo>
                    <a:pt x="165" y="64"/>
                    <a:pt x="165" y="64"/>
                    <a:pt x="165" y="64"/>
                  </a:cubicBezTo>
                  <a:cubicBezTo>
                    <a:pt x="166" y="63"/>
                    <a:pt x="166" y="63"/>
                    <a:pt x="167" y="62"/>
                  </a:cubicBezTo>
                  <a:cubicBezTo>
                    <a:pt x="167" y="62"/>
                    <a:pt x="167" y="62"/>
                    <a:pt x="167" y="62"/>
                  </a:cubicBezTo>
                  <a:cubicBezTo>
                    <a:pt x="167" y="61"/>
                    <a:pt x="167" y="61"/>
                    <a:pt x="168" y="61"/>
                  </a:cubicBezTo>
                  <a:cubicBezTo>
                    <a:pt x="168" y="61"/>
                    <a:pt x="168" y="61"/>
                    <a:pt x="168" y="61"/>
                  </a:cubicBezTo>
                  <a:cubicBezTo>
                    <a:pt x="168" y="61"/>
                    <a:pt x="168" y="61"/>
                    <a:pt x="168" y="61"/>
                  </a:cubicBezTo>
                  <a:cubicBezTo>
                    <a:pt x="168" y="60"/>
                    <a:pt x="168" y="60"/>
                    <a:pt x="168" y="60"/>
                  </a:cubicBezTo>
                  <a:cubicBezTo>
                    <a:pt x="169" y="59"/>
                    <a:pt x="170" y="59"/>
                    <a:pt x="170" y="58"/>
                  </a:cubicBezTo>
                  <a:cubicBezTo>
                    <a:pt x="170" y="58"/>
                    <a:pt x="170" y="58"/>
                    <a:pt x="170" y="58"/>
                  </a:cubicBezTo>
                  <a:cubicBezTo>
                    <a:pt x="171" y="57"/>
                    <a:pt x="171" y="57"/>
                    <a:pt x="172" y="57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56"/>
                    <a:pt x="173" y="55"/>
                    <a:pt x="173" y="55"/>
                  </a:cubicBezTo>
                  <a:cubicBezTo>
                    <a:pt x="173" y="54"/>
                    <a:pt x="173" y="54"/>
                    <a:pt x="173" y="54"/>
                  </a:cubicBezTo>
                  <a:cubicBezTo>
                    <a:pt x="174" y="54"/>
                    <a:pt x="174" y="53"/>
                    <a:pt x="175" y="53"/>
                  </a:cubicBezTo>
                  <a:cubicBezTo>
                    <a:pt x="175" y="53"/>
                    <a:pt x="175" y="52"/>
                    <a:pt x="175" y="52"/>
                  </a:cubicBezTo>
                  <a:cubicBezTo>
                    <a:pt x="175" y="52"/>
                    <a:pt x="176" y="51"/>
                    <a:pt x="176" y="51"/>
                  </a:cubicBezTo>
                  <a:cubicBezTo>
                    <a:pt x="176" y="51"/>
                    <a:pt x="176" y="50"/>
                    <a:pt x="176" y="50"/>
                  </a:cubicBezTo>
                  <a:cubicBezTo>
                    <a:pt x="177" y="50"/>
                    <a:pt x="177" y="49"/>
                    <a:pt x="178" y="49"/>
                  </a:cubicBezTo>
                  <a:cubicBezTo>
                    <a:pt x="178" y="49"/>
                    <a:pt x="178" y="49"/>
                    <a:pt x="178" y="48"/>
                  </a:cubicBezTo>
                  <a:cubicBezTo>
                    <a:pt x="178" y="47"/>
                    <a:pt x="179" y="48"/>
                    <a:pt x="180" y="46"/>
                  </a:cubicBezTo>
                  <a:cubicBezTo>
                    <a:pt x="181" y="46"/>
                    <a:pt x="183" y="45"/>
                    <a:pt x="184" y="44"/>
                  </a:cubicBezTo>
                  <a:cubicBezTo>
                    <a:pt x="185" y="44"/>
                    <a:pt x="186" y="43"/>
                    <a:pt x="187" y="43"/>
                  </a:cubicBezTo>
                  <a:cubicBezTo>
                    <a:pt x="187" y="43"/>
                    <a:pt x="187" y="43"/>
                    <a:pt x="187" y="42"/>
                  </a:cubicBezTo>
                  <a:cubicBezTo>
                    <a:pt x="187" y="42"/>
                    <a:pt x="188" y="42"/>
                    <a:pt x="188" y="42"/>
                  </a:cubicBezTo>
                  <a:cubicBezTo>
                    <a:pt x="188" y="42"/>
                    <a:pt x="188" y="42"/>
                    <a:pt x="188" y="42"/>
                  </a:cubicBezTo>
                  <a:cubicBezTo>
                    <a:pt x="189" y="42"/>
                    <a:pt x="189" y="42"/>
                    <a:pt x="189" y="42"/>
                  </a:cubicBezTo>
                  <a:cubicBezTo>
                    <a:pt x="189" y="42"/>
                    <a:pt x="189" y="41"/>
                    <a:pt x="189" y="41"/>
                  </a:cubicBezTo>
                  <a:cubicBezTo>
                    <a:pt x="189" y="41"/>
                    <a:pt x="189" y="41"/>
                    <a:pt x="190" y="41"/>
                  </a:cubicBezTo>
                  <a:cubicBezTo>
                    <a:pt x="190" y="41"/>
                    <a:pt x="190" y="41"/>
                    <a:pt x="190" y="41"/>
                  </a:cubicBezTo>
                  <a:cubicBezTo>
                    <a:pt x="190" y="41"/>
                    <a:pt x="190" y="41"/>
                    <a:pt x="190" y="41"/>
                  </a:cubicBezTo>
                  <a:cubicBezTo>
                    <a:pt x="190" y="41"/>
                    <a:pt x="190" y="41"/>
                    <a:pt x="190" y="41"/>
                  </a:cubicBezTo>
                  <a:cubicBezTo>
                    <a:pt x="191" y="41"/>
                    <a:pt x="191" y="41"/>
                    <a:pt x="191" y="41"/>
                  </a:cubicBezTo>
                  <a:cubicBezTo>
                    <a:pt x="191" y="41"/>
                    <a:pt x="191" y="40"/>
                    <a:pt x="191" y="40"/>
                  </a:cubicBezTo>
                  <a:cubicBezTo>
                    <a:pt x="192" y="40"/>
                    <a:pt x="192" y="40"/>
                    <a:pt x="193" y="40"/>
                  </a:cubicBezTo>
                  <a:cubicBezTo>
                    <a:pt x="193" y="40"/>
                    <a:pt x="193" y="40"/>
                    <a:pt x="193" y="40"/>
                  </a:cubicBezTo>
                  <a:cubicBezTo>
                    <a:pt x="193" y="39"/>
                    <a:pt x="194" y="39"/>
                    <a:pt x="195" y="39"/>
                  </a:cubicBezTo>
                  <a:cubicBezTo>
                    <a:pt x="195" y="39"/>
                    <a:pt x="195" y="38"/>
                    <a:pt x="195" y="38"/>
                  </a:cubicBezTo>
                  <a:cubicBezTo>
                    <a:pt x="195" y="38"/>
                    <a:pt x="196" y="38"/>
                    <a:pt x="196" y="38"/>
                  </a:cubicBezTo>
                  <a:cubicBezTo>
                    <a:pt x="196" y="38"/>
                    <a:pt x="196" y="38"/>
                    <a:pt x="196" y="37"/>
                  </a:cubicBezTo>
                  <a:cubicBezTo>
                    <a:pt x="197" y="37"/>
                    <a:pt x="197" y="37"/>
                    <a:pt x="197" y="37"/>
                  </a:cubicBezTo>
                  <a:cubicBezTo>
                    <a:pt x="197" y="37"/>
                    <a:pt x="197" y="37"/>
                    <a:pt x="197" y="37"/>
                  </a:cubicBezTo>
                  <a:cubicBezTo>
                    <a:pt x="197" y="37"/>
                    <a:pt x="198" y="37"/>
                    <a:pt x="198" y="37"/>
                  </a:cubicBezTo>
                  <a:cubicBezTo>
                    <a:pt x="198" y="37"/>
                    <a:pt x="198" y="37"/>
                    <a:pt x="198" y="37"/>
                  </a:cubicBezTo>
                  <a:cubicBezTo>
                    <a:pt x="198" y="37"/>
                    <a:pt x="198" y="37"/>
                    <a:pt x="198" y="37"/>
                  </a:cubicBezTo>
                  <a:cubicBezTo>
                    <a:pt x="198" y="37"/>
                    <a:pt x="198" y="37"/>
                    <a:pt x="198" y="36"/>
                  </a:cubicBezTo>
                  <a:cubicBezTo>
                    <a:pt x="199" y="36"/>
                    <a:pt x="199" y="36"/>
                    <a:pt x="199" y="36"/>
                  </a:cubicBezTo>
                  <a:cubicBezTo>
                    <a:pt x="199" y="36"/>
                    <a:pt x="199" y="36"/>
                    <a:pt x="199" y="36"/>
                  </a:cubicBezTo>
                  <a:cubicBezTo>
                    <a:pt x="199" y="36"/>
                    <a:pt x="200" y="36"/>
                    <a:pt x="200" y="36"/>
                  </a:cubicBezTo>
                  <a:cubicBezTo>
                    <a:pt x="200" y="36"/>
                    <a:pt x="200" y="36"/>
                    <a:pt x="200" y="36"/>
                  </a:cubicBezTo>
                  <a:cubicBezTo>
                    <a:pt x="200" y="36"/>
                    <a:pt x="200" y="36"/>
                    <a:pt x="201" y="36"/>
                  </a:cubicBezTo>
                  <a:cubicBezTo>
                    <a:pt x="201" y="36"/>
                    <a:pt x="201" y="35"/>
                    <a:pt x="201" y="35"/>
                  </a:cubicBezTo>
                  <a:cubicBezTo>
                    <a:pt x="201" y="35"/>
                    <a:pt x="201" y="35"/>
                    <a:pt x="201" y="35"/>
                  </a:cubicBezTo>
                  <a:cubicBezTo>
                    <a:pt x="201" y="35"/>
                    <a:pt x="201" y="35"/>
                    <a:pt x="201" y="35"/>
                  </a:cubicBezTo>
                  <a:cubicBezTo>
                    <a:pt x="202" y="35"/>
                    <a:pt x="202" y="35"/>
                    <a:pt x="202" y="35"/>
                  </a:cubicBezTo>
                  <a:cubicBezTo>
                    <a:pt x="202" y="35"/>
                    <a:pt x="202" y="35"/>
                    <a:pt x="202" y="35"/>
                  </a:cubicBezTo>
                  <a:cubicBezTo>
                    <a:pt x="202" y="35"/>
                    <a:pt x="202" y="35"/>
                    <a:pt x="203" y="35"/>
                  </a:cubicBezTo>
                  <a:cubicBezTo>
                    <a:pt x="203" y="34"/>
                    <a:pt x="203" y="34"/>
                    <a:pt x="203" y="34"/>
                  </a:cubicBezTo>
                  <a:cubicBezTo>
                    <a:pt x="203" y="34"/>
                    <a:pt x="203" y="34"/>
                    <a:pt x="204" y="34"/>
                  </a:cubicBezTo>
                  <a:cubicBezTo>
                    <a:pt x="204" y="34"/>
                    <a:pt x="204" y="34"/>
                    <a:pt x="204" y="34"/>
                  </a:cubicBezTo>
                  <a:cubicBezTo>
                    <a:pt x="204" y="34"/>
                    <a:pt x="204" y="34"/>
                    <a:pt x="204" y="34"/>
                  </a:cubicBezTo>
                  <a:cubicBezTo>
                    <a:pt x="204" y="34"/>
                    <a:pt x="204" y="33"/>
                    <a:pt x="204" y="33"/>
                  </a:cubicBezTo>
                  <a:cubicBezTo>
                    <a:pt x="205" y="33"/>
                    <a:pt x="205" y="33"/>
                    <a:pt x="205" y="33"/>
                  </a:cubicBezTo>
                  <a:cubicBezTo>
                    <a:pt x="205" y="33"/>
                    <a:pt x="205" y="33"/>
                    <a:pt x="205" y="33"/>
                  </a:cubicBezTo>
                  <a:cubicBezTo>
                    <a:pt x="205" y="33"/>
                    <a:pt x="206" y="33"/>
                    <a:pt x="206" y="33"/>
                  </a:cubicBezTo>
                  <a:cubicBezTo>
                    <a:pt x="206" y="33"/>
                    <a:pt x="206" y="33"/>
                    <a:pt x="206" y="33"/>
                  </a:cubicBezTo>
                  <a:cubicBezTo>
                    <a:pt x="206" y="33"/>
                    <a:pt x="206" y="33"/>
                    <a:pt x="207" y="33"/>
                  </a:cubicBezTo>
                  <a:cubicBezTo>
                    <a:pt x="207" y="32"/>
                    <a:pt x="207" y="32"/>
                    <a:pt x="207" y="32"/>
                  </a:cubicBezTo>
                  <a:cubicBezTo>
                    <a:pt x="207" y="32"/>
                    <a:pt x="207" y="32"/>
                    <a:pt x="207" y="32"/>
                  </a:cubicBezTo>
                  <a:cubicBezTo>
                    <a:pt x="207" y="32"/>
                    <a:pt x="207" y="32"/>
                    <a:pt x="207" y="32"/>
                  </a:cubicBezTo>
                  <a:cubicBezTo>
                    <a:pt x="208" y="32"/>
                    <a:pt x="209" y="31"/>
                    <a:pt x="209" y="31"/>
                  </a:cubicBezTo>
                  <a:cubicBezTo>
                    <a:pt x="209" y="31"/>
                    <a:pt x="209" y="31"/>
                    <a:pt x="209" y="31"/>
                  </a:cubicBezTo>
                  <a:cubicBezTo>
                    <a:pt x="211" y="31"/>
                    <a:pt x="213" y="30"/>
                    <a:pt x="215" y="30"/>
                  </a:cubicBezTo>
                  <a:cubicBezTo>
                    <a:pt x="218" y="29"/>
                    <a:pt x="221" y="29"/>
                    <a:pt x="224" y="28"/>
                  </a:cubicBezTo>
                  <a:cubicBezTo>
                    <a:pt x="225" y="28"/>
                    <a:pt x="225" y="28"/>
                    <a:pt x="226" y="28"/>
                  </a:cubicBezTo>
                  <a:cubicBezTo>
                    <a:pt x="227" y="28"/>
                    <a:pt x="229" y="27"/>
                    <a:pt x="230" y="27"/>
                  </a:cubicBezTo>
                  <a:cubicBezTo>
                    <a:pt x="230" y="26"/>
                    <a:pt x="230" y="24"/>
                    <a:pt x="231" y="23"/>
                  </a:cubicBezTo>
                  <a:cubicBezTo>
                    <a:pt x="231" y="23"/>
                    <a:pt x="231" y="22"/>
                    <a:pt x="231" y="21"/>
                  </a:cubicBezTo>
                  <a:cubicBezTo>
                    <a:pt x="231" y="19"/>
                    <a:pt x="232" y="15"/>
                    <a:pt x="232" y="13"/>
                  </a:cubicBezTo>
                  <a:cubicBezTo>
                    <a:pt x="232" y="12"/>
                    <a:pt x="232" y="11"/>
                    <a:pt x="232" y="10"/>
                  </a:cubicBezTo>
                  <a:cubicBezTo>
                    <a:pt x="233" y="10"/>
                    <a:pt x="233" y="10"/>
                    <a:pt x="233" y="10"/>
                  </a:cubicBezTo>
                  <a:cubicBezTo>
                    <a:pt x="233" y="10"/>
                    <a:pt x="233" y="9"/>
                    <a:pt x="233" y="8"/>
                  </a:cubicBezTo>
                  <a:cubicBezTo>
                    <a:pt x="233" y="7"/>
                    <a:pt x="233" y="5"/>
                    <a:pt x="234" y="4"/>
                  </a:cubicBezTo>
                  <a:cubicBezTo>
                    <a:pt x="234" y="4"/>
                    <a:pt x="234" y="4"/>
                    <a:pt x="234" y="4"/>
                  </a:cubicBezTo>
                  <a:cubicBezTo>
                    <a:pt x="234" y="4"/>
                    <a:pt x="234" y="4"/>
                    <a:pt x="234" y="4"/>
                  </a:cubicBezTo>
                  <a:cubicBezTo>
                    <a:pt x="234" y="5"/>
                    <a:pt x="234" y="5"/>
                    <a:pt x="234" y="5"/>
                  </a:cubicBezTo>
                  <a:cubicBezTo>
                    <a:pt x="235" y="5"/>
                    <a:pt x="235" y="5"/>
                    <a:pt x="235" y="5"/>
                  </a:cubicBezTo>
                  <a:cubicBezTo>
                    <a:pt x="235" y="5"/>
                    <a:pt x="235" y="6"/>
                    <a:pt x="235" y="6"/>
                  </a:cubicBezTo>
                  <a:cubicBezTo>
                    <a:pt x="238" y="5"/>
                    <a:pt x="242" y="4"/>
                    <a:pt x="245" y="4"/>
                  </a:cubicBezTo>
                  <a:cubicBezTo>
                    <a:pt x="246" y="4"/>
                    <a:pt x="247" y="4"/>
                    <a:pt x="247" y="4"/>
                  </a:cubicBezTo>
                  <a:cubicBezTo>
                    <a:pt x="247" y="3"/>
                    <a:pt x="247" y="3"/>
                    <a:pt x="247" y="3"/>
                  </a:cubicBezTo>
                  <a:cubicBezTo>
                    <a:pt x="248" y="3"/>
                    <a:pt x="249" y="3"/>
                    <a:pt x="249" y="3"/>
                  </a:cubicBezTo>
                  <a:cubicBezTo>
                    <a:pt x="249" y="3"/>
                    <a:pt x="249" y="3"/>
                    <a:pt x="249" y="3"/>
                  </a:cubicBezTo>
                  <a:cubicBezTo>
                    <a:pt x="250" y="3"/>
                    <a:pt x="251" y="3"/>
                    <a:pt x="251" y="3"/>
                  </a:cubicBezTo>
                  <a:cubicBezTo>
                    <a:pt x="251" y="3"/>
                    <a:pt x="251" y="3"/>
                    <a:pt x="251" y="3"/>
                  </a:cubicBezTo>
                  <a:cubicBezTo>
                    <a:pt x="252" y="3"/>
                    <a:pt x="253" y="3"/>
                    <a:pt x="253" y="3"/>
                  </a:cubicBezTo>
                  <a:cubicBezTo>
                    <a:pt x="253" y="2"/>
                    <a:pt x="253" y="2"/>
                    <a:pt x="253" y="2"/>
                  </a:cubicBezTo>
                  <a:cubicBezTo>
                    <a:pt x="254" y="2"/>
                    <a:pt x="255" y="2"/>
                    <a:pt x="255" y="2"/>
                  </a:cubicBezTo>
                  <a:cubicBezTo>
                    <a:pt x="255" y="2"/>
                    <a:pt x="255" y="2"/>
                    <a:pt x="255" y="2"/>
                  </a:cubicBezTo>
                  <a:cubicBezTo>
                    <a:pt x="256" y="2"/>
                    <a:pt x="257" y="2"/>
                    <a:pt x="258" y="2"/>
                  </a:cubicBezTo>
                  <a:cubicBezTo>
                    <a:pt x="260" y="1"/>
                    <a:pt x="263" y="0"/>
                    <a:pt x="266" y="0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</a:ln>
            <a:effectLst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64800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4000" b="1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0000"/>
                </a:solidFill>
                <a:latin typeface="UKIJ Qolyazma" pitchFamily="18" charset="0"/>
                <a:cs typeface="UKIJ Qolyazma" pitchFamily="18" charset="0"/>
              </a:endParaRPr>
            </a:p>
          </p:txBody>
        </p:sp>
        <p:sp>
          <p:nvSpPr>
            <p:cNvPr id="111" name="Freeform 23">
              <a:extLst>
                <a:ext uri="{FF2B5EF4-FFF2-40B4-BE49-F238E27FC236}">
                  <a16:creationId xmlns:a16="http://schemas.microsoft.com/office/drawing/2014/main" id="{C6D1DEA3-BE5D-9BB8-2F4F-EC5D591E74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894503" y="2236458"/>
              <a:ext cx="620691" cy="738035"/>
            </a:xfrm>
            <a:custGeom>
              <a:avLst/>
              <a:gdLst>
                <a:gd name="T0" fmla="*/ 218 w 285"/>
                <a:gd name="T1" fmla="*/ 151 h 339"/>
                <a:gd name="T2" fmla="*/ 220 w 285"/>
                <a:gd name="T3" fmla="*/ 158 h 339"/>
                <a:gd name="T4" fmla="*/ 223 w 285"/>
                <a:gd name="T5" fmla="*/ 164 h 339"/>
                <a:gd name="T6" fmla="*/ 225 w 285"/>
                <a:gd name="T7" fmla="*/ 172 h 339"/>
                <a:gd name="T8" fmla="*/ 223 w 285"/>
                <a:gd name="T9" fmla="*/ 181 h 339"/>
                <a:gd name="T10" fmla="*/ 220 w 285"/>
                <a:gd name="T11" fmla="*/ 189 h 339"/>
                <a:gd name="T12" fmla="*/ 189 w 285"/>
                <a:gd name="T13" fmla="*/ 207 h 339"/>
                <a:gd name="T14" fmla="*/ 185 w 285"/>
                <a:gd name="T15" fmla="*/ 213 h 339"/>
                <a:gd name="T16" fmla="*/ 183 w 285"/>
                <a:gd name="T17" fmla="*/ 219 h 339"/>
                <a:gd name="T18" fmla="*/ 183 w 285"/>
                <a:gd name="T19" fmla="*/ 229 h 339"/>
                <a:gd name="T20" fmla="*/ 195 w 285"/>
                <a:gd name="T21" fmla="*/ 242 h 339"/>
                <a:gd name="T22" fmla="*/ 207 w 285"/>
                <a:gd name="T23" fmla="*/ 257 h 339"/>
                <a:gd name="T24" fmla="*/ 222 w 285"/>
                <a:gd name="T25" fmla="*/ 260 h 339"/>
                <a:gd name="T26" fmla="*/ 230 w 285"/>
                <a:gd name="T27" fmla="*/ 255 h 339"/>
                <a:gd name="T28" fmla="*/ 238 w 285"/>
                <a:gd name="T29" fmla="*/ 250 h 339"/>
                <a:gd name="T30" fmla="*/ 249 w 285"/>
                <a:gd name="T31" fmla="*/ 289 h 339"/>
                <a:gd name="T32" fmla="*/ 266 w 285"/>
                <a:gd name="T33" fmla="*/ 297 h 339"/>
                <a:gd name="T34" fmla="*/ 282 w 285"/>
                <a:gd name="T35" fmla="*/ 290 h 339"/>
                <a:gd name="T36" fmla="*/ 250 w 285"/>
                <a:gd name="T37" fmla="*/ 337 h 339"/>
                <a:gd name="T38" fmla="*/ 245 w 285"/>
                <a:gd name="T39" fmla="*/ 333 h 339"/>
                <a:gd name="T40" fmla="*/ 163 w 285"/>
                <a:gd name="T41" fmla="*/ 312 h 339"/>
                <a:gd name="T42" fmla="*/ 153 w 285"/>
                <a:gd name="T43" fmla="*/ 307 h 339"/>
                <a:gd name="T44" fmla="*/ 151 w 285"/>
                <a:gd name="T45" fmla="*/ 302 h 339"/>
                <a:gd name="T46" fmla="*/ 149 w 285"/>
                <a:gd name="T47" fmla="*/ 298 h 339"/>
                <a:gd name="T48" fmla="*/ 147 w 285"/>
                <a:gd name="T49" fmla="*/ 292 h 339"/>
                <a:gd name="T50" fmla="*/ 144 w 285"/>
                <a:gd name="T51" fmla="*/ 286 h 339"/>
                <a:gd name="T52" fmla="*/ 142 w 285"/>
                <a:gd name="T53" fmla="*/ 281 h 339"/>
                <a:gd name="T54" fmla="*/ 140 w 285"/>
                <a:gd name="T55" fmla="*/ 277 h 339"/>
                <a:gd name="T56" fmla="*/ 137 w 285"/>
                <a:gd name="T57" fmla="*/ 269 h 339"/>
                <a:gd name="T58" fmla="*/ 87 w 285"/>
                <a:gd name="T59" fmla="*/ 270 h 339"/>
                <a:gd name="T60" fmla="*/ 88 w 285"/>
                <a:gd name="T61" fmla="*/ 226 h 339"/>
                <a:gd name="T62" fmla="*/ 77 w 285"/>
                <a:gd name="T63" fmla="*/ 200 h 339"/>
                <a:gd name="T64" fmla="*/ 70 w 285"/>
                <a:gd name="T65" fmla="*/ 194 h 339"/>
                <a:gd name="T66" fmla="*/ 60 w 285"/>
                <a:gd name="T67" fmla="*/ 186 h 339"/>
                <a:gd name="T68" fmla="*/ 50 w 285"/>
                <a:gd name="T69" fmla="*/ 178 h 339"/>
                <a:gd name="T70" fmla="*/ 5 w 285"/>
                <a:gd name="T71" fmla="*/ 179 h 339"/>
                <a:gd name="T72" fmla="*/ 4 w 285"/>
                <a:gd name="T73" fmla="*/ 174 h 339"/>
                <a:gd name="T74" fmla="*/ 6 w 285"/>
                <a:gd name="T75" fmla="*/ 171 h 339"/>
                <a:gd name="T76" fmla="*/ 8 w 285"/>
                <a:gd name="T77" fmla="*/ 166 h 339"/>
                <a:gd name="T78" fmla="*/ 10 w 285"/>
                <a:gd name="T79" fmla="*/ 162 h 339"/>
                <a:gd name="T80" fmla="*/ 12 w 285"/>
                <a:gd name="T81" fmla="*/ 157 h 339"/>
                <a:gd name="T82" fmla="*/ 15 w 285"/>
                <a:gd name="T83" fmla="*/ 152 h 339"/>
                <a:gd name="T84" fmla="*/ 17 w 285"/>
                <a:gd name="T85" fmla="*/ 143 h 339"/>
                <a:gd name="T86" fmla="*/ 27 w 285"/>
                <a:gd name="T87" fmla="*/ 137 h 339"/>
                <a:gd name="T88" fmla="*/ 44 w 285"/>
                <a:gd name="T89" fmla="*/ 124 h 339"/>
                <a:gd name="T90" fmla="*/ 77 w 285"/>
                <a:gd name="T91" fmla="*/ 90 h 339"/>
                <a:gd name="T92" fmla="*/ 88 w 285"/>
                <a:gd name="T93" fmla="*/ 79 h 339"/>
                <a:gd name="T94" fmla="*/ 98 w 285"/>
                <a:gd name="T95" fmla="*/ 66 h 339"/>
                <a:gd name="T96" fmla="*/ 142 w 285"/>
                <a:gd name="T97" fmla="*/ 20 h 339"/>
                <a:gd name="T98" fmla="*/ 153 w 285"/>
                <a:gd name="T99" fmla="*/ 6 h 339"/>
                <a:gd name="T100" fmla="*/ 159 w 285"/>
                <a:gd name="T101" fmla="*/ 3 h 339"/>
                <a:gd name="T102" fmla="*/ 166 w 285"/>
                <a:gd name="T103" fmla="*/ 0 h 339"/>
                <a:gd name="T104" fmla="*/ 195 w 285"/>
                <a:gd name="T105" fmla="*/ 14 h 339"/>
                <a:gd name="T106" fmla="*/ 204 w 285"/>
                <a:gd name="T107" fmla="*/ 25 h 339"/>
                <a:gd name="T108" fmla="*/ 209 w 285"/>
                <a:gd name="T109" fmla="*/ 31 h 339"/>
                <a:gd name="T110" fmla="*/ 212 w 285"/>
                <a:gd name="T111" fmla="*/ 38 h 339"/>
                <a:gd name="T112" fmla="*/ 218 w 285"/>
                <a:gd name="T113" fmla="*/ 46 h 339"/>
                <a:gd name="T114" fmla="*/ 220 w 285"/>
                <a:gd name="T115" fmla="*/ 51 h 339"/>
                <a:gd name="T116" fmla="*/ 214 w 285"/>
                <a:gd name="T117" fmla="*/ 65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85" h="339">
                  <a:moveTo>
                    <a:pt x="204" y="67"/>
                  </a:moveTo>
                  <a:cubicBezTo>
                    <a:pt x="203" y="78"/>
                    <a:pt x="201" y="89"/>
                    <a:pt x="200" y="101"/>
                  </a:cubicBezTo>
                  <a:cubicBezTo>
                    <a:pt x="204" y="109"/>
                    <a:pt x="208" y="116"/>
                    <a:pt x="212" y="124"/>
                  </a:cubicBezTo>
                  <a:cubicBezTo>
                    <a:pt x="213" y="133"/>
                    <a:pt x="215" y="141"/>
                    <a:pt x="217" y="149"/>
                  </a:cubicBezTo>
                  <a:cubicBezTo>
                    <a:pt x="217" y="149"/>
                    <a:pt x="217" y="149"/>
                    <a:pt x="217" y="149"/>
                  </a:cubicBezTo>
                  <a:cubicBezTo>
                    <a:pt x="217" y="149"/>
                    <a:pt x="217" y="149"/>
                    <a:pt x="217" y="150"/>
                  </a:cubicBezTo>
                  <a:cubicBezTo>
                    <a:pt x="217" y="150"/>
                    <a:pt x="217" y="150"/>
                    <a:pt x="217" y="150"/>
                  </a:cubicBezTo>
                  <a:cubicBezTo>
                    <a:pt x="217" y="150"/>
                    <a:pt x="217" y="150"/>
                    <a:pt x="217" y="151"/>
                  </a:cubicBezTo>
                  <a:cubicBezTo>
                    <a:pt x="217" y="151"/>
                    <a:pt x="217" y="151"/>
                    <a:pt x="218" y="151"/>
                  </a:cubicBezTo>
                  <a:cubicBezTo>
                    <a:pt x="218" y="151"/>
                    <a:pt x="218" y="151"/>
                    <a:pt x="218" y="151"/>
                  </a:cubicBezTo>
                  <a:cubicBezTo>
                    <a:pt x="218" y="151"/>
                    <a:pt x="218" y="151"/>
                    <a:pt x="218" y="151"/>
                  </a:cubicBezTo>
                  <a:cubicBezTo>
                    <a:pt x="218" y="152"/>
                    <a:pt x="218" y="152"/>
                    <a:pt x="218" y="152"/>
                  </a:cubicBezTo>
                  <a:cubicBezTo>
                    <a:pt x="218" y="152"/>
                    <a:pt x="218" y="152"/>
                    <a:pt x="218" y="152"/>
                  </a:cubicBezTo>
                  <a:cubicBezTo>
                    <a:pt x="218" y="153"/>
                    <a:pt x="219" y="153"/>
                    <a:pt x="219" y="154"/>
                  </a:cubicBezTo>
                  <a:cubicBezTo>
                    <a:pt x="219" y="154"/>
                    <a:pt x="219" y="154"/>
                    <a:pt x="219" y="154"/>
                  </a:cubicBezTo>
                  <a:cubicBezTo>
                    <a:pt x="219" y="154"/>
                    <a:pt x="219" y="155"/>
                    <a:pt x="219" y="156"/>
                  </a:cubicBezTo>
                  <a:cubicBezTo>
                    <a:pt x="219" y="156"/>
                    <a:pt x="220" y="156"/>
                    <a:pt x="220" y="156"/>
                  </a:cubicBezTo>
                  <a:cubicBezTo>
                    <a:pt x="220" y="156"/>
                    <a:pt x="220" y="156"/>
                    <a:pt x="220" y="157"/>
                  </a:cubicBezTo>
                  <a:cubicBezTo>
                    <a:pt x="220" y="157"/>
                    <a:pt x="220" y="157"/>
                    <a:pt x="220" y="157"/>
                  </a:cubicBezTo>
                  <a:cubicBezTo>
                    <a:pt x="220" y="157"/>
                    <a:pt x="220" y="157"/>
                    <a:pt x="220" y="157"/>
                  </a:cubicBezTo>
                  <a:cubicBezTo>
                    <a:pt x="220" y="157"/>
                    <a:pt x="220" y="157"/>
                    <a:pt x="220" y="157"/>
                  </a:cubicBezTo>
                  <a:cubicBezTo>
                    <a:pt x="220" y="158"/>
                    <a:pt x="220" y="158"/>
                    <a:pt x="220" y="158"/>
                  </a:cubicBezTo>
                  <a:cubicBezTo>
                    <a:pt x="221" y="158"/>
                    <a:pt x="221" y="158"/>
                    <a:pt x="221" y="158"/>
                  </a:cubicBezTo>
                  <a:cubicBezTo>
                    <a:pt x="221" y="159"/>
                    <a:pt x="221" y="159"/>
                    <a:pt x="221" y="160"/>
                  </a:cubicBezTo>
                  <a:cubicBezTo>
                    <a:pt x="221" y="160"/>
                    <a:pt x="221" y="160"/>
                    <a:pt x="221" y="160"/>
                  </a:cubicBezTo>
                  <a:cubicBezTo>
                    <a:pt x="221" y="160"/>
                    <a:pt x="221" y="160"/>
                    <a:pt x="221" y="161"/>
                  </a:cubicBezTo>
                  <a:cubicBezTo>
                    <a:pt x="222" y="161"/>
                    <a:pt x="222" y="161"/>
                    <a:pt x="222" y="161"/>
                  </a:cubicBezTo>
                  <a:cubicBezTo>
                    <a:pt x="222" y="161"/>
                    <a:pt x="222" y="162"/>
                    <a:pt x="222" y="163"/>
                  </a:cubicBezTo>
                  <a:cubicBezTo>
                    <a:pt x="222" y="163"/>
                    <a:pt x="222" y="163"/>
                    <a:pt x="223" y="163"/>
                  </a:cubicBezTo>
                  <a:cubicBezTo>
                    <a:pt x="223" y="163"/>
                    <a:pt x="223" y="163"/>
                    <a:pt x="223" y="163"/>
                  </a:cubicBezTo>
                  <a:cubicBezTo>
                    <a:pt x="223" y="163"/>
                    <a:pt x="223" y="163"/>
                    <a:pt x="223" y="163"/>
                  </a:cubicBezTo>
                  <a:cubicBezTo>
                    <a:pt x="223" y="164"/>
                    <a:pt x="223" y="164"/>
                    <a:pt x="223" y="164"/>
                  </a:cubicBezTo>
                  <a:cubicBezTo>
                    <a:pt x="223" y="164"/>
                    <a:pt x="223" y="164"/>
                    <a:pt x="223" y="164"/>
                  </a:cubicBezTo>
                  <a:cubicBezTo>
                    <a:pt x="223" y="165"/>
                    <a:pt x="223" y="165"/>
                    <a:pt x="224" y="166"/>
                  </a:cubicBezTo>
                  <a:cubicBezTo>
                    <a:pt x="224" y="166"/>
                    <a:pt x="224" y="166"/>
                    <a:pt x="224" y="166"/>
                  </a:cubicBezTo>
                  <a:cubicBezTo>
                    <a:pt x="224" y="166"/>
                    <a:pt x="224" y="166"/>
                    <a:pt x="224" y="167"/>
                  </a:cubicBezTo>
                  <a:cubicBezTo>
                    <a:pt x="224" y="167"/>
                    <a:pt x="224" y="167"/>
                    <a:pt x="224" y="167"/>
                  </a:cubicBezTo>
                  <a:cubicBezTo>
                    <a:pt x="224" y="167"/>
                    <a:pt x="224" y="167"/>
                    <a:pt x="224" y="167"/>
                  </a:cubicBezTo>
                  <a:cubicBezTo>
                    <a:pt x="224" y="167"/>
                    <a:pt x="224" y="167"/>
                    <a:pt x="225" y="167"/>
                  </a:cubicBezTo>
                  <a:cubicBezTo>
                    <a:pt x="225" y="168"/>
                    <a:pt x="225" y="168"/>
                    <a:pt x="225" y="168"/>
                  </a:cubicBezTo>
                  <a:cubicBezTo>
                    <a:pt x="225" y="168"/>
                    <a:pt x="225" y="168"/>
                    <a:pt x="225" y="168"/>
                  </a:cubicBezTo>
                  <a:cubicBezTo>
                    <a:pt x="225" y="169"/>
                    <a:pt x="225" y="169"/>
                    <a:pt x="225" y="169"/>
                  </a:cubicBezTo>
                  <a:cubicBezTo>
                    <a:pt x="225" y="169"/>
                    <a:pt x="225" y="169"/>
                    <a:pt x="225" y="169"/>
                  </a:cubicBezTo>
                  <a:cubicBezTo>
                    <a:pt x="226" y="171"/>
                    <a:pt x="225" y="172"/>
                    <a:pt x="225" y="172"/>
                  </a:cubicBezTo>
                  <a:cubicBezTo>
                    <a:pt x="225" y="173"/>
                    <a:pt x="225" y="173"/>
                    <a:pt x="225" y="174"/>
                  </a:cubicBezTo>
                  <a:cubicBezTo>
                    <a:pt x="224" y="174"/>
                    <a:pt x="224" y="174"/>
                    <a:pt x="224" y="174"/>
                  </a:cubicBezTo>
                  <a:cubicBezTo>
                    <a:pt x="224" y="174"/>
                    <a:pt x="224" y="174"/>
                    <a:pt x="224" y="175"/>
                  </a:cubicBezTo>
                  <a:cubicBezTo>
                    <a:pt x="224" y="175"/>
                    <a:pt x="224" y="175"/>
                    <a:pt x="224" y="175"/>
                  </a:cubicBezTo>
                  <a:cubicBezTo>
                    <a:pt x="224" y="175"/>
                    <a:pt x="224" y="175"/>
                    <a:pt x="224" y="176"/>
                  </a:cubicBezTo>
                  <a:cubicBezTo>
                    <a:pt x="224" y="176"/>
                    <a:pt x="224" y="176"/>
                    <a:pt x="224" y="176"/>
                  </a:cubicBezTo>
                  <a:cubicBezTo>
                    <a:pt x="223" y="177"/>
                    <a:pt x="223" y="177"/>
                    <a:pt x="223" y="178"/>
                  </a:cubicBezTo>
                  <a:cubicBezTo>
                    <a:pt x="223" y="178"/>
                    <a:pt x="223" y="178"/>
                    <a:pt x="223" y="178"/>
                  </a:cubicBezTo>
                  <a:cubicBezTo>
                    <a:pt x="223" y="179"/>
                    <a:pt x="223" y="179"/>
                    <a:pt x="223" y="180"/>
                  </a:cubicBezTo>
                  <a:cubicBezTo>
                    <a:pt x="223" y="180"/>
                    <a:pt x="223" y="180"/>
                    <a:pt x="223" y="180"/>
                  </a:cubicBezTo>
                  <a:cubicBezTo>
                    <a:pt x="223" y="180"/>
                    <a:pt x="223" y="180"/>
                    <a:pt x="223" y="181"/>
                  </a:cubicBezTo>
                  <a:cubicBezTo>
                    <a:pt x="222" y="181"/>
                    <a:pt x="222" y="181"/>
                    <a:pt x="222" y="181"/>
                  </a:cubicBezTo>
                  <a:cubicBezTo>
                    <a:pt x="222" y="181"/>
                    <a:pt x="222" y="182"/>
                    <a:pt x="222" y="182"/>
                  </a:cubicBezTo>
                  <a:cubicBezTo>
                    <a:pt x="222" y="182"/>
                    <a:pt x="222" y="182"/>
                    <a:pt x="222" y="182"/>
                  </a:cubicBezTo>
                  <a:cubicBezTo>
                    <a:pt x="222" y="182"/>
                    <a:pt x="222" y="183"/>
                    <a:pt x="222" y="183"/>
                  </a:cubicBezTo>
                  <a:cubicBezTo>
                    <a:pt x="222" y="183"/>
                    <a:pt x="222" y="183"/>
                    <a:pt x="221" y="183"/>
                  </a:cubicBezTo>
                  <a:cubicBezTo>
                    <a:pt x="221" y="184"/>
                    <a:pt x="221" y="184"/>
                    <a:pt x="221" y="184"/>
                  </a:cubicBezTo>
                  <a:cubicBezTo>
                    <a:pt x="221" y="184"/>
                    <a:pt x="221" y="184"/>
                    <a:pt x="221" y="184"/>
                  </a:cubicBezTo>
                  <a:cubicBezTo>
                    <a:pt x="221" y="185"/>
                    <a:pt x="221" y="186"/>
                    <a:pt x="221" y="187"/>
                  </a:cubicBezTo>
                  <a:cubicBezTo>
                    <a:pt x="221" y="187"/>
                    <a:pt x="221" y="187"/>
                    <a:pt x="220" y="187"/>
                  </a:cubicBezTo>
                  <a:cubicBezTo>
                    <a:pt x="220" y="187"/>
                    <a:pt x="220" y="188"/>
                    <a:pt x="220" y="189"/>
                  </a:cubicBezTo>
                  <a:cubicBezTo>
                    <a:pt x="220" y="189"/>
                    <a:pt x="220" y="189"/>
                    <a:pt x="220" y="189"/>
                  </a:cubicBezTo>
                  <a:cubicBezTo>
                    <a:pt x="219" y="190"/>
                    <a:pt x="219" y="191"/>
                    <a:pt x="219" y="193"/>
                  </a:cubicBezTo>
                  <a:cubicBezTo>
                    <a:pt x="219" y="193"/>
                    <a:pt x="219" y="193"/>
                    <a:pt x="219" y="193"/>
                  </a:cubicBezTo>
                  <a:cubicBezTo>
                    <a:pt x="219" y="193"/>
                    <a:pt x="219" y="194"/>
                    <a:pt x="219" y="194"/>
                  </a:cubicBezTo>
                  <a:cubicBezTo>
                    <a:pt x="218" y="196"/>
                    <a:pt x="217" y="198"/>
                    <a:pt x="217" y="200"/>
                  </a:cubicBezTo>
                  <a:cubicBezTo>
                    <a:pt x="215" y="200"/>
                    <a:pt x="212" y="199"/>
                    <a:pt x="210" y="199"/>
                  </a:cubicBezTo>
                  <a:cubicBezTo>
                    <a:pt x="209" y="199"/>
                    <a:pt x="209" y="199"/>
                    <a:pt x="208" y="199"/>
                  </a:cubicBezTo>
                  <a:cubicBezTo>
                    <a:pt x="206" y="198"/>
                    <a:pt x="203" y="198"/>
                    <a:pt x="202" y="198"/>
                  </a:cubicBezTo>
                  <a:cubicBezTo>
                    <a:pt x="201" y="198"/>
                    <a:pt x="200" y="198"/>
                    <a:pt x="199" y="198"/>
                  </a:cubicBezTo>
                  <a:cubicBezTo>
                    <a:pt x="198" y="197"/>
                    <a:pt x="196" y="197"/>
                    <a:pt x="194" y="196"/>
                  </a:cubicBezTo>
                  <a:cubicBezTo>
                    <a:pt x="192" y="200"/>
                    <a:pt x="190" y="203"/>
                    <a:pt x="189" y="207"/>
                  </a:cubicBezTo>
                  <a:cubicBezTo>
                    <a:pt x="189" y="207"/>
                    <a:pt x="189" y="207"/>
                    <a:pt x="189" y="207"/>
                  </a:cubicBezTo>
                  <a:cubicBezTo>
                    <a:pt x="188" y="207"/>
                    <a:pt x="188" y="207"/>
                    <a:pt x="188" y="207"/>
                  </a:cubicBezTo>
                  <a:cubicBezTo>
                    <a:pt x="188" y="208"/>
                    <a:pt x="188" y="208"/>
                    <a:pt x="188" y="209"/>
                  </a:cubicBezTo>
                  <a:cubicBezTo>
                    <a:pt x="188" y="209"/>
                    <a:pt x="188" y="209"/>
                    <a:pt x="188" y="209"/>
                  </a:cubicBezTo>
                  <a:cubicBezTo>
                    <a:pt x="187" y="209"/>
                    <a:pt x="187" y="210"/>
                    <a:pt x="187" y="210"/>
                  </a:cubicBezTo>
                  <a:cubicBezTo>
                    <a:pt x="187" y="210"/>
                    <a:pt x="187" y="210"/>
                    <a:pt x="187" y="210"/>
                  </a:cubicBezTo>
                  <a:cubicBezTo>
                    <a:pt x="187" y="211"/>
                    <a:pt x="187" y="211"/>
                    <a:pt x="186" y="211"/>
                  </a:cubicBezTo>
                  <a:cubicBezTo>
                    <a:pt x="186" y="211"/>
                    <a:pt x="186" y="211"/>
                    <a:pt x="186" y="211"/>
                  </a:cubicBezTo>
                  <a:cubicBezTo>
                    <a:pt x="186" y="212"/>
                    <a:pt x="186" y="212"/>
                    <a:pt x="186" y="212"/>
                  </a:cubicBezTo>
                  <a:cubicBezTo>
                    <a:pt x="186" y="212"/>
                    <a:pt x="186" y="212"/>
                    <a:pt x="186" y="212"/>
                  </a:cubicBezTo>
                  <a:cubicBezTo>
                    <a:pt x="186" y="212"/>
                    <a:pt x="186" y="213"/>
                    <a:pt x="186" y="213"/>
                  </a:cubicBezTo>
                  <a:cubicBezTo>
                    <a:pt x="186" y="213"/>
                    <a:pt x="186" y="213"/>
                    <a:pt x="185" y="213"/>
                  </a:cubicBezTo>
                  <a:cubicBezTo>
                    <a:pt x="185" y="213"/>
                    <a:pt x="185" y="213"/>
                    <a:pt x="185" y="214"/>
                  </a:cubicBezTo>
                  <a:cubicBezTo>
                    <a:pt x="185" y="214"/>
                    <a:pt x="185" y="214"/>
                    <a:pt x="185" y="214"/>
                  </a:cubicBezTo>
                  <a:cubicBezTo>
                    <a:pt x="185" y="214"/>
                    <a:pt x="185" y="214"/>
                    <a:pt x="185" y="214"/>
                  </a:cubicBezTo>
                  <a:cubicBezTo>
                    <a:pt x="185" y="214"/>
                    <a:pt x="185" y="214"/>
                    <a:pt x="185" y="214"/>
                  </a:cubicBezTo>
                  <a:cubicBezTo>
                    <a:pt x="185" y="215"/>
                    <a:pt x="184" y="216"/>
                    <a:pt x="184" y="216"/>
                  </a:cubicBezTo>
                  <a:cubicBezTo>
                    <a:pt x="184" y="216"/>
                    <a:pt x="184" y="216"/>
                    <a:pt x="184" y="216"/>
                  </a:cubicBezTo>
                  <a:cubicBezTo>
                    <a:pt x="184" y="217"/>
                    <a:pt x="183" y="217"/>
                    <a:pt x="183" y="218"/>
                  </a:cubicBezTo>
                  <a:cubicBezTo>
                    <a:pt x="183" y="218"/>
                    <a:pt x="183" y="218"/>
                    <a:pt x="183" y="218"/>
                  </a:cubicBezTo>
                  <a:cubicBezTo>
                    <a:pt x="183" y="218"/>
                    <a:pt x="183" y="218"/>
                    <a:pt x="183" y="218"/>
                  </a:cubicBezTo>
                  <a:cubicBezTo>
                    <a:pt x="183" y="218"/>
                    <a:pt x="183" y="218"/>
                    <a:pt x="183" y="218"/>
                  </a:cubicBezTo>
                  <a:cubicBezTo>
                    <a:pt x="183" y="219"/>
                    <a:pt x="183" y="219"/>
                    <a:pt x="183" y="219"/>
                  </a:cubicBezTo>
                  <a:cubicBezTo>
                    <a:pt x="183" y="219"/>
                    <a:pt x="182" y="219"/>
                    <a:pt x="182" y="219"/>
                  </a:cubicBezTo>
                  <a:cubicBezTo>
                    <a:pt x="182" y="219"/>
                    <a:pt x="182" y="220"/>
                    <a:pt x="182" y="220"/>
                  </a:cubicBezTo>
                  <a:cubicBezTo>
                    <a:pt x="182" y="220"/>
                    <a:pt x="182" y="220"/>
                    <a:pt x="182" y="220"/>
                  </a:cubicBezTo>
                  <a:cubicBezTo>
                    <a:pt x="182" y="220"/>
                    <a:pt x="182" y="220"/>
                    <a:pt x="182" y="221"/>
                  </a:cubicBezTo>
                  <a:cubicBezTo>
                    <a:pt x="182" y="221"/>
                    <a:pt x="182" y="221"/>
                    <a:pt x="182" y="221"/>
                  </a:cubicBezTo>
                  <a:cubicBezTo>
                    <a:pt x="181" y="221"/>
                    <a:pt x="181" y="222"/>
                    <a:pt x="181" y="222"/>
                  </a:cubicBezTo>
                  <a:cubicBezTo>
                    <a:pt x="181" y="223"/>
                    <a:pt x="180" y="224"/>
                    <a:pt x="180" y="225"/>
                  </a:cubicBezTo>
                  <a:cubicBezTo>
                    <a:pt x="180" y="225"/>
                    <a:pt x="181" y="226"/>
                    <a:pt x="181" y="226"/>
                  </a:cubicBezTo>
                  <a:cubicBezTo>
                    <a:pt x="181" y="226"/>
                    <a:pt x="181" y="226"/>
                    <a:pt x="181" y="227"/>
                  </a:cubicBezTo>
                  <a:cubicBezTo>
                    <a:pt x="182" y="227"/>
                    <a:pt x="183" y="228"/>
                    <a:pt x="183" y="229"/>
                  </a:cubicBezTo>
                  <a:cubicBezTo>
                    <a:pt x="183" y="229"/>
                    <a:pt x="183" y="229"/>
                    <a:pt x="183" y="229"/>
                  </a:cubicBezTo>
                  <a:cubicBezTo>
                    <a:pt x="184" y="230"/>
                    <a:pt x="185" y="231"/>
                    <a:pt x="186" y="231"/>
                  </a:cubicBezTo>
                  <a:cubicBezTo>
                    <a:pt x="186" y="232"/>
                    <a:pt x="186" y="232"/>
                    <a:pt x="186" y="232"/>
                  </a:cubicBezTo>
                  <a:cubicBezTo>
                    <a:pt x="187" y="233"/>
                    <a:pt x="187" y="234"/>
                    <a:pt x="188" y="234"/>
                  </a:cubicBezTo>
                  <a:cubicBezTo>
                    <a:pt x="188" y="234"/>
                    <a:pt x="188" y="235"/>
                    <a:pt x="188" y="235"/>
                  </a:cubicBezTo>
                  <a:cubicBezTo>
                    <a:pt x="189" y="236"/>
                    <a:pt x="190" y="236"/>
                    <a:pt x="190" y="237"/>
                  </a:cubicBezTo>
                  <a:cubicBezTo>
                    <a:pt x="190" y="237"/>
                    <a:pt x="190" y="237"/>
                    <a:pt x="190" y="237"/>
                  </a:cubicBezTo>
                  <a:cubicBezTo>
                    <a:pt x="191" y="238"/>
                    <a:pt x="191" y="238"/>
                    <a:pt x="191" y="238"/>
                  </a:cubicBezTo>
                  <a:cubicBezTo>
                    <a:pt x="192" y="239"/>
                    <a:pt x="192" y="239"/>
                    <a:pt x="192" y="239"/>
                  </a:cubicBezTo>
                  <a:cubicBezTo>
                    <a:pt x="193" y="239"/>
                    <a:pt x="193" y="239"/>
                    <a:pt x="193" y="239"/>
                  </a:cubicBezTo>
                  <a:cubicBezTo>
                    <a:pt x="193" y="240"/>
                    <a:pt x="193" y="240"/>
                    <a:pt x="193" y="240"/>
                  </a:cubicBezTo>
                  <a:cubicBezTo>
                    <a:pt x="194" y="241"/>
                    <a:pt x="194" y="242"/>
                    <a:pt x="195" y="242"/>
                  </a:cubicBezTo>
                  <a:cubicBezTo>
                    <a:pt x="195" y="243"/>
                    <a:pt x="195" y="243"/>
                    <a:pt x="195" y="243"/>
                  </a:cubicBezTo>
                  <a:cubicBezTo>
                    <a:pt x="196" y="244"/>
                    <a:pt x="197" y="244"/>
                    <a:pt x="198" y="245"/>
                  </a:cubicBezTo>
                  <a:cubicBezTo>
                    <a:pt x="198" y="245"/>
                    <a:pt x="198" y="246"/>
                    <a:pt x="198" y="246"/>
                  </a:cubicBezTo>
                  <a:cubicBezTo>
                    <a:pt x="198" y="246"/>
                    <a:pt x="199" y="247"/>
                    <a:pt x="200" y="248"/>
                  </a:cubicBezTo>
                  <a:cubicBezTo>
                    <a:pt x="200" y="248"/>
                    <a:pt x="200" y="248"/>
                    <a:pt x="200" y="248"/>
                  </a:cubicBezTo>
                  <a:cubicBezTo>
                    <a:pt x="201" y="249"/>
                    <a:pt x="201" y="250"/>
                    <a:pt x="202" y="250"/>
                  </a:cubicBezTo>
                  <a:cubicBezTo>
                    <a:pt x="202" y="251"/>
                    <a:pt x="202" y="251"/>
                    <a:pt x="202" y="251"/>
                  </a:cubicBezTo>
                  <a:cubicBezTo>
                    <a:pt x="203" y="252"/>
                    <a:pt x="204" y="252"/>
                    <a:pt x="205" y="253"/>
                  </a:cubicBezTo>
                  <a:cubicBezTo>
                    <a:pt x="205" y="253"/>
                    <a:pt x="205" y="254"/>
                    <a:pt x="205" y="254"/>
                  </a:cubicBezTo>
                  <a:cubicBezTo>
                    <a:pt x="205" y="255"/>
                    <a:pt x="206" y="255"/>
                    <a:pt x="207" y="256"/>
                  </a:cubicBezTo>
                  <a:cubicBezTo>
                    <a:pt x="207" y="256"/>
                    <a:pt x="207" y="256"/>
                    <a:pt x="207" y="257"/>
                  </a:cubicBezTo>
                  <a:cubicBezTo>
                    <a:pt x="208" y="257"/>
                    <a:pt x="209" y="258"/>
                    <a:pt x="209" y="258"/>
                  </a:cubicBezTo>
                  <a:cubicBezTo>
                    <a:pt x="209" y="259"/>
                    <a:pt x="209" y="259"/>
                    <a:pt x="209" y="259"/>
                  </a:cubicBezTo>
                  <a:cubicBezTo>
                    <a:pt x="210" y="259"/>
                    <a:pt x="210" y="260"/>
                    <a:pt x="211" y="260"/>
                  </a:cubicBezTo>
                  <a:cubicBezTo>
                    <a:pt x="212" y="262"/>
                    <a:pt x="213" y="263"/>
                    <a:pt x="214" y="264"/>
                  </a:cubicBezTo>
                  <a:cubicBezTo>
                    <a:pt x="215" y="264"/>
                    <a:pt x="214" y="264"/>
                    <a:pt x="215" y="264"/>
                  </a:cubicBezTo>
                  <a:cubicBezTo>
                    <a:pt x="216" y="264"/>
                    <a:pt x="216" y="263"/>
                    <a:pt x="217" y="263"/>
                  </a:cubicBezTo>
                  <a:cubicBezTo>
                    <a:pt x="217" y="263"/>
                    <a:pt x="218" y="263"/>
                    <a:pt x="218" y="263"/>
                  </a:cubicBezTo>
                  <a:cubicBezTo>
                    <a:pt x="218" y="262"/>
                    <a:pt x="218" y="262"/>
                    <a:pt x="218" y="262"/>
                  </a:cubicBezTo>
                  <a:cubicBezTo>
                    <a:pt x="219" y="262"/>
                    <a:pt x="219" y="262"/>
                    <a:pt x="220" y="262"/>
                  </a:cubicBezTo>
                  <a:cubicBezTo>
                    <a:pt x="220" y="261"/>
                    <a:pt x="220" y="261"/>
                    <a:pt x="220" y="261"/>
                  </a:cubicBezTo>
                  <a:cubicBezTo>
                    <a:pt x="221" y="261"/>
                    <a:pt x="221" y="260"/>
                    <a:pt x="222" y="260"/>
                  </a:cubicBezTo>
                  <a:cubicBezTo>
                    <a:pt x="222" y="260"/>
                    <a:pt x="222" y="260"/>
                    <a:pt x="223" y="259"/>
                  </a:cubicBezTo>
                  <a:cubicBezTo>
                    <a:pt x="223" y="259"/>
                    <a:pt x="223" y="259"/>
                    <a:pt x="223" y="259"/>
                  </a:cubicBezTo>
                  <a:cubicBezTo>
                    <a:pt x="223" y="259"/>
                    <a:pt x="223" y="259"/>
                    <a:pt x="223" y="259"/>
                  </a:cubicBezTo>
                  <a:cubicBezTo>
                    <a:pt x="223" y="259"/>
                    <a:pt x="224" y="259"/>
                    <a:pt x="224" y="259"/>
                  </a:cubicBezTo>
                  <a:cubicBezTo>
                    <a:pt x="224" y="259"/>
                    <a:pt x="224" y="259"/>
                    <a:pt x="224" y="258"/>
                  </a:cubicBezTo>
                  <a:cubicBezTo>
                    <a:pt x="225" y="258"/>
                    <a:pt x="226" y="258"/>
                    <a:pt x="226" y="258"/>
                  </a:cubicBezTo>
                  <a:cubicBezTo>
                    <a:pt x="226" y="257"/>
                    <a:pt x="227" y="257"/>
                    <a:pt x="227" y="257"/>
                  </a:cubicBezTo>
                  <a:cubicBezTo>
                    <a:pt x="227" y="257"/>
                    <a:pt x="228" y="257"/>
                    <a:pt x="228" y="257"/>
                  </a:cubicBezTo>
                  <a:cubicBezTo>
                    <a:pt x="228" y="256"/>
                    <a:pt x="228" y="256"/>
                    <a:pt x="228" y="256"/>
                  </a:cubicBezTo>
                  <a:cubicBezTo>
                    <a:pt x="229" y="256"/>
                    <a:pt x="229" y="256"/>
                    <a:pt x="230" y="256"/>
                  </a:cubicBezTo>
                  <a:cubicBezTo>
                    <a:pt x="230" y="255"/>
                    <a:pt x="230" y="255"/>
                    <a:pt x="230" y="255"/>
                  </a:cubicBezTo>
                  <a:cubicBezTo>
                    <a:pt x="231" y="255"/>
                    <a:pt x="231" y="255"/>
                    <a:pt x="232" y="255"/>
                  </a:cubicBezTo>
                  <a:cubicBezTo>
                    <a:pt x="232" y="254"/>
                    <a:pt x="232" y="254"/>
                    <a:pt x="232" y="254"/>
                  </a:cubicBezTo>
                  <a:cubicBezTo>
                    <a:pt x="232" y="254"/>
                    <a:pt x="232" y="254"/>
                    <a:pt x="233" y="254"/>
                  </a:cubicBezTo>
                  <a:cubicBezTo>
                    <a:pt x="233" y="254"/>
                    <a:pt x="233" y="253"/>
                    <a:pt x="233" y="253"/>
                  </a:cubicBezTo>
                  <a:cubicBezTo>
                    <a:pt x="233" y="253"/>
                    <a:pt x="234" y="253"/>
                    <a:pt x="234" y="253"/>
                  </a:cubicBezTo>
                  <a:cubicBezTo>
                    <a:pt x="234" y="253"/>
                    <a:pt x="234" y="253"/>
                    <a:pt x="234" y="252"/>
                  </a:cubicBezTo>
                  <a:cubicBezTo>
                    <a:pt x="235" y="252"/>
                    <a:pt x="235" y="252"/>
                    <a:pt x="235" y="252"/>
                  </a:cubicBezTo>
                  <a:cubicBezTo>
                    <a:pt x="236" y="252"/>
                    <a:pt x="236" y="252"/>
                    <a:pt x="236" y="251"/>
                  </a:cubicBezTo>
                  <a:cubicBezTo>
                    <a:pt x="236" y="251"/>
                    <a:pt x="237" y="251"/>
                    <a:pt x="237" y="251"/>
                  </a:cubicBezTo>
                  <a:cubicBezTo>
                    <a:pt x="237" y="251"/>
                    <a:pt x="237" y="251"/>
                    <a:pt x="238" y="250"/>
                  </a:cubicBezTo>
                  <a:cubicBezTo>
                    <a:pt x="238" y="250"/>
                    <a:pt x="238" y="250"/>
                    <a:pt x="238" y="250"/>
                  </a:cubicBezTo>
                  <a:cubicBezTo>
                    <a:pt x="238" y="250"/>
                    <a:pt x="238" y="250"/>
                    <a:pt x="238" y="250"/>
                  </a:cubicBezTo>
                  <a:cubicBezTo>
                    <a:pt x="239" y="250"/>
                    <a:pt x="239" y="250"/>
                    <a:pt x="239" y="250"/>
                  </a:cubicBezTo>
                  <a:cubicBezTo>
                    <a:pt x="238" y="258"/>
                    <a:pt x="238" y="267"/>
                    <a:pt x="237" y="276"/>
                  </a:cubicBezTo>
                  <a:cubicBezTo>
                    <a:pt x="238" y="277"/>
                    <a:pt x="240" y="278"/>
                    <a:pt x="241" y="280"/>
                  </a:cubicBezTo>
                  <a:cubicBezTo>
                    <a:pt x="241" y="280"/>
                    <a:pt x="241" y="280"/>
                    <a:pt x="241" y="280"/>
                  </a:cubicBezTo>
                  <a:cubicBezTo>
                    <a:pt x="241" y="281"/>
                    <a:pt x="242" y="281"/>
                    <a:pt x="242" y="281"/>
                  </a:cubicBezTo>
                  <a:cubicBezTo>
                    <a:pt x="242" y="281"/>
                    <a:pt x="242" y="281"/>
                    <a:pt x="242" y="281"/>
                  </a:cubicBezTo>
                  <a:cubicBezTo>
                    <a:pt x="243" y="283"/>
                    <a:pt x="245" y="284"/>
                    <a:pt x="247" y="286"/>
                  </a:cubicBezTo>
                  <a:cubicBezTo>
                    <a:pt x="247" y="286"/>
                    <a:pt x="247" y="286"/>
                    <a:pt x="247" y="287"/>
                  </a:cubicBezTo>
                  <a:cubicBezTo>
                    <a:pt x="247" y="287"/>
                    <a:pt x="247" y="287"/>
                    <a:pt x="248" y="287"/>
                  </a:cubicBezTo>
                  <a:cubicBezTo>
                    <a:pt x="248" y="288"/>
                    <a:pt x="249" y="288"/>
                    <a:pt x="249" y="289"/>
                  </a:cubicBezTo>
                  <a:cubicBezTo>
                    <a:pt x="251" y="290"/>
                    <a:pt x="252" y="291"/>
                    <a:pt x="253" y="292"/>
                  </a:cubicBezTo>
                  <a:cubicBezTo>
                    <a:pt x="253" y="293"/>
                    <a:pt x="253" y="293"/>
                    <a:pt x="253" y="293"/>
                  </a:cubicBezTo>
                  <a:cubicBezTo>
                    <a:pt x="254" y="294"/>
                    <a:pt x="256" y="296"/>
                    <a:pt x="257" y="297"/>
                  </a:cubicBezTo>
                  <a:cubicBezTo>
                    <a:pt x="258" y="297"/>
                    <a:pt x="258" y="298"/>
                    <a:pt x="259" y="299"/>
                  </a:cubicBezTo>
                  <a:cubicBezTo>
                    <a:pt x="259" y="299"/>
                    <a:pt x="259" y="299"/>
                    <a:pt x="260" y="299"/>
                  </a:cubicBezTo>
                  <a:cubicBezTo>
                    <a:pt x="260" y="298"/>
                    <a:pt x="260" y="298"/>
                    <a:pt x="260" y="298"/>
                  </a:cubicBezTo>
                  <a:cubicBezTo>
                    <a:pt x="261" y="298"/>
                    <a:pt x="262" y="298"/>
                    <a:pt x="263" y="298"/>
                  </a:cubicBezTo>
                  <a:cubicBezTo>
                    <a:pt x="263" y="297"/>
                    <a:pt x="263" y="297"/>
                    <a:pt x="263" y="297"/>
                  </a:cubicBezTo>
                  <a:cubicBezTo>
                    <a:pt x="264" y="297"/>
                    <a:pt x="264" y="297"/>
                    <a:pt x="264" y="297"/>
                  </a:cubicBezTo>
                  <a:cubicBezTo>
                    <a:pt x="264" y="297"/>
                    <a:pt x="264" y="297"/>
                    <a:pt x="264" y="297"/>
                  </a:cubicBezTo>
                  <a:cubicBezTo>
                    <a:pt x="265" y="297"/>
                    <a:pt x="265" y="297"/>
                    <a:pt x="266" y="297"/>
                  </a:cubicBezTo>
                  <a:cubicBezTo>
                    <a:pt x="266" y="297"/>
                    <a:pt x="266" y="297"/>
                    <a:pt x="266" y="296"/>
                  </a:cubicBezTo>
                  <a:cubicBezTo>
                    <a:pt x="266" y="296"/>
                    <a:pt x="267" y="296"/>
                    <a:pt x="267" y="296"/>
                  </a:cubicBezTo>
                  <a:cubicBezTo>
                    <a:pt x="267" y="296"/>
                    <a:pt x="267" y="296"/>
                    <a:pt x="267" y="296"/>
                  </a:cubicBezTo>
                  <a:cubicBezTo>
                    <a:pt x="268" y="296"/>
                    <a:pt x="269" y="296"/>
                    <a:pt x="270" y="295"/>
                  </a:cubicBezTo>
                  <a:cubicBezTo>
                    <a:pt x="270" y="295"/>
                    <a:pt x="270" y="295"/>
                    <a:pt x="270" y="295"/>
                  </a:cubicBezTo>
                  <a:cubicBezTo>
                    <a:pt x="271" y="295"/>
                    <a:pt x="272" y="295"/>
                    <a:pt x="273" y="295"/>
                  </a:cubicBezTo>
                  <a:cubicBezTo>
                    <a:pt x="273" y="295"/>
                    <a:pt x="273" y="294"/>
                    <a:pt x="273" y="294"/>
                  </a:cubicBezTo>
                  <a:cubicBezTo>
                    <a:pt x="273" y="294"/>
                    <a:pt x="274" y="294"/>
                    <a:pt x="274" y="294"/>
                  </a:cubicBezTo>
                  <a:cubicBezTo>
                    <a:pt x="274" y="294"/>
                    <a:pt x="274" y="294"/>
                    <a:pt x="274" y="294"/>
                  </a:cubicBezTo>
                  <a:cubicBezTo>
                    <a:pt x="276" y="293"/>
                    <a:pt x="279" y="293"/>
                    <a:pt x="281" y="292"/>
                  </a:cubicBezTo>
                  <a:cubicBezTo>
                    <a:pt x="281" y="291"/>
                    <a:pt x="281" y="291"/>
                    <a:pt x="282" y="290"/>
                  </a:cubicBezTo>
                  <a:cubicBezTo>
                    <a:pt x="282" y="290"/>
                    <a:pt x="282" y="290"/>
                    <a:pt x="283" y="289"/>
                  </a:cubicBezTo>
                  <a:cubicBezTo>
                    <a:pt x="283" y="289"/>
                    <a:pt x="283" y="289"/>
                    <a:pt x="283" y="289"/>
                  </a:cubicBezTo>
                  <a:cubicBezTo>
                    <a:pt x="283" y="289"/>
                    <a:pt x="283" y="289"/>
                    <a:pt x="283" y="288"/>
                  </a:cubicBezTo>
                  <a:cubicBezTo>
                    <a:pt x="283" y="288"/>
                    <a:pt x="283" y="288"/>
                    <a:pt x="283" y="288"/>
                  </a:cubicBezTo>
                  <a:cubicBezTo>
                    <a:pt x="284" y="288"/>
                    <a:pt x="284" y="288"/>
                    <a:pt x="284" y="287"/>
                  </a:cubicBezTo>
                  <a:cubicBezTo>
                    <a:pt x="284" y="287"/>
                    <a:pt x="284" y="287"/>
                    <a:pt x="284" y="286"/>
                  </a:cubicBezTo>
                  <a:cubicBezTo>
                    <a:pt x="285" y="286"/>
                    <a:pt x="285" y="286"/>
                    <a:pt x="285" y="286"/>
                  </a:cubicBezTo>
                  <a:cubicBezTo>
                    <a:pt x="285" y="295"/>
                    <a:pt x="284" y="304"/>
                    <a:pt x="284" y="313"/>
                  </a:cubicBezTo>
                  <a:cubicBezTo>
                    <a:pt x="274" y="320"/>
                    <a:pt x="264" y="327"/>
                    <a:pt x="254" y="334"/>
                  </a:cubicBezTo>
                  <a:cubicBezTo>
                    <a:pt x="254" y="336"/>
                    <a:pt x="255" y="338"/>
                    <a:pt x="254" y="339"/>
                  </a:cubicBezTo>
                  <a:cubicBezTo>
                    <a:pt x="253" y="338"/>
                    <a:pt x="251" y="338"/>
                    <a:pt x="250" y="337"/>
                  </a:cubicBezTo>
                  <a:cubicBezTo>
                    <a:pt x="250" y="336"/>
                    <a:pt x="250" y="336"/>
                    <a:pt x="250" y="336"/>
                  </a:cubicBezTo>
                  <a:cubicBezTo>
                    <a:pt x="250" y="336"/>
                    <a:pt x="249" y="336"/>
                    <a:pt x="249" y="336"/>
                  </a:cubicBezTo>
                  <a:cubicBezTo>
                    <a:pt x="249" y="336"/>
                    <a:pt x="249" y="336"/>
                    <a:pt x="249" y="335"/>
                  </a:cubicBezTo>
                  <a:cubicBezTo>
                    <a:pt x="249" y="335"/>
                    <a:pt x="248" y="335"/>
                    <a:pt x="248" y="335"/>
                  </a:cubicBezTo>
                  <a:cubicBezTo>
                    <a:pt x="248" y="335"/>
                    <a:pt x="248" y="335"/>
                    <a:pt x="248" y="335"/>
                  </a:cubicBezTo>
                  <a:cubicBezTo>
                    <a:pt x="247" y="335"/>
                    <a:pt x="247" y="335"/>
                    <a:pt x="247" y="335"/>
                  </a:cubicBezTo>
                  <a:cubicBezTo>
                    <a:pt x="247" y="334"/>
                    <a:pt x="247" y="334"/>
                    <a:pt x="247" y="334"/>
                  </a:cubicBezTo>
                  <a:cubicBezTo>
                    <a:pt x="246" y="334"/>
                    <a:pt x="246" y="334"/>
                    <a:pt x="246" y="334"/>
                  </a:cubicBezTo>
                  <a:cubicBezTo>
                    <a:pt x="246" y="334"/>
                    <a:pt x="246" y="333"/>
                    <a:pt x="246" y="333"/>
                  </a:cubicBezTo>
                  <a:cubicBezTo>
                    <a:pt x="245" y="333"/>
                    <a:pt x="245" y="333"/>
                    <a:pt x="245" y="333"/>
                  </a:cubicBezTo>
                  <a:cubicBezTo>
                    <a:pt x="245" y="333"/>
                    <a:pt x="245" y="333"/>
                    <a:pt x="245" y="333"/>
                  </a:cubicBezTo>
                  <a:cubicBezTo>
                    <a:pt x="245" y="333"/>
                    <a:pt x="244" y="333"/>
                    <a:pt x="244" y="333"/>
                  </a:cubicBezTo>
                  <a:cubicBezTo>
                    <a:pt x="244" y="332"/>
                    <a:pt x="244" y="332"/>
                    <a:pt x="243" y="332"/>
                  </a:cubicBezTo>
                  <a:cubicBezTo>
                    <a:pt x="242" y="331"/>
                    <a:pt x="241" y="331"/>
                    <a:pt x="240" y="329"/>
                  </a:cubicBezTo>
                  <a:cubicBezTo>
                    <a:pt x="226" y="330"/>
                    <a:pt x="212" y="331"/>
                    <a:pt x="199" y="332"/>
                  </a:cubicBezTo>
                  <a:cubicBezTo>
                    <a:pt x="195" y="326"/>
                    <a:pt x="191" y="320"/>
                    <a:pt x="187" y="314"/>
                  </a:cubicBezTo>
                  <a:cubicBezTo>
                    <a:pt x="185" y="313"/>
                    <a:pt x="182" y="313"/>
                    <a:pt x="180" y="313"/>
                  </a:cubicBezTo>
                  <a:cubicBezTo>
                    <a:pt x="180" y="313"/>
                    <a:pt x="180" y="313"/>
                    <a:pt x="180" y="313"/>
                  </a:cubicBezTo>
                  <a:cubicBezTo>
                    <a:pt x="178" y="313"/>
                    <a:pt x="176" y="313"/>
                    <a:pt x="174" y="313"/>
                  </a:cubicBezTo>
                  <a:cubicBezTo>
                    <a:pt x="174" y="313"/>
                    <a:pt x="174" y="313"/>
                    <a:pt x="174" y="313"/>
                  </a:cubicBezTo>
                  <a:cubicBezTo>
                    <a:pt x="173" y="313"/>
                    <a:pt x="172" y="313"/>
                    <a:pt x="170" y="313"/>
                  </a:cubicBezTo>
                  <a:cubicBezTo>
                    <a:pt x="168" y="312"/>
                    <a:pt x="165" y="312"/>
                    <a:pt x="163" y="312"/>
                  </a:cubicBezTo>
                  <a:cubicBezTo>
                    <a:pt x="163" y="312"/>
                    <a:pt x="163" y="312"/>
                    <a:pt x="163" y="312"/>
                  </a:cubicBezTo>
                  <a:cubicBezTo>
                    <a:pt x="161" y="311"/>
                    <a:pt x="157" y="313"/>
                    <a:pt x="156" y="311"/>
                  </a:cubicBezTo>
                  <a:cubicBezTo>
                    <a:pt x="156" y="311"/>
                    <a:pt x="155" y="311"/>
                    <a:pt x="155" y="311"/>
                  </a:cubicBezTo>
                  <a:cubicBezTo>
                    <a:pt x="155" y="311"/>
                    <a:pt x="155" y="310"/>
                    <a:pt x="155" y="310"/>
                  </a:cubicBezTo>
                  <a:cubicBezTo>
                    <a:pt x="155" y="310"/>
                    <a:pt x="155" y="310"/>
                    <a:pt x="155" y="310"/>
                  </a:cubicBezTo>
                  <a:cubicBezTo>
                    <a:pt x="155" y="310"/>
                    <a:pt x="155" y="309"/>
                    <a:pt x="155" y="309"/>
                  </a:cubicBezTo>
                  <a:cubicBezTo>
                    <a:pt x="155" y="309"/>
                    <a:pt x="154" y="309"/>
                    <a:pt x="154" y="309"/>
                  </a:cubicBezTo>
                  <a:cubicBezTo>
                    <a:pt x="154" y="309"/>
                    <a:pt x="154" y="308"/>
                    <a:pt x="154" y="308"/>
                  </a:cubicBezTo>
                  <a:cubicBezTo>
                    <a:pt x="154" y="308"/>
                    <a:pt x="154" y="308"/>
                    <a:pt x="154" y="308"/>
                  </a:cubicBezTo>
                  <a:cubicBezTo>
                    <a:pt x="154" y="307"/>
                    <a:pt x="154" y="307"/>
                    <a:pt x="154" y="307"/>
                  </a:cubicBezTo>
                  <a:cubicBezTo>
                    <a:pt x="153" y="307"/>
                    <a:pt x="153" y="307"/>
                    <a:pt x="153" y="307"/>
                  </a:cubicBezTo>
                  <a:cubicBezTo>
                    <a:pt x="153" y="307"/>
                    <a:pt x="153" y="307"/>
                    <a:pt x="153" y="306"/>
                  </a:cubicBezTo>
                  <a:cubicBezTo>
                    <a:pt x="153" y="306"/>
                    <a:pt x="153" y="306"/>
                    <a:pt x="153" y="306"/>
                  </a:cubicBezTo>
                  <a:cubicBezTo>
                    <a:pt x="153" y="306"/>
                    <a:pt x="153" y="306"/>
                    <a:pt x="153" y="306"/>
                  </a:cubicBezTo>
                  <a:cubicBezTo>
                    <a:pt x="153" y="306"/>
                    <a:pt x="153" y="306"/>
                    <a:pt x="153" y="306"/>
                  </a:cubicBezTo>
                  <a:cubicBezTo>
                    <a:pt x="153" y="305"/>
                    <a:pt x="153" y="305"/>
                    <a:pt x="153" y="305"/>
                  </a:cubicBezTo>
                  <a:cubicBezTo>
                    <a:pt x="152" y="305"/>
                    <a:pt x="152" y="305"/>
                    <a:pt x="152" y="305"/>
                  </a:cubicBezTo>
                  <a:cubicBezTo>
                    <a:pt x="152" y="304"/>
                    <a:pt x="152" y="304"/>
                    <a:pt x="152" y="303"/>
                  </a:cubicBezTo>
                  <a:cubicBezTo>
                    <a:pt x="152" y="303"/>
                    <a:pt x="152" y="303"/>
                    <a:pt x="152" y="303"/>
                  </a:cubicBezTo>
                  <a:cubicBezTo>
                    <a:pt x="152" y="303"/>
                    <a:pt x="152" y="303"/>
                    <a:pt x="152" y="303"/>
                  </a:cubicBezTo>
                  <a:cubicBezTo>
                    <a:pt x="151" y="303"/>
                    <a:pt x="151" y="303"/>
                    <a:pt x="151" y="303"/>
                  </a:cubicBezTo>
                  <a:cubicBezTo>
                    <a:pt x="151" y="303"/>
                    <a:pt x="151" y="302"/>
                    <a:pt x="151" y="302"/>
                  </a:cubicBezTo>
                  <a:cubicBezTo>
                    <a:pt x="151" y="302"/>
                    <a:pt x="151" y="302"/>
                    <a:pt x="151" y="302"/>
                  </a:cubicBezTo>
                  <a:cubicBezTo>
                    <a:pt x="151" y="302"/>
                    <a:pt x="151" y="302"/>
                    <a:pt x="151" y="301"/>
                  </a:cubicBezTo>
                  <a:cubicBezTo>
                    <a:pt x="151" y="301"/>
                    <a:pt x="151" y="301"/>
                    <a:pt x="150" y="301"/>
                  </a:cubicBezTo>
                  <a:cubicBezTo>
                    <a:pt x="150" y="301"/>
                    <a:pt x="150" y="301"/>
                    <a:pt x="150" y="301"/>
                  </a:cubicBezTo>
                  <a:cubicBezTo>
                    <a:pt x="150" y="301"/>
                    <a:pt x="150" y="301"/>
                    <a:pt x="150" y="301"/>
                  </a:cubicBezTo>
                  <a:cubicBezTo>
                    <a:pt x="150" y="300"/>
                    <a:pt x="150" y="300"/>
                    <a:pt x="150" y="300"/>
                  </a:cubicBezTo>
                  <a:cubicBezTo>
                    <a:pt x="150" y="300"/>
                    <a:pt x="150" y="300"/>
                    <a:pt x="150" y="300"/>
                  </a:cubicBezTo>
                  <a:cubicBezTo>
                    <a:pt x="150" y="300"/>
                    <a:pt x="150" y="299"/>
                    <a:pt x="149" y="299"/>
                  </a:cubicBezTo>
                  <a:cubicBezTo>
                    <a:pt x="149" y="299"/>
                    <a:pt x="149" y="299"/>
                    <a:pt x="149" y="299"/>
                  </a:cubicBezTo>
                  <a:cubicBezTo>
                    <a:pt x="149" y="298"/>
                    <a:pt x="149" y="298"/>
                    <a:pt x="149" y="298"/>
                  </a:cubicBezTo>
                  <a:cubicBezTo>
                    <a:pt x="149" y="298"/>
                    <a:pt x="149" y="298"/>
                    <a:pt x="149" y="298"/>
                  </a:cubicBezTo>
                  <a:cubicBezTo>
                    <a:pt x="149" y="298"/>
                    <a:pt x="149" y="297"/>
                    <a:pt x="149" y="297"/>
                  </a:cubicBezTo>
                  <a:cubicBezTo>
                    <a:pt x="149" y="297"/>
                    <a:pt x="148" y="297"/>
                    <a:pt x="148" y="297"/>
                  </a:cubicBezTo>
                  <a:cubicBezTo>
                    <a:pt x="148" y="297"/>
                    <a:pt x="148" y="296"/>
                    <a:pt x="148" y="296"/>
                  </a:cubicBezTo>
                  <a:cubicBezTo>
                    <a:pt x="148" y="296"/>
                    <a:pt x="148" y="296"/>
                    <a:pt x="148" y="296"/>
                  </a:cubicBezTo>
                  <a:cubicBezTo>
                    <a:pt x="148" y="296"/>
                    <a:pt x="148" y="295"/>
                    <a:pt x="148" y="294"/>
                  </a:cubicBezTo>
                  <a:cubicBezTo>
                    <a:pt x="148" y="294"/>
                    <a:pt x="147" y="294"/>
                    <a:pt x="147" y="294"/>
                  </a:cubicBezTo>
                  <a:cubicBezTo>
                    <a:pt x="147" y="294"/>
                    <a:pt x="147" y="294"/>
                    <a:pt x="147" y="293"/>
                  </a:cubicBezTo>
                  <a:cubicBezTo>
                    <a:pt x="147" y="293"/>
                    <a:pt x="147" y="293"/>
                    <a:pt x="147" y="293"/>
                  </a:cubicBezTo>
                  <a:cubicBezTo>
                    <a:pt x="147" y="293"/>
                    <a:pt x="147" y="293"/>
                    <a:pt x="147" y="293"/>
                  </a:cubicBezTo>
                  <a:cubicBezTo>
                    <a:pt x="147" y="293"/>
                    <a:pt x="147" y="293"/>
                    <a:pt x="147" y="293"/>
                  </a:cubicBezTo>
                  <a:cubicBezTo>
                    <a:pt x="147" y="292"/>
                    <a:pt x="147" y="292"/>
                    <a:pt x="147" y="292"/>
                  </a:cubicBezTo>
                  <a:cubicBezTo>
                    <a:pt x="146" y="292"/>
                    <a:pt x="146" y="292"/>
                    <a:pt x="146" y="292"/>
                  </a:cubicBezTo>
                  <a:cubicBezTo>
                    <a:pt x="146" y="291"/>
                    <a:pt x="146" y="290"/>
                    <a:pt x="146" y="290"/>
                  </a:cubicBezTo>
                  <a:cubicBezTo>
                    <a:pt x="146" y="290"/>
                    <a:pt x="146" y="290"/>
                    <a:pt x="146" y="290"/>
                  </a:cubicBezTo>
                  <a:cubicBezTo>
                    <a:pt x="146" y="290"/>
                    <a:pt x="146" y="289"/>
                    <a:pt x="146" y="289"/>
                  </a:cubicBezTo>
                  <a:cubicBezTo>
                    <a:pt x="145" y="289"/>
                    <a:pt x="145" y="289"/>
                    <a:pt x="145" y="289"/>
                  </a:cubicBezTo>
                  <a:cubicBezTo>
                    <a:pt x="145" y="289"/>
                    <a:pt x="145" y="288"/>
                    <a:pt x="145" y="288"/>
                  </a:cubicBezTo>
                  <a:cubicBezTo>
                    <a:pt x="145" y="288"/>
                    <a:pt x="145" y="288"/>
                    <a:pt x="145" y="288"/>
                  </a:cubicBezTo>
                  <a:cubicBezTo>
                    <a:pt x="145" y="288"/>
                    <a:pt x="145" y="288"/>
                    <a:pt x="145" y="287"/>
                  </a:cubicBezTo>
                  <a:cubicBezTo>
                    <a:pt x="145" y="287"/>
                    <a:pt x="145" y="287"/>
                    <a:pt x="145" y="287"/>
                  </a:cubicBezTo>
                  <a:cubicBezTo>
                    <a:pt x="145" y="287"/>
                    <a:pt x="145" y="287"/>
                    <a:pt x="145" y="286"/>
                  </a:cubicBezTo>
                  <a:cubicBezTo>
                    <a:pt x="144" y="286"/>
                    <a:pt x="144" y="286"/>
                    <a:pt x="144" y="286"/>
                  </a:cubicBezTo>
                  <a:cubicBezTo>
                    <a:pt x="144" y="286"/>
                    <a:pt x="144" y="286"/>
                    <a:pt x="144" y="286"/>
                  </a:cubicBezTo>
                  <a:cubicBezTo>
                    <a:pt x="144" y="286"/>
                    <a:pt x="144" y="286"/>
                    <a:pt x="144" y="286"/>
                  </a:cubicBezTo>
                  <a:cubicBezTo>
                    <a:pt x="144" y="285"/>
                    <a:pt x="144" y="285"/>
                    <a:pt x="144" y="285"/>
                  </a:cubicBezTo>
                  <a:cubicBezTo>
                    <a:pt x="144" y="285"/>
                    <a:pt x="144" y="285"/>
                    <a:pt x="143" y="285"/>
                  </a:cubicBezTo>
                  <a:cubicBezTo>
                    <a:pt x="143" y="284"/>
                    <a:pt x="143" y="284"/>
                    <a:pt x="143" y="284"/>
                  </a:cubicBezTo>
                  <a:cubicBezTo>
                    <a:pt x="143" y="284"/>
                    <a:pt x="143" y="284"/>
                    <a:pt x="143" y="284"/>
                  </a:cubicBezTo>
                  <a:cubicBezTo>
                    <a:pt x="143" y="284"/>
                    <a:pt x="143" y="283"/>
                    <a:pt x="143" y="283"/>
                  </a:cubicBezTo>
                  <a:cubicBezTo>
                    <a:pt x="143" y="283"/>
                    <a:pt x="143" y="283"/>
                    <a:pt x="143" y="283"/>
                  </a:cubicBezTo>
                  <a:cubicBezTo>
                    <a:pt x="143" y="283"/>
                    <a:pt x="143" y="282"/>
                    <a:pt x="143" y="282"/>
                  </a:cubicBezTo>
                  <a:cubicBezTo>
                    <a:pt x="143" y="282"/>
                    <a:pt x="143" y="282"/>
                    <a:pt x="142" y="282"/>
                  </a:cubicBezTo>
                  <a:cubicBezTo>
                    <a:pt x="142" y="282"/>
                    <a:pt x="142" y="281"/>
                    <a:pt x="142" y="281"/>
                  </a:cubicBezTo>
                  <a:cubicBezTo>
                    <a:pt x="142" y="281"/>
                    <a:pt x="142" y="281"/>
                    <a:pt x="142" y="281"/>
                  </a:cubicBezTo>
                  <a:cubicBezTo>
                    <a:pt x="142" y="281"/>
                    <a:pt x="142" y="281"/>
                    <a:pt x="142" y="280"/>
                  </a:cubicBezTo>
                  <a:cubicBezTo>
                    <a:pt x="142" y="280"/>
                    <a:pt x="142" y="280"/>
                    <a:pt x="142" y="280"/>
                  </a:cubicBezTo>
                  <a:cubicBezTo>
                    <a:pt x="142" y="280"/>
                    <a:pt x="142" y="280"/>
                    <a:pt x="142" y="279"/>
                  </a:cubicBezTo>
                  <a:cubicBezTo>
                    <a:pt x="142" y="279"/>
                    <a:pt x="141" y="279"/>
                    <a:pt x="141" y="279"/>
                  </a:cubicBezTo>
                  <a:cubicBezTo>
                    <a:pt x="141" y="279"/>
                    <a:pt x="141" y="279"/>
                    <a:pt x="141" y="279"/>
                  </a:cubicBezTo>
                  <a:cubicBezTo>
                    <a:pt x="141" y="279"/>
                    <a:pt x="141" y="279"/>
                    <a:pt x="141" y="279"/>
                  </a:cubicBezTo>
                  <a:cubicBezTo>
                    <a:pt x="141" y="278"/>
                    <a:pt x="141" y="278"/>
                    <a:pt x="141" y="278"/>
                  </a:cubicBezTo>
                  <a:cubicBezTo>
                    <a:pt x="141" y="278"/>
                    <a:pt x="141" y="278"/>
                    <a:pt x="141" y="278"/>
                  </a:cubicBezTo>
                  <a:cubicBezTo>
                    <a:pt x="141" y="277"/>
                    <a:pt x="141" y="277"/>
                    <a:pt x="141" y="277"/>
                  </a:cubicBezTo>
                  <a:cubicBezTo>
                    <a:pt x="141" y="277"/>
                    <a:pt x="140" y="277"/>
                    <a:pt x="140" y="277"/>
                  </a:cubicBezTo>
                  <a:cubicBezTo>
                    <a:pt x="140" y="277"/>
                    <a:pt x="140" y="276"/>
                    <a:pt x="140" y="276"/>
                  </a:cubicBezTo>
                  <a:cubicBezTo>
                    <a:pt x="140" y="276"/>
                    <a:pt x="140" y="276"/>
                    <a:pt x="140" y="276"/>
                  </a:cubicBezTo>
                  <a:cubicBezTo>
                    <a:pt x="140" y="276"/>
                    <a:pt x="140" y="275"/>
                    <a:pt x="140" y="275"/>
                  </a:cubicBezTo>
                  <a:cubicBezTo>
                    <a:pt x="140" y="275"/>
                    <a:pt x="140" y="275"/>
                    <a:pt x="140" y="275"/>
                  </a:cubicBezTo>
                  <a:cubicBezTo>
                    <a:pt x="140" y="275"/>
                    <a:pt x="140" y="274"/>
                    <a:pt x="140" y="274"/>
                  </a:cubicBezTo>
                  <a:cubicBezTo>
                    <a:pt x="140" y="274"/>
                    <a:pt x="139" y="274"/>
                    <a:pt x="139" y="274"/>
                  </a:cubicBezTo>
                  <a:cubicBezTo>
                    <a:pt x="139" y="274"/>
                    <a:pt x="139" y="273"/>
                    <a:pt x="139" y="272"/>
                  </a:cubicBezTo>
                  <a:cubicBezTo>
                    <a:pt x="139" y="272"/>
                    <a:pt x="139" y="272"/>
                    <a:pt x="139" y="272"/>
                  </a:cubicBezTo>
                  <a:cubicBezTo>
                    <a:pt x="139" y="272"/>
                    <a:pt x="139" y="272"/>
                    <a:pt x="139" y="272"/>
                  </a:cubicBezTo>
                  <a:cubicBezTo>
                    <a:pt x="138" y="272"/>
                    <a:pt x="138" y="272"/>
                    <a:pt x="138" y="272"/>
                  </a:cubicBezTo>
                  <a:cubicBezTo>
                    <a:pt x="138" y="271"/>
                    <a:pt x="138" y="270"/>
                    <a:pt x="137" y="269"/>
                  </a:cubicBezTo>
                  <a:cubicBezTo>
                    <a:pt x="129" y="269"/>
                    <a:pt x="120" y="269"/>
                    <a:pt x="111" y="269"/>
                  </a:cubicBezTo>
                  <a:cubicBezTo>
                    <a:pt x="110" y="269"/>
                    <a:pt x="108" y="268"/>
                    <a:pt x="106" y="269"/>
                  </a:cubicBezTo>
                  <a:cubicBezTo>
                    <a:pt x="106" y="269"/>
                    <a:pt x="106" y="269"/>
                    <a:pt x="106" y="269"/>
                  </a:cubicBezTo>
                  <a:cubicBezTo>
                    <a:pt x="105" y="269"/>
                    <a:pt x="103" y="269"/>
                    <a:pt x="101" y="269"/>
                  </a:cubicBezTo>
                  <a:cubicBezTo>
                    <a:pt x="101" y="269"/>
                    <a:pt x="101" y="269"/>
                    <a:pt x="101" y="270"/>
                  </a:cubicBezTo>
                  <a:cubicBezTo>
                    <a:pt x="101" y="270"/>
                    <a:pt x="101" y="270"/>
                    <a:pt x="100" y="270"/>
                  </a:cubicBezTo>
                  <a:cubicBezTo>
                    <a:pt x="99" y="270"/>
                    <a:pt x="98" y="270"/>
                    <a:pt x="97" y="270"/>
                  </a:cubicBezTo>
                  <a:cubicBezTo>
                    <a:pt x="97" y="270"/>
                    <a:pt x="97" y="270"/>
                    <a:pt x="97" y="270"/>
                  </a:cubicBezTo>
                  <a:cubicBezTo>
                    <a:pt x="95" y="270"/>
                    <a:pt x="93" y="270"/>
                    <a:pt x="92" y="270"/>
                  </a:cubicBezTo>
                  <a:cubicBezTo>
                    <a:pt x="92" y="270"/>
                    <a:pt x="92" y="270"/>
                    <a:pt x="92" y="270"/>
                  </a:cubicBezTo>
                  <a:cubicBezTo>
                    <a:pt x="90" y="270"/>
                    <a:pt x="88" y="270"/>
                    <a:pt x="87" y="270"/>
                  </a:cubicBezTo>
                  <a:cubicBezTo>
                    <a:pt x="87" y="270"/>
                    <a:pt x="87" y="270"/>
                    <a:pt x="87" y="271"/>
                  </a:cubicBezTo>
                  <a:cubicBezTo>
                    <a:pt x="86" y="271"/>
                    <a:pt x="86" y="271"/>
                    <a:pt x="85" y="271"/>
                  </a:cubicBezTo>
                  <a:cubicBezTo>
                    <a:pt x="85" y="264"/>
                    <a:pt x="85" y="254"/>
                    <a:pt x="86" y="249"/>
                  </a:cubicBezTo>
                  <a:cubicBezTo>
                    <a:pt x="86" y="247"/>
                    <a:pt x="86" y="246"/>
                    <a:pt x="86" y="245"/>
                  </a:cubicBezTo>
                  <a:cubicBezTo>
                    <a:pt x="86" y="245"/>
                    <a:pt x="86" y="245"/>
                    <a:pt x="86" y="245"/>
                  </a:cubicBezTo>
                  <a:cubicBezTo>
                    <a:pt x="86" y="243"/>
                    <a:pt x="86" y="242"/>
                    <a:pt x="86" y="241"/>
                  </a:cubicBezTo>
                  <a:cubicBezTo>
                    <a:pt x="87" y="241"/>
                    <a:pt x="87" y="241"/>
                    <a:pt x="87" y="241"/>
                  </a:cubicBezTo>
                  <a:cubicBezTo>
                    <a:pt x="87" y="237"/>
                    <a:pt x="87" y="233"/>
                    <a:pt x="88" y="230"/>
                  </a:cubicBezTo>
                  <a:cubicBezTo>
                    <a:pt x="88" y="230"/>
                    <a:pt x="88" y="230"/>
                    <a:pt x="88" y="230"/>
                  </a:cubicBezTo>
                  <a:cubicBezTo>
                    <a:pt x="88" y="228"/>
                    <a:pt x="88" y="227"/>
                    <a:pt x="88" y="226"/>
                  </a:cubicBezTo>
                  <a:cubicBezTo>
                    <a:pt x="88" y="226"/>
                    <a:pt x="88" y="226"/>
                    <a:pt x="88" y="226"/>
                  </a:cubicBezTo>
                  <a:cubicBezTo>
                    <a:pt x="88" y="225"/>
                    <a:pt x="88" y="224"/>
                    <a:pt x="88" y="222"/>
                  </a:cubicBezTo>
                  <a:cubicBezTo>
                    <a:pt x="88" y="222"/>
                    <a:pt x="88" y="222"/>
                    <a:pt x="89" y="222"/>
                  </a:cubicBezTo>
                  <a:cubicBezTo>
                    <a:pt x="89" y="218"/>
                    <a:pt x="89" y="215"/>
                    <a:pt x="89" y="211"/>
                  </a:cubicBezTo>
                  <a:cubicBezTo>
                    <a:pt x="88" y="209"/>
                    <a:pt x="86" y="208"/>
                    <a:pt x="84" y="207"/>
                  </a:cubicBezTo>
                  <a:cubicBezTo>
                    <a:pt x="84" y="206"/>
                    <a:pt x="83" y="205"/>
                    <a:pt x="83" y="205"/>
                  </a:cubicBezTo>
                  <a:cubicBezTo>
                    <a:pt x="82" y="205"/>
                    <a:pt x="82" y="205"/>
                    <a:pt x="82" y="205"/>
                  </a:cubicBezTo>
                  <a:cubicBezTo>
                    <a:pt x="81" y="204"/>
                    <a:pt x="81" y="203"/>
                    <a:pt x="80" y="203"/>
                  </a:cubicBezTo>
                  <a:cubicBezTo>
                    <a:pt x="80" y="203"/>
                    <a:pt x="80" y="203"/>
                    <a:pt x="79" y="203"/>
                  </a:cubicBezTo>
                  <a:cubicBezTo>
                    <a:pt x="79" y="202"/>
                    <a:pt x="78" y="201"/>
                    <a:pt x="77" y="200"/>
                  </a:cubicBezTo>
                  <a:cubicBezTo>
                    <a:pt x="77" y="200"/>
                    <a:pt x="77" y="200"/>
                    <a:pt x="77" y="200"/>
                  </a:cubicBezTo>
                  <a:cubicBezTo>
                    <a:pt x="77" y="200"/>
                    <a:pt x="77" y="200"/>
                    <a:pt x="77" y="200"/>
                  </a:cubicBezTo>
                  <a:cubicBezTo>
                    <a:pt x="76" y="200"/>
                    <a:pt x="76" y="199"/>
                    <a:pt x="76" y="199"/>
                  </a:cubicBezTo>
                  <a:cubicBezTo>
                    <a:pt x="75" y="199"/>
                    <a:pt x="75" y="199"/>
                    <a:pt x="75" y="198"/>
                  </a:cubicBezTo>
                  <a:cubicBezTo>
                    <a:pt x="75" y="198"/>
                    <a:pt x="74" y="198"/>
                    <a:pt x="74" y="198"/>
                  </a:cubicBezTo>
                  <a:cubicBezTo>
                    <a:pt x="74" y="198"/>
                    <a:pt x="74" y="198"/>
                    <a:pt x="74" y="198"/>
                  </a:cubicBezTo>
                  <a:cubicBezTo>
                    <a:pt x="74" y="198"/>
                    <a:pt x="74" y="198"/>
                    <a:pt x="74" y="198"/>
                  </a:cubicBezTo>
                  <a:cubicBezTo>
                    <a:pt x="73" y="197"/>
                    <a:pt x="73" y="197"/>
                    <a:pt x="73" y="197"/>
                  </a:cubicBezTo>
                  <a:cubicBezTo>
                    <a:pt x="73" y="197"/>
                    <a:pt x="73" y="197"/>
                    <a:pt x="72" y="197"/>
                  </a:cubicBezTo>
                  <a:cubicBezTo>
                    <a:pt x="72" y="196"/>
                    <a:pt x="72" y="196"/>
                    <a:pt x="71" y="195"/>
                  </a:cubicBezTo>
                  <a:cubicBezTo>
                    <a:pt x="71" y="195"/>
                    <a:pt x="71" y="195"/>
                    <a:pt x="70" y="195"/>
                  </a:cubicBezTo>
                  <a:cubicBezTo>
                    <a:pt x="70" y="195"/>
                    <a:pt x="70" y="195"/>
                    <a:pt x="70" y="194"/>
                  </a:cubicBezTo>
                  <a:cubicBezTo>
                    <a:pt x="70" y="194"/>
                    <a:pt x="70" y="194"/>
                    <a:pt x="70" y="194"/>
                  </a:cubicBezTo>
                  <a:cubicBezTo>
                    <a:pt x="70" y="194"/>
                    <a:pt x="69" y="194"/>
                    <a:pt x="69" y="194"/>
                  </a:cubicBezTo>
                  <a:cubicBezTo>
                    <a:pt x="69" y="194"/>
                    <a:pt x="69" y="194"/>
                    <a:pt x="69" y="194"/>
                  </a:cubicBezTo>
                  <a:cubicBezTo>
                    <a:pt x="68" y="193"/>
                    <a:pt x="68" y="192"/>
                    <a:pt x="67" y="192"/>
                  </a:cubicBezTo>
                  <a:cubicBezTo>
                    <a:pt x="67" y="192"/>
                    <a:pt x="67" y="192"/>
                    <a:pt x="67" y="192"/>
                  </a:cubicBezTo>
                  <a:cubicBezTo>
                    <a:pt x="66" y="191"/>
                    <a:pt x="66" y="191"/>
                    <a:pt x="65" y="191"/>
                  </a:cubicBezTo>
                  <a:cubicBezTo>
                    <a:pt x="65" y="191"/>
                    <a:pt x="65" y="191"/>
                    <a:pt x="65" y="191"/>
                  </a:cubicBezTo>
                  <a:cubicBezTo>
                    <a:pt x="64" y="190"/>
                    <a:pt x="64" y="190"/>
                    <a:pt x="64" y="189"/>
                  </a:cubicBezTo>
                  <a:cubicBezTo>
                    <a:pt x="63" y="189"/>
                    <a:pt x="63" y="189"/>
                    <a:pt x="63" y="189"/>
                  </a:cubicBezTo>
                  <a:cubicBezTo>
                    <a:pt x="63" y="189"/>
                    <a:pt x="62" y="188"/>
                    <a:pt x="62" y="187"/>
                  </a:cubicBezTo>
                  <a:cubicBezTo>
                    <a:pt x="61" y="187"/>
                    <a:pt x="61" y="187"/>
                    <a:pt x="61" y="187"/>
                  </a:cubicBezTo>
                  <a:cubicBezTo>
                    <a:pt x="61" y="187"/>
                    <a:pt x="60" y="186"/>
                    <a:pt x="60" y="186"/>
                  </a:cubicBezTo>
                  <a:cubicBezTo>
                    <a:pt x="60" y="186"/>
                    <a:pt x="59" y="186"/>
                    <a:pt x="59" y="186"/>
                  </a:cubicBezTo>
                  <a:cubicBezTo>
                    <a:pt x="59" y="185"/>
                    <a:pt x="58" y="185"/>
                    <a:pt x="58" y="184"/>
                  </a:cubicBezTo>
                  <a:cubicBezTo>
                    <a:pt x="58" y="184"/>
                    <a:pt x="57" y="184"/>
                    <a:pt x="57" y="184"/>
                  </a:cubicBezTo>
                  <a:cubicBezTo>
                    <a:pt x="57" y="184"/>
                    <a:pt x="56" y="183"/>
                    <a:pt x="56" y="183"/>
                  </a:cubicBezTo>
                  <a:cubicBezTo>
                    <a:pt x="56" y="183"/>
                    <a:pt x="56" y="183"/>
                    <a:pt x="55" y="183"/>
                  </a:cubicBezTo>
                  <a:cubicBezTo>
                    <a:pt x="55" y="182"/>
                    <a:pt x="55" y="182"/>
                    <a:pt x="54" y="181"/>
                  </a:cubicBezTo>
                  <a:cubicBezTo>
                    <a:pt x="54" y="181"/>
                    <a:pt x="54" y="181"/>
                    <a:pt x="54" y="181"/>
                  </a:cubicBezTo>
                  <a:cubicBezTo>
                    <a:pt x="53" y="181"/>
                    <a:pt x="53" y="180"/>
                    <a:pt x="52" y="180"/>
                  </a:cubicBezTo>
                  <a:cubicBezTo>
                    <a:pt x="52" y="180"/>
                    <a:pt x="52" y="180"/>
                    <a:pt x="51" y="180"/>
                  </a:cubicBezTo>
                  <a:cubicBezTo>
                    <a:pt x="51" y="179"/>
                    <a:pt x="51" y="179"/>
                    <a:pt x="50" y="178"/>
                  </a:cubicBezTo>
                  <a:cubicBezTo>
                    <a:pt x="50" y="178"/>
                    <a:pt x="50" y="178"/>
                    <a:pt x="50" y="178"/>
                  </a:cubicBezTo>
                  <a:cubicBezTo>
                    <a:pt x="50" y="178"/>
                    <a:pt x="49" y="178"/>
                    <a:pt x="49" y="178"/>
                  </a:cubicBezTo>
                  <a:cubicBezTo>
                    <a:pt x="49" y="177"/>
                    <a:pt x="49" y="177"/>
                    <a:pt x="49" y="177"/>
                  </a:cubicBezTo>
                  <a:cubicBezTo>
                    <a:pt x="46" y="177"/>
                    <a:pt x="44" y="177"/>
                    <a:pt x="42" y="177"/>
                  </a:cubicBezTo>
                  <a:cubicBezTo>
                    <a:pt x="41" y="177"/>
                    <a:pt x="39" y="177"/>
                    <a:pt x="37" y="177"/>
                  </a:cubicBezTo>
                  <a:cubicBezTo>
                    <a:pt x="34" y="177"/>
                    <a:pt x="31" y="177"/>
                    <a:pt x="28" y="178"/>
                  </a:cubicBezTo>
                  <a:cubicBezTo>
                    <a:pt x="27" y="178"/>
                    <a:pt x="27" y="178"/>
                    <a:pt x="26" y="178"/>
                  </a:cubicBezTo>
                  <a:cubicBezTo>
                    <a:pt x="26" y="178"/>
                    <a:pt x="26" y="178"/>
                    <a:pt x="26" y="178"/>
                  </a:cubicBezTo>
                  <a:cubicBezTo>
                    <a:pt x="24" y="178"/>
                    <a:pt x="21" y="178"/>
                    <a:pt x="19" y="178"/>
                  </a:cubicBezTo>
                  <a:cubicBezTo>
                    <a:pt x="19" y="178"/>
                    <a:pt x="19" y="178"/>
                    <a:pt x="19" y="178"/>
                  </a:cubicBezTo>
                  <a:cubicBezTo>
                    <a:pt x="16" y="179"/>
                    <a:pt x="13" y="178"/>
                    <a:pt x="11" y="179"/>
                  </a:cubicBezTo>
                  <a:cubicBezTo>
                    <a:pt x="9" y="179"/>
                    <a:pt x="7" y="179"/>
                    <a:pt x="5" y="179"/>
                  </a:cubicBezTo>
                  <a:cubicBezTo>
                    <a:pt x="5" y="179"/>
                    <a:pt x="5" y="179"/>
                    <a:pt x="5" y="179"/>
                  </a:cubicBezTo>
                  <a:cubicBezTo>
                    <a:pt x="4" y="179"/>
                    <a:pt x="4" y="179"/>
                    <a:pt x="4" y="179"/>
                  </a:cubicBezTo>
                  <a:cubicBezTo>
                    <a:pt x="4" y="179"/>
                    <a:pt x="4" y="179"/>
                    <a:pt x="4" y="179"/>
                  </a:cubicBezTo>
                  <a:cubicBezTo>
                    <a:pt x="4" y="179"/>
                    <a:pt x="3" y="179"/>
                    <a:pt x="3" y="179"/>
                  </a:cubicBezTo>
                  <a:cubicBezTo>
                    <a:pt x="2" y="180"/>
                    <a:pt x="2" y="180"/>
                    <a:pt x="0" y="181"/>
                  </a:cubicBezTo>
                  <a:cubicBezTo>
                    <a:pt x="1" y="179"/>
                    <a:pt x="2" y="178"/>
                    <a:pt x="2" y="177"/>
                  </a:cubicBezTo>
                  <a:cubicBezTo>
                    <a:pt x="2" y="177"/>
                    <a:pt x="2" y="176"/>
                    <a:pt x="3" y="176"/>
                  </a:cubicBezTo>
                  <a:cubicBezTo>
                    <a:pt x="3" y="176"/>
                    <a:pt x="3" y="176"/>
                    <a:pt x="3" y="175"/>
                  </a:cubicBezTo>
                  <a:cubicBezTo>
                    <a:pt x="3" y="175"/>
                    <a:pt x="3" y="175"/>
                    <a:pt x="3" y="175"/>
                  </a:cubicBezTo>
                  <a:cubicBezTo>
                    <a:pt x="3" y="175"/>
                    <a:pt x="3" y="175"/>
                    <a:pt x="4" y="175"/>
                  </a:cubicBezTo>
                  <a:cubicBezTo>
                    <a:pt x="4" y="175"/>
                    <a:pt x="4" y="174"/>
                    <a:pt x="4" y="174"/>
                  </a:cubicBezTo>
                  <a:cubicBezTo>
                    <a:pt x="4" y="174"/>
                    <a:pt x="4" y="174"/>
                    <a:pt x="4" y="174"/>
                  </a:cubicBezTo>
                  <a:cubicBezTo>
                    <a:pt x="4" y="174"/>
                    <a:pt x="4" y="174"/>
                    <a:pt x="4" y="173"/>
                  </a:cubicBezTo>
                  <a:cubicBezTo>
                    <a:pt x="4" y="173"/>
                    <a:pt x="4" y="173"/>
                    <a:pt x="4" y="173"/>
                  </a:cubicBezTo>
                  <a:cubicBezTo>
                    <a:pt x="4" y="173"/>
                    <a:pt x="4" y="173"/>
                    <a:pt x="4" y="173"/>
                  </a:cubicBezTo>
                  <a:cubicBezTo>
                    <a:pt x="4" y="173"/>
                    <a:pt x="5" y="173"/>
                    <a:pt x="5" y="173"/>
                  </a:cubicBezTo>
                  <a:cubicBezTo>
                    <a:pt x="5" y="172"/>
                    <a:pt x="5" y="172"/>
                    <a:pt x="5" y="172"/>
                  </a:cubicBezTo>
                  <a:cubicBezTo>
                    <a:pt x="5" y="172"/>
                    <a:pt x="5" y="172"/>
                    <a:pt x="5" y="172"/>
                  </a:cubicBezTo>
                  <a:cubicBezTo>
                    <a:pt x="5" y="172"/>
                    <a:pt x="5" y="172"/>
                    <a:pt x="5" y="171"/>
                  </a:cubicBezTo>
                  <a:cubicBezTo>
                    <a:pt x="5" y="171"/>
                    <a:pt x="5" y="171"/>
                    <a:pt x="5" y="171"/>
                  </a:cubicBezTo>
                  <a:cubicBezTo>
                    <a:pt x="5" y="171"/>
                    <a:pt x="5" y="171"/>
                    <a:pt x="5" y="171"/>
                  </a:cubicBezTo>
                  <a:cubicBezTo>
                    <a:pt x="5" y="171"/>
                    <a:pt x="6" y="171"/>
                    <a:pt x="6" y="171"/>
                  </a:cubicBezTo>
                  <a:cubicBezTo>
                    <a:pt x="6" y="170"/>
                    <a:pt x="6" y="170"/>
                    <a:pt x="6" y="170"/>
                  </a:cubicBezTo>
                  <a:cubicBezTo>
                    <a:pt x="6" y="170"/>
                    <a:pt x="6" y="170"/>
                    <a:pt x="6" y="170"/>
                  </a:cubicBezTo>
                  <a:cubicBezTo>
                    <a:pt x="6" y="170"/>
                    <a:pt x="6" y="169"/>
                    <a:pt x="6" y="169"/>
                  </a:cubicBezTo>
                  <a:cubicBezTo>
                    <a:pt x="6" y="169"/>
                    <a:pt x="6" y="169"/>
                    <a:pt x="6" y="169"/>
                  </a:cubicBezTo>
                  <a:cubicBezTo>
                    <a:pt x="6" y="169"/>
                    <a:pt x="6" y="169"/>
                    <a:pt x="6" y="168"/>
                  </a:cubicBezTo>
                  <a:cubicBezTo>
                    <a:pt x="7" y="168"/>
                    <a:pt x="7" y="168"/>
                    <a:pt x="7" y="168"/>
                  </a:cubicBezTo>
                  <a:cubicBezTo>
                    <a:pt x="7" y="168"/>
                    <a:pt x="7" y="168"/>
                    <a:pt x="7" y="167"/>
                  </a:cubicBezTo>
                  <a:cubicBezTo>
                    <a:pt x="7" y="167"/>
                    <a:pt x="7" y="167"/>
                    <a:pt x="7" y="167"/>
                  </a:cubicBezTo>
                  <a:cubicBezTo>
                    <a:pt x="7" y="167"/>
                    <a:pt x="7" y="167"/>
                    <a:pt x="7" y="167"/>
                  </a:cubicBezTo>
                  <a:cubicBezTo>
                    <a:pt x="8" y="167"/>
                    <a:pt x="8" y="167"/>
                    <a:pt x="8" y="167"/>
                  </a:cubicBezTo>
                  <a:cubicBezTo>
                    <a:pt x="8" y="166"/>
                    <a:pt x="8" y="166"/>
                    <a:pt x="8" y="166"/>
                  </a:cubicBezTo>
                  <a:cubicBezTo>
                    <a:pt x="8" y="166"/>
                    <a:pt x="8" y="166"/>
                    <a:pt x="8" y="166"/>
                  </a:cubicBezTo>
                  <a:cubicBezTo>
                    <a:pt x="8" y="166"/>
                    <a:pt x="8" y="166"/>
                    <a:pt x="8" y="165"/>
                  </a:cubicBezTo>
                  <a:cubicBezTo>
                    <a:pt x="8" y="165"/>
                    <a:pt x="8" y="165"/>
                    <a:pt x="8" y="165"/>
                  </a:cubicBezTo>
                  <a:cubicBezTo>
                    <a:pt x="8" y="165"/>
                    <a:pt x="8" y="165"/>
                    <a:pt x="8" y="165"/>
                  </a:cubicBezTo>
                  <a:cubicBezTo>
                    <a:pt x="9" y="165"/>
                    <a:pt x="9" y="165"/>
                    <a:pt x="9" y="165"/>
                  </a:cubicBezTo>
                  <a:cubicBezTo>
                    <a:pt x="9" y="164"/>
                    <a:pt x="9" y="164"/>
                    <a:pt x="9" y="164"/>
                  </a:cubicBezTo>
                  <a:cubicBezTo>
                    <a:pt x="9" y="164"/>
                    <a:pt x="9" y="164"/>
                    <a:pt x="9" y="164"/>
                  </a:cubicBezTo>
                  <a:cubicBezTo>
                    <a:pt x="9" y="163"/>
                    <a:pt x="9" y="163"/>
                    <a:pt x="10" y="163"/>
                  </a:cubicBezTo>
                  <a:cubicBezTo>
                    <a:pt x="10" y="163"/>
                    <a:pt x="10" y="163"/>
                    <a:pt x="10" y="163"/>
                  </a:cubicBezTo>
                  <a:cubicBezTo>
                    <a:pt x="10" y="162"/>
                    <a:pt x="10" y="162"/>
                    <a:pt x="10" y="162"/>
                  </a:cubicBezTo>
                  <a:cubicBezTo>
                    <a:pt x="10" y="162"/>
                    <a:pt x="10" y="162"/>
                    <a:pt x="10" y="162"/>
                  </a:cubicBezTo>
                  <a:cubicBezTo>
                    <a:pt x="10" y="162"/>
                    <a:pt x="10" y="161"/>
                    <a:pt x="10" y="161"/>
                  </a:cubicBezTo>
                  <a:cubicBezTo>
                    <a:pt x="10" y="161"/>
                    <a:pt x="10" y="161"/>
                    <a:pt x="11" y="161"/>
                  </a:cubicBezTo>
                  <a:cubicBezTo>
                    <a:pt x="11" y="161"/>
                    <a:pt x="11" y="161"/>
                    <a:pt x="11" y="160"/>
                  </a:cubicBezTo>
                  <a:cubicBezTo>
                    <a:pt x="11" y="160"/>
                    <a:pt x="11" y="160"/>
                    <a:pt x="11" y="160"/>
                  </a:cubicBezTo>
                  <a:cubicBezTo>
                    <a:pt x="11" y="160"/>
                    <a:pt x="11" y="160"/>
                    <a:pt x="11" y="160"/>
                  </a:cubicBezTo>
                  <a:cubicBezTo>
                    <a:pt x="11" y="160"/>
                    <a:pt x="11" y="160"/>
                    <a:pt x="11" y="160"/>
                  </a:cubicBezTo>
                  <a:cubicBezTo>
                    <a:pt x="11" y="159"/>
                    <a:pt x="11" y="159"/>
                    <a:pt x="11" y="159"/>
                  </a:cubicBezTo>
                  <a:cubicBezTo>
                    <a:pt x="11" y="159"/>
                    <a:pt x="11" y="159"/>
                    <a:pt x="12" y="159"/>
                  </a:cubicBezTo>
                  <a:cubicBezTo>
                    <a:pt x="12" y="159"/>
                    <a:pt x="12" y="158"/>
                    <a:pt x="12" y="158"/>
                  </a:cubicBezTo>
                  <a:cubicBezTo>
                    <a:pt x="12" y="158"/>
                    <a:pt x="12" y="158"/>
                    <a:pt x="12" y="158"/>
                  </a:cubicBezTo>
                  <a:cubicBezTo>
                    <a:pt x="12" y="157"/>
                    <a:pt x="12" y="157"/>
                    <a:pt x="12" y="157"/>
                  </a:cubicBezTo>
                  <a:cubicBezTo>
                    <a:pt x="12" y="157"/>
                    <a:pt x="13" y="157"/>
                    <a:pt x="13" y="157"/>
                  </a:cubicBezTo>
                  <a:cubicBezTo>
                    <a:pt x="13" y="157"/>
                    <a:pt x="13" y="156"/>
                    <a:pt x="13" y="156"/>
                  </a:cubicBezTo>
                  <a:cubicBezTo>
                    <a:pt x="13" y="156"/>
                    <a:pt x="13" y="156"/>
                    <a:pt x="13" y="156"/>
                  </a:cubicBezTo>
                  <a:cubicBezTo>
                    <a:pt x="13" y="156"/>
                    <a:pt x="13" y="155"/>
                    <a:pt x="13" y="155"/>
                  </a:cubicBezTo>
                  <a:cubicBezTo>
                    <a:pt x="13" y="155"/>
                    <a:pt x="13" y="155"/>
                    <a:pt x="13" y="155"/>
                  </a:cubicBezTo>
                  <a:cubicBezTo>
                    <a:pt x="13" y="155"/>
                    <a:pt x="13" y="155"/>
                    <a:pt x="13" y="154"/>
                  </a:cubicBezTo>
                  <a:cubicBezTo>
                    <a:pt x="13" y="154"/>
                    <a:pt x="14" y="154"/>
                    <a:pt x="14" y="154"/>
                  </a:cubicBezTo>
                  <a:cubicBezTo>
                    <a:pt x="14" y="154"/>
                    <a:pt x="14" y="154"/>
                    <a:pt x="14" y="154"/>
                  </a:cubicBezTo>
                  <a:cubicBezTo>
                    <a:pt x="14" y="154"/>
                    <a:pt x="14" y="154"/>
                    <a:pt x="14" y="154"/>
                  </a:cubicBezTo>
                  <a:cubicBezTo>
                    <a:pt x="14" y="153"/>
                    <a:pt x="15" y="152"/>
                    <a:pt x="15" y="152"/>
                  </a:cubicBezTo>
                  <a:cubicBezTo>
                    <a:pt x="15" y="152"/>
                    <a:pt x="15" y="152"/>
                    <a:pt x="15" y="152"/>
                  </a:cubicBezTo>
                  <a:cubicBezTo>
                    <a:pt x="15" y="151"/>
                    <a:pt x="15" y="151"/>
                    <a:pt x="15" y="151"/>
                  </a:cubicBezTo>
                  <a:cubicBezTo>
                    <a:pt x="15" y="151"/>
                    <a:pt x="15" y="151"/>
                    <a:pt x="15" y="151"/>
                  </a:cubicBezTo>
                  <a:cubicBezTo>
                    <a:pt x="15" y="150"/>
                    <a:pt x="15" y="150"/>
                    <a:pt x="15" y="150"/>
                  </a:cubicBezTo>
                  <a:cubicBezTo>
                    <a:pt x="16" y="150"/>
                    <a:pt x="16" y="150"/>
                    <a:pt x="16" y="150"/>
                  </a:cubicBezTo>
                  <a:cubicBezTo>
                    <a:pt x="16" y="150"/>
                    <a:pt x="16" y="149"/>
                    <a:pt x="16" y="149"/>
                  </a:cubicBezTo>
                  <a:cubicBezTo>
                    <a:pt x="16" y="149"/>
                    <a:pt x="16" y="149"/>
                    <a:pt x="16" y="149"/>
                  </a:cubicBezTo>
                  <a:cubicBezTo>
                    <a:pt x="16" y="149"/>
                    <a:pt x="16" y="149"/>
                    <a:pt x="16" y="149"/>
                  </a:cubicBezTo>
                  <a:cubicBezTo>
                    <a:pt x="16" y="149"/>
                    <a:pt x="16" y="149"/>
                    <a:pt x="17" y="149"/>
                  </a:cubicBezTo>
                  <a:cubicBezTo>
                    <a:pt x="17" y="147"/>
                    <a:pt x="17" y="146"/>
                    <a:pt x="18" y="145"/>
                  </a:cubicBezTo>
                  <a:cubicBezTo>
                    <a:pt x="17" y="144"/>
                    <a:pt x="17" y="144"/>
                    <a:pt x="16" y="144"/>
                  </a:cubicBezTo>
                  <a:cubicBezTo>
                    <a:pt x="16" y="143"/>
                    <a:pt x="16" y="144"/>
                    <a:pt x="17" y="143"/>
                  </a:cubicBezTo>
                  <a:cubicBezTo>
                    <a:pt x="17" y="143"/>
                    <a:pt x="17" y="143"/>
                    <a:pt x="17" y="143"/>
                  </a:cubicBezTo>
                  <a:cubicBezTo>
                    <a:pt x="17" y="143"/>
                    <a:pt x="17" y="143"/>
                    <a:pt x="18" y="143"/>
                  </a:cubicBezTo>
                  <a:cubicBezTo>
                    <a:pt x="18" y="142"/>
                    <a:pt x="18" y="142"/>
                    <a:pt x="18" y="142"/>
                  </a:cubicBezTo>
                  <a:cubicBezTo>
                    <a:pt x="19" y="142"/>
                    <a:pt x="19" y="141"/>
                    <a:pt x="20" y="141"/>
                  </a:cubicBezTo>
                  <a:cubicBezTo>
                    <a:pt x="20" y="141"/>
                    <a:pt x="20" y="141"/>
                    <a:pt x="20" y="140"/>
                  </a:cubicBezTo>
                  <a:cubicBezTo>
                    <a:pt x="21" y="140"/>
                    <a:pt x="21" y="140"/>
                    <a:pt x="22" y="140"/>
                  </a:cubicBezTo>
                  <a:cubicBezTo>
                    <a:pt x="22" y="140"/>
                    <a:pt x="22" y="140"/>
                    <a:pt x="22" y="139"/>
                  </a:cubicBezTo>
                  <a:cubicBezTo>
                    <a:pt x="23" y="139"/>
                    <a:pt x="24" y="139"/>
                    <a:pt x="24" y="139"/>
                  </a:cubicBezTo>
                  <a:cubicBezTo>
                    <a:pt x="24" y="139"/>
                    <a:pt x="24" y="138"/>
                    <a:pt x="25" y="138"/>
                  </a:cubicBezTo>
                  <a:cubicBezTo>
                    <a:pt x="25" y="138"/>
                    <a:pt x="26" y="138"/>
                    <a:pt x="27" y="137"/>
                  </a:cubicBezTo>
                  <a:cubicBezTo>
                    <a:pt x="27" y="137"/>
                    <a:pt x="27" y="137"/>
                    <a:pt x="27" y="137"/>
                  </a:cubicBezTo>
                  <a:cubicBezTo>
                    <a:pt x="27" y="137"/>
                    <a:pt x="27" y="137"/>
                    <a:pt x="28" y="137"/>
                  </a:cubicBezTo>
                  <a:cubicBezTo>
                    <a:pt x="28" y="137"/>
                    <a:pt x="28" y="136"/>
                    <a:pt x="28" y="136"/>
                  </a:cubicBezTo>
                  <a:cubicBezTo>
                    <a:pt x="28" y="136"/>
                    <a:pt x="28" y="136"/>
                    <a:pt x="28" y="136"/>
                  </a:cubicBezTo>
                  <a:cubicBezTo>
                    <a:pt x="29" y="136"/>
                    <a:pt x="29" y="136"/>
                    <a:pt x="29" y="136"/>
                  </a:cubicBezTo>
                  <a:cubicBezTo>
                    <a:pt x="29" y="135"/>
                    <a:pt x="30" y="135"/>
                    <a:pt x="31" y="135"/>
                  </a:cubicBezTo>
                  <a:cubicBezTo>
                    <a:pt x="31" y="135"/>
                    <a:pt x="31" y="134"/>
                    <a:pt x="31" y="134"/>
                  </a:cubicBezTo>
                  <a:cubicBezTo>
                    <a:pt x="32" y="134"/>
                    <a:pt x="32" y="134"/>
                    <a:pt x="33" y="134"/>
                  </a:cubicBezTo>
                  <a:cubicBezTo>
                    <a:pt x="33" y="134"/>
                    <a:pt x="33" y="133"/>
                    <a:pt x="33" y="133"/>
                  </a:cubicBezTo>
                  <a:cubicBezTo>
                    <a:pt x="34" y="133"/>
                    <a:pt x="34" y="133"/>
                    <a:pt x="35" y="132"/>
                  </a:cubicBezTo>
                  <a:cubicBezTo>
                    <a:pt x="36" y="131"/>
                    <a:pt x="37" y="130"/>
                    <a:pt x="39" y="129"/>
                  </a:cubicBezTo>
                  <a:cubicBezTo>
                    <a:pt x="41" y="127"/>
                    <a:pt x="42" y="125"/>
                    <a:pt x="44" y="124"/>
                  </a:cubicBezTo>
                  <a:cubicBezTo>
                    <a:pt x="46" y="122"/>
                    <a:pt x="47" y="120"/>
                    <a:pt x="49" y="119"/>
                  </a:cubicBezTo>
                  <a:cubicBezTo>
                    <a:pt x="51" y="117"/>
                    <a:pt x="53" y="116"/>
                    <a:pt x="54" y="114"/>
                  </a:cubicBezTo>
                  <a:cubicBezTo>
                    <a:pt x="56" y="112"/>
                    <a:pt x="57" y="111"/>
                    <a:pt x="59" y="109"/>
                  </a:cubicBezTo>
                  <a:cubicBezTo>
                    <a:pt x="59" y="109"/>
                    <a:pt x="59" y="109"/>
                    <a:pt x="60" y="109"/>
                  </a:cubicBezTo>
                  <a:cubicBezTo>
                    <a:pt x="61" y="107"/>
                    <a:pt x="63" y="105"/>
                    <a:pt x="65" y="103"/>
                  </a:cubicBezTo>
                  <a:cubicBezTo>
                    <a:pt x="68" y="101"/>
                    <a:pt x="70" y="98"/>
                    <a:pt x="73" y="96"/>
                  </a:cubicBezTo>
                  <a:cubicBezTo>
                    <a:pt x="73" y="96"/>
                    <a:pt x="73" y="96"/>
                    <a:pt x="73" y="95"/>
                  </a:cubicBezTo>
                  <a:cubicBezTo>
                    <a:pt x="74" y="95"/>
                    <a:pt x="74" y="94"/>
                    <a:pt x="75" y="94"/>
                  </a:cubicBezTo>
                  <a:cubicBezTo>
                    <a:pt x="75" y="93"/>
                    <a:pt x="75" y="93"/>
                    <a:pt x="75" y="93"/>
                  </a:cubicBezTo>
                  <a:cubicBezTo>
                    <a:pt x="76" y="92"/>
                    <a:pt x="76" y="92"/>
                    <a:pt x="77" y="91"/>
                  </a:cubicBezTo>
                  <a:cubicBezTo>
                    <a:pt x="77" y="91"/>
                    <a:pt x="77" y="91"/>
                    <a:pt x="77" y="90"/>
                  </a:cubicBezTo>
                  <a:cubicBezTo>
                    <a:pt x="78" y="90"/>
                    <a:pt x="78" y="89"/>
                    <a:pt x="79" y="89"/>
                  </a:cubicBezTo>
                  <a:cubicBezTo>
                    <a:pt x="79" y="89"/>
                    <a:pt x="79" y="88"/>
                    <a:pt x="79" y="88"/>
                  </a:cubicBezTo>
                  <a:cubicBezTo>
                    <a:pt x="80" y="87"/>
                    <a:pt x="81" y="87"/>
                    <a:pt x="81" y="86"/>
                  </a:cubicBezTo>
                  <a:cubicBezTo>
                    <a:pt x="81" y="86"/>
                    <a:pt x="81" y="86"/>
                    <a:pt x="81" y="86"/>
                  </a:cubicBezTo>
                  <a:cubicBezTo>
                    <a:pt x="82" y="85"/>
                    <a:pt x="83" y="84"/>
                    <a:pt x="83" y="84"/>
                  </a:cubicBezTo>
                  <a:cubicBezTo>
                    <a:pt x="83" y="84"/>
                    <a:pt x="83" y="83"/>
                    <a:pt x="83" y="83"/>
                  </a:cubicBezTo>
                  <a:cubicBezTo>
                    <a:pt x="84" y="83"/>
                    <a:pt x="84" y="83"/>
                    <a:pt x="84" y="82"/>
                  </a:cubicBezTo>
                  <a:cubicBezTo>
                    <a:pt x="85" y="82"/>
                    <a:pt x="85" y="82"/>
                    <a:pt x="85" y="81"/>
                  </a:cubicBezTo>
                  <a:cubicBezTo>
                    <a:pt x="85" y="81"/>
                    <a:pt x="85" y="81"/>
                    <a:pt x="85" y="81"/>
                  </a:cubicBezTo>
                  <a:cubicBezTo>
                    <a:pt x="85" y="81"/>
                    <a:pt x="85" y="81"/>
                    <a:pt x="85" y="81"/>
                  </a:cubicBezTo>
                  <a:cubicBezTo>
                    <a:pt x="86" y="80"/>
                    <a:pt x="87" y="80"/>
                    <a:pt x="88" y="79"/>
                  </a:cubicBezTo>
                  <a:cubicBezTo>
                    <a:pt x="88" y="79"/>
                    <a:pt x="88" y="78"/>
                    <a:pt x="88" y="78"/>
                  </a:cubicBezTo>
                  <a:cubicBezTo>
                    <a:pt x="88" y="78"/>
                    <a:pt x="89" y="77"/>
                    <a:pt x="90" y="76"/>
                  </a:cubicBezTo>
                  <a:cubicBezTo>
                    <a:pt x="90" y="76"/>
                    <a:pt x="90" y="76"/>
                    <a:pt x="90" y="76"/>
                  </a:cubicBezTo>
                  <a:cubicBezTo>
                    <a:pt x="90" y="75"/>
                    <a:pt x="91" y="75"/>
                    <a:pt x="92" y="74"/>
                  </a:cubicBezTo>
                  <a:cubicBezTo>
                    <a:pt x="92" y="74"/>
                    <a:pt x="92" y="74"/>
                    <a:pt x="92" y="73"/>
                  </a:cubicBezTo>
                  <a:cubicBezTo>
                    <a:pt x="92" y="73"/>
                    <a:pt x="93" y="72"/>
                    <a:pt x="94" y="72"/>
                  </a:cubicBezTo>
                  <a:cubicBezTo>
                    <a:pt x="94" y="71"/>
                    <a:pt x="94" y="71"/>
                    <a:pt x="94" y="71"/>
                  </a:cubicBezTo>
                  <a:cubicBezTo>
                    <a:pt x="94" y="70"/>
                    <a:pt x="95" y="70"/>
                    <a:pt x="96" y="70"/>
                  </a:cubicBezTo>
                  <a:cubicBezTo>
                    <a:pt x="96" y="69"/>
                    <a:pt x="96" y="69"/>
                    <a:pt x="96" y="69"/>
                  </a:cubicBezTo>
                  <a:cubicBezTo>
                    <a:pt x="96" y="68"/>
                    <a:pt x="97" y="68"/>
                    <a:pt x="98" y="67"/>
                  </a:cubicBezTo>
                  <a:cubicBezTo>
                    <a:pt x="98" y="67"/>
                    <a:pt x="98" y="67"/>
                    <a:pt x="98" y="66"/>
                  </a:cubicBezTo>
                  <a:cubicBezTo>
                    <a:pt x="98" y="66"/>
                    <a:pt x="99" y="65"/>
                    <a:pt x="100" y="65"/>
                  </a:cubicBezTo>
                  <a:cubicBezTo>
                    <a:pt x="100" y="64"/>
                    <a:pt x="100" y="64"/>
                    <a:pt x="100" y="64"/>
                  </a:cubicBezTo>
                  <a:cubicBezTo>
                    <a:pt x="106" y="58"/>
                    <a:pt x="112" y="52"/>
                    <a:pt x="118" y="46"/>
                  </a:cubicBezTo>
                  <a:cubicBezTo>
                    <a:pt x="123" y="40"/>
                    <a:pt x="130" y="34"/>
                    <a:pt x="135" y="28"/>
                  </a:cubicBezTo>
                  <a:cubicBezTo>
                    <a:pt x="135" y="27"/>
                    <a:pt x="135" y="27"/>
                    <a:pt x="136" y="27"/>
                  </a:cubicBezTo>
                  <a:cubicBezTo>
                    <a:pt x="136" y="26"/>
                    <a:pt x="136" y="26"/>
                    <a:pt x="137" y="25"/>
                  </a:cubicBezTo>
                  <a:cubicBezTo>
                    <a:pt x="137" y="25"/>
                    <a:pt x="137" y="25"/>
                    <a:pt x="137" y="25"/>
                  </a:cubicBezTo>
                  <a:cubicBezTo>
                    <a:pt x="137" y="25"/>
                    <a:pt x="137" y="25"/>
                    <a:pt x="137" y="25"/>
                  </a:cubicBezTo>
                  <a:cubicBezTo>
                    <a:pt x="138" y="24"/>
                    <a:pt x="139" y="23"/>
                    <a:pt x="140" y="23"/>
                  </a:cubicBezTo>
                  <a:cubicBezTo>
                    <a:pt x="140" y="22"/>
                    <a:pt x="140" y="22"/>
                    <a:pt x="140" y="22"/>
                  </a:cubicBezTo>
                  <a:cubicBezTo>
                    <a:pt x="140" y="21"/>
                    <a:pt x="141" y="21"/>
                    <a:pt x="142" y="20"/>
                  </a:cubicBezTo>
                  <a:cubicBezTo>
                    <a:pt x="142" y="20"/>
                    <a:pt x="142" y="19"/>
                    <a:pt x="142" y="19"/>
                  </a:cubicBezTo>
                  <a:cubicBezTo>
                    <a:pt x="143" y="18"/>
                    <a:pt x="144" y="18"/>
                    <a:pt x="145" y="17"/>
                  </a:cubicBezTo>
                  <a:cubicBezTo>
                    <a:pt x="145" y="17"/>
                    <a:pt x="145" y="17"/>
                    <a:pt x="145" y="16"/>
                  </a:cubicBezTo>
                  <a:cubicBezTo>
                    <a:pt x="145" y="15"/>
                    <a:pt x="146" y="16"/>
                    <a:pt x="146" y="14"/>
                  </a:cubicBezTo>
                  <a:cubicBezTo>
                    <a:pt x="145" y="14"/>
                    <a:pt x="146" y="13"/>
                    <a:pt x="145" y="12"/>
                  </a:cubicBezTo>
                  <a:cubicBezTo>
                    <a:pt x="145" y="12"/>
                    <a:pt x="145" y="12"/>
                    <a:pt x="145" y="12"/>
                  </a:cubicBezTo>
                  <a:cubicBezTo>
                    <a:pt x="145" y="12"/>
                    <a:pt x="144" y="11"/>
                    <a:pt x="144" y="10"/>
                  </a:cubicBezTo>
                  <a:cubicBezTo>
                    <a:pt x="147" y="9"/>
                    <a:pt x="149" y="8"/>
                    <a:pt x="152" y="7"/>
                  </a:cubicBezTo>
                  <a:cubicBezTo>
                    <a:pt x="152" y="7"/>
                    <a:pt x="152" y="7"/>
                    <a:pt x="152" y="7"/>
                  </a:cubicBezTo>
                  <a:cubicBezTo>
                    <a:pt x="152" y="6"/>
                    <a:pt x="153" y="6"/>
                    <a:pt x="153" y="6"/>
                  </a:cubicBezTo>
                  <a:cubicBezTo>
                    <a:pt x="153" y="6"/>
                    <a:pt x="153" y="6"/>
                    <a:pt x="153" y="6"/>
                  </a:cubicBezTo>
                  <a:cubicBezTo>
                    <a:pt x="154" y="6"/>
                    <a:pt x="154" y="6"/>
                    <a:pt x="154" y="6"/>
                  </a:cubicBezTo>
                  <a:cubicBezTo>
                    <a:pt x="154" y="6"/>
                    <a:pt x="154" y="6"/>
                    <a:pt x="154" y="6"/>
                  </a:cubicBezTo>
                  <a:cubicBezTo>
                    <a:pt x="155" y="5"/>
                    <a:pt x="156" y="5"/>
                    <a:pt x="156" y="5"/>
                  </a:cubicBezTo>
                  <a:cubicBezTo>
                    <a:pt x="156" y="5"/>
                    <a:pt x="156" y="5"/>
                    <a:pt x="156" y="4"/>
                  </a:cubicBezTo>
                  <a:cubicBezTo>
                    <a:pt x="157" y="4"/>
                    <a:pt x="157" y="4"/>
                    <a:pt x="157" y="4"/>
                  </a:cubicBezTo>
                  <a:cubicBezTo>
                    <a:pt x="157" y="4"/>
                    <a:pt x="157" y="4"/>
                    <a:pt x="157" y="4"/>
                  </a:cubicBezTo>
                  <a:cubicBezTo>
                    <a:pt x="157" y="4"/>
                    <a:pt x="158" y="4"/>
                    <a:pt x="158" y="4"/>
                  </a:cubicBezTo>
                  <a:cubicBezTo>
                    <a:pt x="158" y="4"/>
                    <a:pt x="158" y="4"/>
                    <a:pt x="158" y="4"/>
                  </a:cubicBezTo>
                  <a:cubicBezTo>
                    <a:pt x="158" y="4"/>
                    <a:pt x="158" y="4"/>
                    <a:pt x="159" y="4"/>
                  </a:cubicBezTo>
                  <a:cubicBezTo>
                    <a:pt x="159" y="4"/>
                    <a:pt x="159" y="4"/>
                    <a:pt x="159" y="3"/>
                  </a:cubicBezTo>
                  <a:cubicBezTo>
                    <a:pt x="159" y="3"/>
                    <a:pt x="159" y="3"/>
                    <a:pt x="159" y="3"/>
                  </a:cubicBezTo>
                  <a:cubicBezTo>
                    <a:pt x="159" y="3"/>
                    <a:pt x="159" y="3"/>
                    <a:pt x="159" y="3"/>
                  </a:cubicBezTo>
                  <a:cubicBezTo>
                    <a:pt x="159" y="3"/>
                    <a:pt x="160" y="3"/>
                    <a:pt x="160" y="3"/>
                  </a:cubicBezTo>
                  <a:cubicBezTo>
                    <a:pt x="160" y="3"/>
                    <a:pt x="160" y="3"/>
                    <a:pt x="160" y="3"/>
                  </a:cubicBezTo>
                  <a:cubicBezTo>
                    <a:pt x="161" y="2"/>
                    <a:pt x="161" y="2"/>
                    <a:pt x="162" y="2"/>
                  </a:cubicBezTo>
                  <a:cubicBezTo>
                    <a:pt x="162" y="2"/>
                    <a:pt x="162" y="2"/>
                    <a:pt x="162" y="2"/>
                  </a:cubicBezTo>
                  <a:cubicBezTo>
                    <a:pt x="162" y="2"/>
                    <a:pt x="163" y="2"/>
                    <a:pt x="163" y="2"/>
                  </a:cubicBezTo>
                  <a:cubicBezTo>
                    <a:pt x="163" y="2"/>
                    <a:pt x="163" y="1"/>
                    <a:pt x="163" y="1"/>
                  </a:cubicBezTo>
                  <a:cubicBezTo>
                    <a:pt x="163" y="1"/>
                    <a:pt x="164" y="1"/>
                    <a:pt x="164" y="1"/>
                  </a:cubicBezTo>
                  <a:cubicBezTo>
                    <a:pt x="164" y="1"/>
                    <a:pt x="164" y="1"/>
                    <a:pt x="164" y="1"/>
                  </a:cubicBezTo>
                  <a:cubicBezTo>
                    <a:pt x="164" y="1"/>
                    <a:pt x="165" y="0"/>
                    <a:pt x="166" y="0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72" y="1"/>
                    <a:pt x="179" y="2"/>
                    <a:pt x="185" y="2"/>
                  </a:cubicBezTo>
                  <a:cubicBezTo>
                    <a:pt x="185" y="3"/>
                    <a:pt x="186" y="4"/>
                    <a:pt x="186" y="4"/>
                  </a:cubicBezTo>
                  <a:cubicBezTo>
                    <a:pt x="187" y="5"/>
                    <a:pt x="187" y="5"/>
                    <a:pt x="187" y="5"/>
                  </a:cubicBezTo>
                  <a:cubicBezTo>
                    <a:pt x="187" y="5"/>
                    <a:pt x="187" y="5"/>
                    <a:pt x="187" y="6"/>
                  </a:cubicBezTo>
                  <a:cubicBezTo>
                    <a:pt x="188" y="6"/>
                    <a:pt x="188" y="6"/>
                    <a:pt x="189" y="7"/>
                  </a:cubicBezTo>
                  <a:cubicBezTo>
                    <a:pt x="189" y="7"/>
                    <a:pt x="189" y="7"/>
                    <a:pt x="189" y="8"/>
                  </a:cubicBezTo>
                  <a:cubicBezTo>
                    <a:pt x="190" y="8"/>
                    <a:pt x="190" y="9"/>
                    <a:pt x="191" y="9"/>
                  </a:cubicBezTo>
                  <a:cubicBezTo>
                    <a:pt x="191" y="10"/>
                    <a:pt x="191" y="10"/>
                    <a:pt x="191" y="10"/>
                  </a:cubicBezTo>
                  <a:cubicBezTo>
                    <a:pt x="192" y="11"/>
                    <a:pt x="192" y="11"/>
                    <a:pt x="193" y="11"/>
                  </a:cubicBezTo>
                  <a:cubicBezTo>
                    <a:pt x="193" y="12"/>
                    <a:pt x="193" y="12"/>
                    <a:pt x="193" y="12"/>
                  </a:cubicBezTo>
                  <a:cubicBezTo>
                    <a:pt x="193" y="13"/>
                    <a:pt x="194" y="13"/>
                    <a:pt x="195" y="14"/>
                  </a:cubicBezTo>
                  <a:cubicBezTo>
                    <a:pt x="195" y="14"/>
                    <a:pt x="195" y="14"/>
                    <a:pt x="195" y="14"/>
                  </a:cubicBezTo>
                  <a:cubicBezTo>
                    <a:pt x="195" y="15"/>
                    <a:pt x="196" y="15"/>
                    <a:pt x="197" y="16"/>
                  </a:cubicBezTo>
                  <a:cubicBezTo>
                    <a:pt x="197" y="16"/>
                    <a:pt x="197" y="16"/>
                    <a:pt x="197" y="17"/>
                  </a:cubicBezTo>
                  <a:cubicBezTo>
                    <a:pt x="197" y="17"/>
                    <a:pt x="198" y="18"/>
                    <a:pt x="198" y="18"/>
                  </a:cubicBezTo>
                  <a:cubicBezTo>
                    <a:pt x="198" y="18"/>
                    <a:pt x="198" y="19"/>
                    <a:pt x="198" y="19"/>
                  </a:cubicBezTo>
                  <a:cubicBezTo>
                    <a:pt x="199" y="19"/>
                    <a:pt x="200" y="20"/>
                    <a:pt x="200" y="20"/>
                  </a:cubicBezTo>
                  <a:cubicBezTo>
                    <a:pt x="200" y="20"/>
                    <a:pt x="200" y="21"/>
                    <a:pt x="200" y="21"/>
                  </a:cubicBezTo>
                  <a:cubicBezTo>
                    <a:pt x="201" y="21"/>
                    <a:pt x="202" y="22"/>
                    <a:pt x="202" y="23"/>
                  </a:cubicBezTo>
                  <a:cubicBezTo>
                    <a:pt x="202" y="23"/>
                    <a:pt x="202" y="23"/>
                    <a:pt x="202" y="23"/>
                  </a:cubicBezTo>
                  <a:cubicBezTo>
                    <a:pt x="203" y="24"/>
                    <a:pt x="203" y="24"/>
                    <a:pt x="204" y="25"/>
                  </a:cubicBezTo>
                  <a:cubicBezTo>
                    <a:pt x="204" y="25"/>
                    <a:pt x="204" y="25"/>
                    <a:pt x="204" y="25"/>
                  </a:cubicBezTo>
                  <a:cubicBezTo>
                    <a:pt x="204" y="26"/>
                    <a:pt x="204" y="26"/>
                    <a:pt x="205" y="26"/>
                  </a:cubicBezTo>
                  <a:cubicBezTo>
                    <a:pt x="205" y="26"/>
                    <a:pt x="205" y="26"/>
                    <a:pt x="205" y="26"/>
                  </a:cubicBezTo>
                  <a:cubicBezTo>
                    <a:pt x="205" y="26"/>
                    <a:pt x="205" y="26"/>
                    <a:pt x="205" y="26"/>
                  </a:cubicBezTo>
                  <a:cubicBezTo>
                    <a:pt x="205" y="27"/>
                    <a:pt x="205" y="27"/>
                    <a:pt x="205" y="27"/>
                  </a:cubicBezTo>
                  <a:cubicBezTo>
                    <a:pt x="206" y="27"/>
                    <a:pt x="206" y="27"/>
                    <a:pt x="206" y="28"/>
                  </a:cubicBezTo>
                  <a:cubicBezTo>
                    <a:pt x="206" y="28"/>
                    <a:pt x="206" y="28"/>
                    <a:pt x="206" y="29"/>
                  </a:cubicBezTo>
                  <a:cubicBezTo>
                    <a:pt x="207" y="29"/>
                    <a:pt x="207" y="29"/>
                    <a:pt x="207" y="29"/>
                  </a:cubicBezTo>
                  <a:cubicBezTo>
                    <a:pt x="207" y="29"/>
                    <a:pt x="207" y="29"/>
                    <a:pt x="207" y="29"/>
                  </a:cubicBezTo>
                  <a:cubicBezTo>
                    <a:pt x="207" y="29"/>
                    <a:pt x="207" y="30"/>
                    <a:pt x="207" y="30"/>
                  </a:cubicBezTo>
                  <a:cubicBezTo>
                    <a:pt x="208" y="30"/>
                    <a:pt x="208" y="31"/>
                    <a:pt x="208" y="31"/>
                  </a:cubicBezTo>
                  <a:cubicBezTo>
                    <a:pt x="208" y="31"/>
                    <a:pt x="208" y="31"/>
                    <a:pt x="209" y="31"/>
                  </a:cubicBezTo>
                  <a:cubicBezTo>
                    <a:pt x="209" y="32"/>
                    <a:pt x="209" y="32"/>
                    <a:pt x="209" y="32"/>
                  </a:cubicBezTo>
                  <a:cubicBezTo>
                    <a:pt x="209" y="32"/>
                    <a:pt x="209" y="32"/>
                    <a:pt x="209" y="32"/>
                  </a:cubicBezTo>
                  <a:cubicBezTo>
                    <a:pt x="209" y="33"/>
                    <a:pt x="209" y="33"/>
                    <a:pt x="209" y="33"/>
                  </a:cubicBezTo>
                  <a:cubicBezTo>
                    <a:pt x="209" y="33"/>
                    <a:pt x="210" y="33"/>
                    <a:pt x="210" y="33"/>
                  </a:cubicBezTo>
                  <a:cubicBezTo>
                    <a:pt x="210" y="34"/>
                    <a:pt x="210" y="34"/>
                    <a:pt x="210" y="34"/>
                  </a:cubicBezTo>
                  <a:cubicBezTo>
                    <a:pt x="210" y="34"/>
                    <a:pt x="210" y="34"/>
                    <a:pt x="211" y="35"/>
                  </a:cubicBezTo>
                  <a:cubicBezTo>
                    <a:pt x="211" y="35"/>
                    <a:pt x="211" y="35"/>
                    <a:pt x="211" y="36"/>
                  </a:cubicBezTo>
                  <a:cubicBezTo>
                    <a:pt x="211" y="36"/>
                    <a:pt x="211" y="36"/>
                    <a:pt x="212" y="36"/>
                  </a:cubicBezTo>
                  <a:cubicBezTo>
                    <a:pt x="212" y="37"/>
                    <a:pt x="212" y="37"/>
                    <a:pt x="212" y="37"/>
                  </a:cubicBezTo>
                  <a:cubicBezTo>
                    <a:pt x="212" y="37"/>
                    <a:pt x="212" y="37"/>
                    <a:pt x="212" y="37"/>
                  </a:cubicBezTo>
                  <a:cubicBezTo>
                    <a:pt x="212" y="38"/>
                    <a:pt x="212" y="38"/>
                    <a:pt x="212" y="38"/>
                  </a:cubicBezTo>
                  <a:cubicBezTo>
                    <a:pt x="213" y="38"/>
                    <a:pt x="213" y="38"/>
                    <a:pt x="213" y="38"/>
                  </a:cubicBezTo>
                  <a:cubicBezTo>
                    <a:pt x="213" y="39"/>
                    <a:pt x="213" y="39"/>
                    <a:pt x="213" y="39"/>
                  </a:cubicBezTo>
                  <a:cubicBezTo>
                    <a:pt x="213" y="39"/>
                    <a:pt x="214" y="39"/>
                    <a:pt x="214" y="39"/>
                  </a:cubicBezTo>
                  <a:cubicBezTo>
                    <a:pt x="214" y="40"/>
                    <a:pt x="214" y="40"/>
                    <a:pt x="214" y="41"/>
                  </a:cubicBezTo>
                  <a:cubicBezTo>
                    <a:pt x="214" y="41"/>
                    <a:pt x="215" y="41"/>
                    <a:pt x="215" y="41"/>
                  </a:cubicBezTo>
                  <a:cubicBezTo>
                    <a:pt x="215" y="41"/>
                    <a:pt x="215" y="42"/>
                    <a:pt x="215" y="42"/>
                  </a:cubicBezTo>
                  <a:cubicBezTo>
                    <a:pt x="215" y="42"/>
                    <a:pt x="215" y="42"/>
                    <a:pt x="216" y="42"/>
                  </a:cubicBezTo>
                  <a:cubicBezTo>
                    <a:pt x="216" y="42"/>
                    <a:pt x="216" y="43"/>
                    <a:pt x="216" y="43"/>
                  </a:cubicBezTo>
                  <a:cubicBezTo>
                    <a:pt x="216" y="43"/>
                    <a:pt x="216" y="43"/>
                    <a:pt x="216" y="43"/>
                  </a:cubicBezTo>
                  <a:cubicBezTo>
                    <a:pt x="216" y="44"/>
                    <a:pt x="217" y="45"/>
                    <a:pt x="217" y="45"/>
                  </a:cubicBezTo>
                  <a:cubicBezTo>
                    <a:pt x="217" y="45"/>
                    <a:pt x="217" y="46"/>
                    <a:pt x="218" y="46"/>
                  </a:cubicBezTo>
                  <a:cubicBezTo>
                    <a:pt x="218" y="46"/>
                    <a:pt x="218" y="47"/>
                    <a:pt x="218" y="47"/>
                  </a:cubicBezTo>
                  <a:cubicBezTo>
                    <a:pt x="218" y="47"/>
                    <a:pt x="218" y="47"/>
                    <a:pt x="218" y="47"/>
                  </a:cubicBezTo>
                  <a:cubicBezTo>
                    <a:pt x="218" y="47"/>
                    <a:pt x="218" y="48"/>
                    <a:pt x="218" y="48"/>
                  </a:cubicBezTo>
                  <a:cubicBezTo>
                    <a:pt x="218" y="48"/>
                    <a:pt x="219" y="48"/>
                    <a:pt x="219" y="48"/>
                  </a:cubicBezTo>
                  <a:cubicBezTo>
                    <a:pt x="219" y="48"/>
                    <a:pt x="219" y="48"/>
                    <a:pt x="219" y="49"/>
                  </a:cubicBezTo>
                  <a:cubicBezTo>
                    <a:pt x="219" y="49"/>
                    <a:pt x="219" y="49"/>
                    <a:pt x="219" y="49"/>
                  </a:cubicBezTo>
                  <a:cubicBezTo>
                    <a:pt x="219" y="49"/>
                    <a:pt x="219" y="49"/>
                    <a:pt x="219" y="49"/>
                  </a:cubicBezTo>
                  <a:cubicBezTo>
                    <a:pt x="219" y="49"/>
                    <a:pt x="219" y="49"/>
                    <a:pt x="219" y="49"/>
                  </a:cubicBezTo>
                  <a:cubicBezTo>
                    <a:pt x="219" y="49"/>
                    <a:pt x="219" y="50"/>
                    <a:pt x="219" y="50"/>
                  </a:cubicBezTo>
                  <a:cubicBezTo>
                    <a:pt x="219" y="50"/>
                    <a:pt x="220" y="50"/>
                    <a:pt x="220" y="50"/>
                  </a:cubicBezTo>
                  <a:cubicBezTo>
                    <a:pt x="220" y="50"/>
                    <a:pt x="220" y="51"/>
                    <a:pt x="220" y="51"/>
                  </a:cubicBezTo>
                  <a:cubicBezTo>
                    <a:pt x="220" y="51"/>
                    <a:pt x="220" y="51"/>
                    <a:pt x="220" y="51"/>
                  </a:cubicBezTo>
                  <a:cubicBezTo>
                    <a:pt x="221" y="52"/>
                    <a:pt x="221" y="52"/>
                    <a:pt x="221" y="53"/>
                  </a:cubicBezTo>
                  <a:cubicBezTo>
                    <a:pt x="221" y="53"/>
                    <a:pt x="221" y="53"/>
                    <a:pt x="221" y="53"/>
                  </a:cubicBezTo>
                  <a:cubicBezTo>
                    <a:pt x="221" y="53"/>
                    <a:pt x="221" y="53"/>
                    <a:pt x="221" y="53"/>
                  </a:cubicBezTo>
                  <a:cubicBezTo>
                    <a:pt x="221" y="54"/>
                    <a:pt x="222" y="54"/>
                    <a:pt x="222" y="54"/>
                  </a:cubicBezTo>
                  <a:cubicBezTo>
                    <a:pt x="222" y="54"/>
                    <a:pt x="222" y="54"/>
                    <a:pt x="222" y="54"/>
                  </a:cubicBezTo>
                  <a:cubicBezTo>
                    <a:pt x="222" y="54"/>
                    <a:pt x="222" y="54"/>
                    <a:pt x="222" y="54"/>
                  </a:cubicBezTo>
                  <a:cubicBezTo>
                    <a:pt x="222" y="57"/>
                    <a:pt x="222" y="60"/>
                    <a:pt x="222" y="63"/>
                  </a:cubicBezTo>
                  <a:cubicBezTo>
                    <a:pt x="221" y="64"/>
                    <a:pt x="221" y="64"/>
                    <a:pt x="219" y="64"/>
                  </a:cubicBezTo>
                  <a:cubicBezTo>
                    <a:pt x="218" y="65"/>
                    <a:pt x="216" y="65"/>
                    <a:pt x="214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1" y="66"/>
                    <a:pt x="207" y="66"/>
                    <a:pt x="204" y="67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</a:ln>
            <a:effectLst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64800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4000" b="1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0000"/>
                </a:solidFill>
                <a:latin typeface="UKIJ Qolyazma" pitchFamily="18" charset="0"/>
                <a:cs typeface="UKIJ Qolyazma" pitchFamily="18" charset="0"/>
              </a:endParaRPr>
            </a:p>
          </p:txBody>
        </p:sp>
        <p:sp>
          <p:nvSpPr>
            <p:cNvPr id="113" name="Freeform 24">
              <a:extLst>
                <a:ext uri="{FF2B5EF4-FFF2-40B4-BE49-F238E27FC236}">
                  <a16:creationId xmlns:a16="http://schemas.microsoft.com/office/drawing/2014/main" id="{84E7C242-1F31-017A-1073-A30760EE7C3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5292" y="2236458"/>
              <a:ext cx="437469" cy="433351"/>
            </a:xfrm>
            <a:custGeom>
              <a:avLst/>
              <a:gdLst>
                <a:gd name="T0" fmla="*/ 99 w 201"/>
                <a:gd name="T1" fmla="*/ 36 h 199"/>
                <a:gd name="T2" fmla="*/ 106 w 201"/>
                <a:gd name="T3" fmla="*/ 40 h 199"/>
                <a:gd name="T4" fmla="*/ 115 w 201"/>
                <a:gd name="T5" fmla="*/ 45 h 199"/>
                <a:gd name="T6" fmla="*/ 123 w 201"/>
                <a:gd name="T7" fmla="*/ 51 h 199"/>
                <a:gd name="T8" fmla="*/ 124 w 201"/>
                <a:gd name="T9" fmla="*/ 54 h 199"/>
                <a:gd name="T10" fmla="*/ 126 w 201"/>
                <a:gd name="T11" fmla="*/ 58 h 199"/>
                <a:gd name="T12" fmla="*/ 128 w 201"/>
                <a:gd name="T13" fmla="*/ 61 h 199"/>
                <a:gd name="T14" fmla="*/ 130 w 201"/>
                <a:gd name="T15" fmla="*/ 64 h 199"/>
                <a:gd name="T16" fmla="*/ 131 w 201"/>
                <a:gd name="T17" fmla="*/ 67 h 199"/>
                <a:gd name="T18" fmla="*/ 134 w 201"/>
                <a:gd name="T19" fmla="*/ 72 h 199"/>
                <a:gd name="T20" fmla="*/ 141 w 201"/>
                <a:gd name="T21" fmla="*/ 72 h 199"/>
                <a:gd name="T22" fmla="*/ 149 w 201"/>
                <a:gd name="T23" fmla="*/ 70 h 199"/>
                <a:gd name="T24" fmla="*/ 157 w 201"/>
                <a:gd name="T25" fmla="*/ 67 h 199"/>
                <a:gd name="T26" fmla="*/ 165 w 201"/>
                <a:gd name="T27" fmla="*/ 70 h 199"/>
                <a:gd name="T28" fmla="*/ 170 w 201"/>
                <a:gd name="T29" fmla="*/ 73 h 199"/>
                <a:gd name="T30" fmla="*/ 175 w 201"/>
                <a:gd name="T31" fmla="*/ 76 h 199"/>
                <a:gd name="T32" fmla="*/ 180 w 201"/>
                <a:gd name="T33" fmla="*/ 79 h 199"/>
                <a:gd name="T34" fmla="*/ 185 w 201"/>
                <a:gd name="T35" fmla="*/ 82 h 199"/>
                <a:gd name="T36" fmla="*/ 189 w 201"/>
                <a:gd name="T37" fmla="*/ 85 h 199"/>
                <a:gd name="T38" fmla="*/ 194 w 201"/>
                <a:gd name="T39" fmla="*/ 88 h 199"/>
                <a:gd name="T40" fmla="*/ 195 w 201"/>
                <a:gd name="T41" fmla="*/ 124 h 199"/>
                <a:gd name="T42" fmla="*/ 191 w 201"/>
                <a:gd name="T43" fmla="*/ 125 h 199"/>
                <a:gd name="T44" fmla="*/ 182 w 201"/>
                <a:gd name="T45" fmla="*/ 128 h 199"/>
                <a:gd name="T46" fmla="*/ 173 w 201"/>
                <a:gd name="T47" fmla="*/ 136 h 199"/>
                <a:gd name="T48" fmla="*/ 161 w 201"/>
                <a:gd name="T49" fmla="*/ 149 h 199"/>
                <a:gd name="T50" fmla="*/ 154 w 201"/>
                <a:gd name="T51" fmla="*/ 157 h 199"/>
                <a:gd name="T52" fmla="*/ 151 w 201"/>
                <a:gd name="T53" fmla="*/ 161 h 199"/>
                <a:gd name="T54" fmla="*/ 149 w 201"/>
                <a:gd name="T55" fmla="*/ 165 h 199"/>
                <a:gd name="T56" fmla="*/ 145 w 201"/>
                <a:gd name="T57" fmla="*/ 170 h 199"/>
                <a:gd name="T58" fmla="*/ 143 w 201"/>
                <a:gd name="T59" fmla="*/ 174 h 199"/>
                <a:gd name="T60" fmla="*/ 140 w 201"/>
                <a:gd name="T61" fmla="*/ 179 h 199"/>
                <a:gd name="T62" fmla="*/ 137 w 201"/>
                <a:gd name="T63" fmla="*/ 183 h 199"/>
                <a:gd name="T64" fmla="*/ 134 w 201"/>
                <a:gd name="T65" fmla="*/ 187 h 199"/>
                <a:gd name="T66" fmla="*/ 131 w 201"/>
                <a:gd name="T67" fmla="*/ 192 h 199"/>
                <a:gd name="T68" fmla="*/ 128 w 201"/>
                <a:gd name="T69" fmla="*/ 196 h 199"/>
                <a:gd name="T70" fmla="*/ 121 w 201"/>
                <a:gd name="T71" fmla="*/ 194 h 199"/>
                <a:gd name="T72" fmla="*/ 108 w 201"/>
                <a:gd name="T73" fmla="*/ 182 h 199"/>
                <a:gd name="T74" fmla="*/ 102 w 201"/>
                <a:gd name="T75" fmla="*/ 178 h 199"/>
                <a:gd name="T76" fmla="*/ 97 w 201"/>
                <a:gd name="T77" fmla="*/ 175 h 199"/>
                <a:gd name="T78" fmla="*/ 91 w 201"/>
                <a:gd name="T79" fmla="*/ 171 h 199"/>
                <a:gd name="T80" fmla="*/ 86 w 201"/>
                <a:gd name="T81" fmla="*/ 168 h 199"/>
                <a:gd name="T82" fmla="*/ 80 w 201"/>
                <a:gd name="T83" fmla="*/ 164 h 199"/>
                <a:gd name="T84" fmla="*/ 74 w 201"/>
                <a:gd name="T85" fmla="*/ 166 h 199"/>
                <a:gd name="T86" fmla="*/ 67 w 201"/>
                <a:gd name="T87" fmla="*/ 168 h 199"/>
                <a:gd name="T88" fmla="*/ 59 w 201"/>
                <a:gd name="T89" fmla="*/ 173 h 199"/>
                <a:gd name="T90" fmla="*/ 43 w 201"/>
                <a:gd name="T91" fmla="*/ 189 h 199"/>
                <a:gd name="T92" fmla="*/ 40 w 201"/>
                <a:gd name="T93" fmla="*/ 181 h 199"/>
                <a:gd name="T94" fmla="*/ 45 w 201"/>
                <a:gd name="T95" fmla="*/ 160 h 199"/>
                <a:gd name="T96" fmla="*/ 54 w 201"/>
                <a:gd name="T97" fmla="*/ 127 h 199"/>
                <a:gd name="T98" fmla="*/ 57 w 201"/>
                <a:gd name="T99" fmla="*/ 123 h 199"/>
                <a:gd name="T100" fmla="*/ 60 w 201"/>
                <a:gd name="T101" fmla="*/ 118 h 199"/>
                <a:gd name="T102" fmla="*/ 50 w 201"/>
                <a:gd name="T103" fmla="*/ 97 h 199"/>
                <a:gd name="T104" fmla="*/ 32 w 201"/>
                <a:gd name="T105" fmla="*/ 59 h 199"/>
                <a:gd name="T106" fmla="*/ 9 w 201"/>
                <a:gd name="T107" fmla="*/ 35 h 199"/>
                <a:gd name="T108" fmla="*/ 5 w 201"/>
                <a:gd name="T109" fmla="*/ 23 h 199"/>
                <a:gd name="T110" fmla="*/ 11 w 201"/>
                <a:gd name="T111" fmla="*/ 22 h 199"/>
                <a:gd name="T112" fmla="*/ 44 w 201"/>
                <a:gd name="T113" fmla="*/ 5 h 199"/>
                <a:gd name="T114" fmla="*/ 75 w 201"/>
                <a:gd name="T115" fmla="*/ 4 h 199"/>
                <a:gd name="T116" fmla="*/ 80 w 201"/>
                <a:gd name="T117" fmla="*/ 12 h 199"/>
                <a:gd name="T118" fmla="*/ 83 w 201"/>
                <a:gd name="T119" fmla="*/ 18 h 199"/>
                <a:gd name="T120" fmla="*/ 88 w 201"/>
                <a:gd name="T121" fmla="*/ 26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01" h="199">
                  <a:moveTo>
                    <a:pt x="91" y="31"/>
                  </a:moveTo>
                  <a:cubicBezTo>
                    <a:pt x="92" y="32"/>
                    <a:pt x="92" y="32"/>
                    <a:pt x="93" y="33"/>
                  </a:cubicBezTo>
                  <a:cubicBezTo>
                    <a:pt x="93" y="33"/>
                    <a:pt x="94" y="33"/>
                    <a:pt x="94" y="33"/>
                  </a:cubicBezTo>
                  <a:cubicBezTo>
                    <a:pt x="94" y="33"/>
                    <a:pt x="94" y="33"/>
                    <a:pt x="94" y="33"/>
                  </a:cubicBezTo>
                  <a:cubicBezTo>
                    <a:pt x="95" y="34"/>
                    <a:pt x="96" y="34"/>
                    <a:pt x="96" y="34"/>
                  </a:cubicBezTo>
                  <a:cubicBezTo>
                    <a:pt x="97" y="34"/>
                    <a:pt x="97" y="35"/>
                    <a:pt x="97" y="35"/>
                  </a:cubicBezTo>
                  <a:cubicBezTo>
                    <a:pt x="97" y="35"/>
                    <a:pt x="98" y="35"/>
                    <a:pt x="99" y="36"/>
                  </a:cubicBezTo>
                  <a:cubicBezTo>
                    <a:pt x="99" y="36"/>
                    <a:pt x="99" y="36"/>
                    <a:pt x="99" y="36"/>
                  </a:cubicBezTo>
                  <a:cubicBezTo>
                    <a:pt x="99" y="36"/>
                    <a:pt x="100" y="36"/>
                    <a:pt x="100" y="36"/>
                  </a:cubicBezTo>
                  <a:cubicBezTo>
                    <a:pt x="100" y="36"/>
                    <a:pt x="100" y="37"/>
                    <a:pt x="100" y="37"/>
                  </a:cubicBezTo>
                  <a:cubicBezTo>
                    <a:pt x="100" y="37"/>
                    <a:pt x="100" y="37"/>
                    <a:pt x="101" y="37"/>
                  </a:cubicBezTo>
                  <a:cubicBezTo>
                    <a:pt x="101" y="37"/>
                    <a:pt x="101" y="37"/>
                    <a:pt x="101" y="37"/>
                  </a:cubicBezTo>
                  <a:cubicBezTo>
                    <a:pt x="102" y="38"/>
                    <a:pt x="102" y="38"/>
                    <a:pt x="103" y="38"/>
                  </a:cubicBezTo>
                  <a:cubicBezTo>
                    <a:pt x="103" y="38"/>
                    <a:pt x="103" y="38"/>
                    <a:pt x="103" y="39"/>
                  </a:cubicBezTo>
                  <a:cubicBezTo>
                    <a:pt x="104" y="39"/>
                    <a:pt x="105" y="39"/>
                    <a:pt x="105" y="39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107" y="40"/>
                    <a:pt x="107" y="41"/>
                    <a:pt x="108" y="41"/>
                  </a:cubicBezTo>
                  <a:cubicBezTo>
                    <a:pt x="108" y="41"/>
                    <a:pt x="108" y="41"/>
                    <a:pt x="108" y="42"/>
                  </a:cubicBezTo>
                  <a:cubicBezTo>
                    <a:pt x="109" y="42"/>
                    <a:pt x="110" y="42"/>
                    <a:pt x="110" y="42"/>
                  </a:cubicBezTo>
                  <a:cubicBezTo>
                    <a:pt x="111" y="42"/>
                    <a:pt x="111" y="43"/>
                    <a:pt x="111" y="43"/>
                  </a:cubicBezTo>
                  <a:cubicBezTo>
                    <a:pt x="111" y="43"/>
                    <a:pt x="112" y="43"/>
                    <a:pt x="112" y="43"/>
                  </a:cubicBezTo>
                  <a:cubicBezTo>
                    <a:pt x="112" y="44"/>
                    <a:pt x="112" y="44"/>
                    <a:pt x="112" y="44"/>
                  </a:cubicBezTo>
                  <a:cubicBezTo>
                    <a:pt x="113" y="44"/>
                    <a:pt x="114" y="44"/>
                    <a:pt x="115" y="45"/>
                  </a:cubicBezTo>
                  <a:cubicBezTo>
                    <a:pt x="115" y="45"/>
                    <a:pt x="115" y="45"/>
                    <a:pt x="115" y="45"/>
                  </a:cubicBezTo>
                  <a:cubicBezTo>
                    <a:pt x="116" y="46"/>
                    <a:pt x="116" y="46"/>
                    <a:pt x="117" y="46"/>
                  </a:cubicBezTo>
                  <a:cubicBezTo>
                    <a:pt x="117" y="46"/>
                    <a:pt x="117" y="47"/>
                    <a:pt x="117" y="47"/>
                  </a:cubicBezTo>
                  <a:cubicBezTo>
                    <a:pt x="118" y="47"/>
                    <a:pt x="119" y="47"/>
                    <a:pt x="119" y="47"/>
                  </a:cubicBezTo>
                  <a:cubicBezTo>
                    <a:pt x="120" y="48"/>
                    <a:pt x="120" y="48"/>
                    <a:pt x="120" y="48"/>
                  </a:cubicBezTo>
                  <a:cubicBezTo>
                    <a:pt x="120" y="48"/>
                    <a:pt x="121" y="48"/>
                    <a:pt x="122" y="49"/>
                  </a:cubicBezTo>
                  <a:cubicBezTo>
                    <a:pt x="122" y="49"/>
                    <a:pt x="122" y="50"/>
                    <a:pt x="122" y="50"/>
                  </a:cubicBezTo>
                  <a:cubicBezTo>
                    <a:pt x="122" y="50"/>
                    <a:pt x="122" y="51"/>
                    <a:pt x="123" y="51"/>
                  </a:cubicBezTo>
                  <a:cubicBezTo>
                    <a:pt x="123" y="51"/>
                    <a:pt x="123" y="51"/>
                    <a:pt x="123" y="51"/>
                  </a:cubicBezTo>
                  <a:cubicBezTo>
                    <a:pt x="123" y="51"/>
                    <a:pt x="123" y="51"/>
                    <a:pt x="123" y="51"/>
                  </a:cubicBezTo>
                  <a:cubicBezTo>
                    <a:pt x="123" y="52"/>
                    <a:pt x="123" y="52"/>
                    <a:pt x="123" y="52"/>
                  </a:cubicBezTo>
                  <a:cubicBezTo>
                    <a:pt x="123" y="52"/>
                    <a:pt x="123" y="52"/>
                    <a:pt x="123" y="52"/>
                  </a:cubicBezTo>
                  <a:cubicBezTo>
                    <a:pt x="123" y="52"/>
                    <a:pt x="123" y="52"/>
                    <a:pt x="123" y="53"/>
                  </a:cubicBezTo>
                  <a:cubicBezTo>
                    <a:pt x="123" y="53"/>
                    <a:pt x="124" y="53"/>
                    <a:pt x="124" y="53"/>
                  </a:cubicBezTo>
                  <a:cubicBezTo>
                    <a:pt x="124" y="53"/>
                    <a:pt x="124" y="53"/>
                    <a:pt x="124" y="53"/>
                  </a:cubicBezTo>
                  <a:cubicBezTo>
                    <a:pt x="124" y="54"/>
                    <a:pt x="124" y="54"/>
                    <a:pt x="124" y="54"/>
                  </a:cubicBezTo>
                  <a:cubicBezTo>
                    <a:pt x="124" y="54"/>
                    <a:pt x="124" y="54"/>
                    <a:pt x="124" y="54"/>
                  </a:cubicBezTo>
                  <a:cubicBezTo>
                    <a:pt x="124" y="54"/>
                    <a:pt x="125" y="54"/>
                    <a:pt x="125" y="54"/>
                  </a:cubicBezTo>
                  <a:cubicBezTo>
                    <a:pt x="125" y="55"/>
                    <a:pt x="125" y="55"/>
                    <a:pt x="125" y="55"/>
                  </a:cubicBezTo>
                  <a:cubicBezTo>
                    <a:pt x="125" y="55"/>
                    <a:pt x="125" y="55"/>
                    <a:pt x="125" y="55"/>
                  </a:cubicBezTo>
                  <a:cubicBezTo>
                    <a:pt x="125" y="55"/>
                    <a:pt x="125" y="56"/>
                    <a:pt x="125" y="56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25" y="56"/>
                    <a:pt x="125" y="56"/>
                    <a:pt x="125" y="57"/>
                  </a:cubicBezTo>
                  <a:cubicBezTo>
                    <a:pt x="126" y="57"/>
                    <a:pt x="126" y="57"/>
                    <a:pt x="126" y="57"/>
                  </a:cubicBezTo>
                  <a:cubicBezTo>
                    <a:pt x="126" y="57"/>
                    <a:pt x="126" y="57"/>
                    <a:pt x="126" y="58"/>
                  </a:cubicBezTo>
                  <a:cubicBezTo>
                    <a:pt x="126" y="58"/>
                    <a:pt x="126" y="58"/>
                    <a:pt x="126" y="58"/>
                  </a:cubicBezTo>
                  <a:cubicBezTo>
                    <a:pt x="126" y="58"/>
                    <a:pt x="126" y="58"/>
                    <a:pt x="126" y="58"/>
                  </a:cubicBezTo>
                  <a:cubicBezTo>
                    <a:pt x="127" y="58"/>
                    <a:pt x="127" y="58"/>
                    <a:pt x="127" y="58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7" y="59"/>
                    <a:pt x="127" y="59"/>
                    <a:pt x="127" y="60"/>
                  </a:cubicBezTo>
                  <a:cubicBezTo>
                    <a:pt x="127" y="60"/>
                    <a:pt x="128" y="60"/>
                    <a:pt x="128" y="60"/>
                  </a:cubicBezTo>
                  <a:cubicBezTo>
                    <a:pt x="128" y="60"/>
                    <a:pt x="128" y="61"/>
                    <a:pt x="128" y="61"/>
                  </a:cubicBezTo>
                  <a:cubicBezTo>
                    <a:pt x="128" y="61"/>
                    <a:pt x="128" y="61"/>
                    <a:pt x="128" y="61"/>
                  </a:cubicBezTo>
                  <a:cubicBezTo>
                    <a:pt x="128" y="61"/>
                    <a:pt x="128" y="61"/>
                    <a:pt x="128" y="61"/>
                  </a:cubicBezTo>
                  <a:cubicBezTo>
                    <a:pt x="128" y="61"/>
                    <a:pt x="128" y="61"/>
                    <a:pt x="129" y="61"/>
                  </a:cubicBezTo>
                  <a:cubicBezTo>
                    <a:pt x="129" y="62"/>
                    <a:pt x="129" y="62"/>
                    <a:pt x="129" y="62"/>
                  </a:cubicBezTo>
                  <a:cubicBezTo>
                    <a:pt x="129" y="62"/>
                    <a:pt x="129" y="62"/>
                    <a:pt x="129" y="62"/>
                  </a:cubicBezTo>
                  <a:cubicBezTo>
                    <a:pt x="129" y="62"/>
                    <a:pt x="129" y="63"/>
                    <a:pt x="129" y="63"/>
                  </a:cubicBezTo>
                  <a:cubicBezTo>
                    <a:pt x="129" y="63"/>
                    <a:pt x="129" y="63"/>
                    <a:pt x="130" y="63"/>
                  </a:cubicBezTo>
                  <a:cubicBezTo>
                    <a:pt x="130" y="63"/>
                    <a:pt x="130" y="64"/>
                    <a:pt x="130" y="64"/>
                  </a:cubicBezTo>
                  <a:cubicBezTo>
                    <a:pt x="130" y="64"/>
                    <a:pt x="130" y="64"/>
                    <a:pt x="130" y="64"/>
                  </a:cubicBezTo>
                  <a:cubicBezTo>
                    <a:pt x="130" y="64"/>
                    <a:pt x="130" y="64"/>
                    <a:pt x="130" y="65"/>
                  </a:cubicBezTo>
                  <a:cubicBezTo>
                    <a:pt x="130" y="65"/>
                    <a:pt x="130" y="65"/>
                    <a:pt x="130" y="65"/>
                  </a:cubicBezTo>
                  <a:cubicBezTo>
                    <a:pt x="130" y="65"/>
                    <a:pt x="130" y="65"/>
                    <a:pt x="130" y="65"/>
                  </a:cubicBezTo>
                  <a:cubicBezTo>
                    <a:pt x="130" y="65"/>
                    <a:pt x="131" y="65"/>
                    <a:pt x="131" y="65"/>
                  </a:cubicBezTo>
                  <a:cubicBezTo>
                    <a:pt x="131" y="66"/>
                    <a:pt x="131" y="66"/>
                    <a:pt x="131" y="66"/>
                  </a:cubicBezTo>
                  <a:cubicBezTo>
                    <a:pt x="131" y="66"/>
                    <a:pt x="131" y="66"/>
                    <a:pt x="131" y="66"/>
                  </a:cubicBezTo>
                  <a:cubicBezTo>
                    <a:pt x="131" y="67"/>
                    <a:pt x="131" y="67"/>
                    <a:pt x="131" y="67"/>
                  </a:cubicBezTo>
                  <a:cubicBezTo>
                    <a:pt x="131" y="67"/>
                    <a:pt x="132" y="67"/>
                    <a:pt x="132" y="67"/>
                  </a:cubicBezTo>
                  <a:cubicBezTo>
                    <a:pt x="132" y="68"/>
                    <a:pt x="132" y="68"/>
                    <a:pt x="132" y="69"/>
                  </a:cubicBezTo>
                  <a:cubicBezTo>
                    <a:pt x="133" y="69"/>
                    <a:pt x="133" y="69"/>
                    <a:pt x="133" y="70"/>
                  </a:cubicBezTo>
                  <a:cubicBezTo>
                    <a:pt x="133" y="70"/>
                    <a:pt x="133" y="70"/>
                    <a:pt x="133" y="70"/>
                  </a:cubicBezTo>
                  <a:cubicBezTo>
                    <a:pt x="133" y="70"/>
                    <a:pt x="133" y="70"/>
                    <a:pt x="133" y="70"/>
                  </a:cubicBezTo>
                  <a:cubicBezTo>
                    <a:pt x="133" y="70"/>
                    <a:pt x="133" y="71"/>
                    <a:pt x="133" y="71"/>
                  </a:cubicBezTo>
                  <a:cubicBezTo>
                    <a:pt x="134" y="71"/>
                    <a:pt x="134" y="71"/>
                    <a:pt x="134" y="71"/>
                  </a:cubicBezTo>
                  <a:cubicBezTo>
                    <a:pt x="134" y="71"/>
                    <a:pt x="134" y="72"/>
                    <a:pt x="134" y="72"/>
                  </a:cubicBezTo>
                  <a:cubicBezTo>
                    <a:pt x="134" y="72"/>
                    <a:pt x="135" y="73"/>
                    <a:pt x="135" y="73"/>
                  </a:cubicBezTo>
                  <a:cubicBezTo>
                    <a:pt x="135" y="73"/>
                    <a:pt x="135" y="73"/>
                    <a:pt x="135" y="74"/>
                  </a:cubicBezTo>
                  <a:cubicBezTo>
                    <a:pt x="136" y="74"/>
                    <a:pt x="136" y="74"/>
                    <a:pt x="136" y="74"/>
                  </a:cubicBezTo>
                  <a:cubicBezTo>
                    <a:pt x="136" y="74"/>
                    <a:pt x="136" y="73"/>
                    <a:pt x="136" y="73"/>
                  </a:cubicBezTo>
                  <a:cubicBezTo>
                    <a:pt x="137" y="73"/>
                    <a:pt x="139" y="73"/>
                    <a:pt x="140" y="73"/>
                  </a:cubicBezTo>
                  <a:cubicBezTo>
                    <a:pt x="140" y="73"/>
                    <a:pt x="140" y="72"/>
                    <a:pt x="140" y="72"/>
                  </a:cubicBezTo>
                  <a:cubicBezTo>
                    <a:pt x="140" y="72"/>
                    <a:pt x="140" y="72"/>
                    <a:pt x="141" y="72"/>
                  </a:cubicBezTo>
                  <a:cubicBezTo>
                    <a:pt x="141" y="72"/>
                    <a:pt x="141" y="72"/>
                    <a:pt x="141" y="72"/>
                  </a:cubicBezTo>
                  <a:cubicBezTo>
                    <a:pt x="141" y="72"/>
                    <a:pt x="142" y="72"/>
                    <a:pt x="142" y="72"/>
                  </a:cubicBezTo>
                  <a:cubicBezTo>
                    <a:pt x="142" y="72"/>
                    <a:pt x="142" y="72"/>
                    <a:pt x="142" y="72"/>
                  </a:cubicBezTo>
                  <a:cubicBezTo>
                    <a:pt x="142" y="72"/>
                    <a:pt x="143" y="72"/>
                    <a:pt x="143" y="72"/>
                  </a:cubicBezTo>
                  <a:cubicBezTo>
                    <a:pt x="143" y="71"/>
                    <a:pt x="143" y="71"/>
                    <a:pt x="143" y="71"/>
                  </a:cubicBezTo>
                  <a:cubicBezTo>
                    <a:pt x="145" y="71"/>
                    <a:pt x="146" y="71"/>
                    <a:pt x="148" y="70"/>
                  </a:cubicBezTo>
                  <a:cubicBezTo>
                    <a:pt x="148" y="70"/>
                    <a:pt x="148" y="70"/>
                    <a:pt x="148" y="70"/>
                  </a:cubicBezTo>
                  <a:cubicBezTo>
                    <a:pt x="148" y="70"/>
                    <a:pt x="149" y="70"/>
                    <a:pt x="149" y="70"/>
                  </a:cubicBezTo>
                  <a:cubicBezTo>
                    <a:pt x="149" y="70"/>
                    <a:pt x="149" y="70"/>
                    <a:pt x="149" y="70"/>
                  </a:cubicBezTo>
                  <a:cubicBezTo>
                    <a:pt x="149" y="70"/>
                    <a:pt x="150" y="70"/>
                    <a:pt x="150" y="70"/>
                  </a:cubicBezTo>
                  <a:cubicBezTo>
                    <a:pt x="150" y="69"/>
                    <a:pt x="150" y="69"/>
                    <a:pt x="150" y="69"/>
                  </a:cubicBezTo>
                  <a:cubicBezTo>
                    <a:pt x="150" y="69"/>
                    <a:pt x="151" y="69"/>
                    <a:pt x="151" y="69"/>
                  </a:cubicBezTo>
                  <a:cubicBezTo>
                    <a:pt x="151" y="69"/>
                    <a:pt x="151" y="69"/>
                    <a:pt x="151" y="69"/>
                  </a:cubicBezTo>
                  <a:cubicBezTo>
                    <a:pt x="152" y="69"/>
                    <a:pt x="153" y="68"/>
                    <a:pt x="154" y="68"/>
                  </a:cubicBezTo>
                  <a:cubicBezTo>
                    <a:pt x="154" y="68"/>
                    <a:pt x="154" y="68"/>
                    <a:pt x="154" y="68"/>
                  </a:cubicBezTo>
                  <a:cubicBezTo>
                    <a:pt x="155" y="68"/>
                    <a:pt x="156" y="68"/>
                    <a:pt x="157" y="67"/>
                  </a:cubicBezTo>
                  <a:cubicBezTo>
                    <a:pt x="157" y="67"/>
                    <a:pt x="157" y="67"/>
                    <a:pt x="157" y="67"/>
                  </a:cubicBezTo>
                  <a:cubicBezTo>
                    <a:pt x="158" y="67"/>
                    <a:pt x="158" y="67"/>
                    <a:pt x="159" y="67"/>
                  </a:cubicBezTo>
                  <a:cubicBezTo>
                    <a:pt x="159" y="67"/>
                    <a:pt x="159" y="66"/>
                    <a:pt x="159" y="66"/>
                  </a:cubicBezTo>
                  <a:cubicBezTo>
                    <a:pt x="159" y="66"/>
                    <a:pt x="159" y="66"/>
                    <a:pt x="159" y="67"/>
                  </a:cubicBezTo>
                  <a:cubicBezTo>
                    <a:pt x="160" y="67"/>
                    <a:pt x="161" y="67"/>
                    <a:pt x="162" y="68"/>
                  </a:cubicBezTo>
                  <a:cubicBezTo>
                    <a:pt x="162" y="68"/>
                    <a:pt x="162" y="68"/>
                    <a:pt x="162" y="68"/>
                  </a:cubicBezTo>
                  <a:cubicBezTo>
                    <a:pt x="163" y="69"/>
                    <a:pt x="163" y="69"/>
                    <a:pt x="164" y="69"/>
                  </a:cubicBezTo>
                  <a:cubicBezTo>
                    <a:pt x="164" y="69"/>
                    <a:pt x="164" y="69"/>
                    <a:pt x="164" y="70"/>
                  </a:cubicBezTo>
                  <a:cubicBezTo>
                    <a:pt x="164" y="70"/>
                    <a:pt x="164" y="70"/>
                    <a:pt x="165" y="70"/>
                  </a:cubicBezTo>
                  <a:cubicBezTo>
                    <a:pt x="165" y="70"/>
                    <a:pt x="165" y="70"/>
                    <a:pt x="165" y="70"/>
                  </a:cubicBezTo>
                  <a:cubicBezTo>
                    <a:pt x="165" y="70"/>
                    <a:pt x="166" y="70"/>
                    <a:pt x="166" y="71"/>
                  </a:cubicBezTo>
                  <a:cubicBezTo>
                    <a:pt x="166" y="71"/>
                    <a:pt x="166" y="71"/>
                    <a:pt x="166" y="71"/>
                  </a:cubicBezTo>
                  <a:cubicBezTo>
                    <a:pt x="166" y="71"/>
                    <a:pt x="167" y="71"/>
                    <a:pt x="167" y="71"/>
                  </a:cubicBezTo>
                  <a:cubicBezTo>
                    <a:pt x="167" y="71"/>
                    <a:pt x="167" y="71"/>
                    <a:pt x="167" y="72"/>
                  </a:cubicBezTo>
                  <a:cubicBezTo>
                    <a:pt x="168" y="72"/>
                    <a:pt x="168" y="72"/>
                    <a:pt x="168" y="72"/>
                  </a:cubicBezTo>
                  <a:cubicBezTo>
                    <a:pt x="169" y="72"/>
                    <a:pt x="169" y="72"/>
                    <a:pt x="169" y="73"/>
                  </a:cubicBezTo>
                  <a:cubicBezTo>
                    <a:pt x="169" y="73"/>
                    <a:pt x="170" y="73"/>
                    <a:pt x="170" y="73"/>
                  </a:cubicBezTo>
                  <a:cubicBezTo>
                    <a:pt x="170" y="73"/>
                    <a:pt x="170" y="73"/>
                    <a:pt x="170" y="73"/>
                  </a:cubicBezTo>
                  <a:cubicBezTo>
                    <a:pt x="171" y="73"/>
                    <a:pt x="171" y="74"/>
                    <a:pt x="171" y="74"/>
                  </a:cubicBezTo>
                  <a:cubicBezTo>
                    <a:pt x="171" y="74"/>
                    <a:pt x="171" y="74"/>
                    <a:pt x="172" y="74"/>
                  </a:cubicBezTo>
                  <a:cubicBezTo>
                    <a:pt x="172" y="74"/>
                    <a:pt x="172" y="74"/>
                    <a:pt x="172" y="74"/>
                  </a:cubicBezTo>
                  <a:cubicBezTo>
                    <a:pt x="172" y="75"/>
                    <a:pt x="173" y="75"/>
                    <a:pt x="173" y="75"/>
                  </a:cubicBezTo>
                  <a:cubicBezTo>
                    <a:pt x="173" y="75"/>
                    <a:pt x="174" y="75"/>
                    <a:pt x="174" y="75"/>
                  </a:cubicBezTo>
                  <a:cubicBezTo>
                    <a:pt x="174" y="76"/>
                    <a:pt x="174" y="76"/>
                    <a:pt x="174" y="76"/>
                  </a:cubicBezTo>
                  <a:cubicBezTo>
                    <a:pt x="174" y="76"/>
                    <a:pt x="175" y="76"/>
                    <a:pt x="175" y="76"/>
                  </a:cubicBezTo>
                  <a:cubicBezTo>
                    <a:pt x="175" y="76"/>
                    <a:pt x="175" y="77"/>
                    <a:pt x="175" y="77"/>
                  </a:cubicBezTo>
                  <a:cubicBezTo>
                    <a:pt x="176" y="77"/>
                    <a:pt x="176" y="77"/>
                    <a:pt x="177" y="77"/>
                  </a:cubicBezTo>
                  <a:cubicBezTo>
                    <a:pt x="177" y="77"/>
                    <a:pt x="177" y="78"/>
                    <a:pt x="177" y="78"/>
                  </a:cubicBezTo>
                  <a:cubicBezTo>
                    <a:pt x="177" y="78"/>
                    <a:pt x="178" y="78"/>
                    <a:pt x="178" y="78"/>
                  </a:cubicBezTo>
                  <a:cubicBezTo>
                    <a:pt x="178" y="78"/>
                    <a:pt x="178" y="78"/>
                    <a:pt x="178" y="79"/>
                  </a:cubicBezTo>
                  <a:cubicBezTo>
                    <a:pt x="178" y="79"/>
                    <a:pt x="179" y="79"/>
                    <a:pt x="179" y="79"/>
                  </a:cubicBezTo>
                  <a:cubicBezTo>
                    <a:pt x="179" y="79"/>
                    <a:pt x="179" y="79"/>
                    <a:pt x="179" y="79"/>
                  </a:cubicBezTo>
                  <a:cubicBezTo>
                    <a:pt x="179" y="79"/>
                    <a:pt x="180" y="79"/>
                    <a:pt x="180" y="79"/>
                  </a:cubicBezTo>
                  <a:cubicBezTo>
                    <a:pt x="180" y="80"/>
                    <a:pt x="180" y="80"/>
                    <a:pt x="180" y="80"/>
                  </a:cubicBezTo>
                  <a:cubicBezTo>
                    <a:pt x="181" y="80"/>
                    <a:pt x="181" y="80"/>
                    <a:pt x="181" y="80"/>
                  </a:cubicBezTo>
                  <a:cubicBezTo>
                    <a:pt x="181" y="80"/>
                    <a:pt x="181" y="80"/>
                    <a:pt x="181" y="81"/>
                  </a:cubicBezTo>
                  <a:cubicBezTo>
                    <a:pt x="182" y="81"/>
                    <a:pt x="182" y="81"/>
                    <a:pt x="182" y="81"/>
                  </a:cubicBezTo>
                  <a:cubicBezTo>
                    <a:pt x="182" y="81"/>
                    <a:pt x="182" y="81"/>
                    <a:pt x="182" y="81"/>
                  </a:cubicBezTo>
                  <a:cubicBezTo>
                    <a:pt x="183" y="82"/>
                    <a:pt x="183" y="82"/>
                    <a:pt x="184" y="82"/>
                  </a:cubicBezTo>
                  <a:cubicBezTo>
                    <a:pt x="184" y="82"/>
                    <a:pt x="184" y="82"/>
                    <a:pt x="184" y="82"/>
                  </a:cubicBezTo>
                  <a:cubicBezTo>
                    <a:pt x="184" y="82"/>
                    <a:pt x="185" y="82"/>
                    <a:pt x="185" y="82"/>
                  </a:cubicBezTo>
                  <a:cubicBezTo>
                    <a:pt x="185" y="83"/>
                    <a:pt x="185" y="83"/>
                    <a:pt x="185" y="83"/>
                  </a:cubicBezTo>
                  <a:cubicBezTo>
                    <a:pt x="185" y="83"/>
                    <a:pt x="186" y="83"/>
                    <a:pt x="186" y="83"/>
                  </a:cubicBezTo>
                  <a:cubicBezTo>
                    <a:pt x="186" y="83"/>
                    <a:pt x="186" y="84"/>
                    <a:pt x="186" y="84"/>
                  </a:cubicBezTo>
                  <a:cubicBezTo>
                    <a:pt x="187" y="84"/>
                    <a:pt x="187" y="84"/>
                    <a:pt x="187" y="84"/>
                  </a:cubicBezTo>
                  <a:cubicBezTo>
                    <a:pt x="187" y="84"/>
                    <a:pt x="187" y="84"/>
                    <a:pt x="187" y="85"/>
                  </a:cubicBezTo>
                  <a:cubicBezTo>
                    <a:pt x="188" y="85"/>
                    <a:pt x="188" y="85"/>
                    <a:pt x="188" y="85"/>
                  </a:cubicBezTo>
                  <a:cubicBezTo>
                    <a:pt x="188" y="85"/>
                    <a:pt x="188" y="85"/>
                    <a:pt x="188" y="85"/>
                  </a:cubicBezTo>
                  <a:cubicBezTo>
                    <a:pt x="189" y="85"/>
                    <a:pt x="189" y="85"/>
                    <a:pt x="189" y="85"/>
                  </a:cubicBezTo>
                  <a:cubicBezTo>
                    <a:pt x="189" y="85"/>
                    <a:pt x="189" y="86"/>
                    <a:pt x="189" y="86"/>
                  </a:cubicBezTo>
                  <a:cubicBezTo>
                    <a:pt x="190" y="86"/>
                    <a:pt x="190" y="86"/>
                    <a:pt x="191" y="86"/>
                  </a:cubicBezTo>
                  <a:cubicBezTo>
                    <a:pt x="191" y="87"/>
                    <a:pt x="191" y="87"/>
                    <a:pt x="191" y="87"/>
                  </a:cubicBezTo>
                  <a:cubicBezTo>
                    <a:pt x="191" y="87"/>
                    <a:pt x="192" y="87"/>
                    <a:pt x="192" y="87"/>
                  </a:cubicBezTo>
                  <a:cubicBezTo>
                    <a:pt x="192" y="87"/>
                    <a:pt x="192" y="87"/>
                    <a:pt x="192" y="88"/>
                  </a:cubicBezTo>
                  <a:cubicBezTo>
                    <a:pt x="192" y="88"/>
                    <a:pt x="193" y="88"/>
                    <a:pt x="193" y="88"/>
                  </a:cubicBezTo>
                  <a:cubicBezTo>
                    <a:pt x="193" y="88"/>
                    <a:pt x="193" y="88"/>
                    <a:pt x="193" y="88"/>
                  </a:cubicBezTo>
                  <a:cubicBezTo>
                    <a:pt x="194" y="88"/>
                    <a:pt x="194" y="88"/>
                    <a:pt x="194" y="88"/>
                  </a:cubicBezTo>
                  <a:cubicBezTo>
                    <a:pt x="194" y="89"/>
                    <a:pt x="194" y="89"/>
                    <a:pt x="194" y="89"/>
                  </a:cubicBezTo>
                  <a:cubicBezTo>
                    <a:pt x="194" y="89"/>
                    <a:pt x="195" y="89"/>
                    <a:pt x="195" y="89"/>
                  </a:cubicBezTo>
                  <a:cubicBezTo>
                    <a:pt x="197" y="100"/>
                    <a:pt x="199" y="111"/>
                    <a:pt x="201" y="122"/>
                  </a:cubicBezTo>
                  <a:cubicBezTo>
                    <a:pt x="200" y="122"/>
                    <a:pt x="199" y="122"/>
                    <a:pt x="198" y="123"/>
                  </a:cubicBezTo>
                  <a:cubicBezTo>
                    <a:pt x="198" y="123"/>
                    <a:pt x="198" y="123"/>
                    <a:pt x="198" y="123"/>
                  </a:cubicBezTo>
                  <a:cubicBezTo>
                    <a:pt x="197" y="123"/>
                    <a:pt x="196" y="123"/>
                    <a:pt x="196" y="123"/>
                  </a:cubicBezTo>
                  <a:cubicBezTo>
                    <a:pt x="196" y="123"/>
                    <a:pt x="196" y="124"/>
                    <a:pt x="196" y="124"/>
                  </a:cubicBezTo>
                  <a:cubicBezTo>
                    <a:pt x="195" y="124"/>
                    <a:pt x="195" y="124"/>
                    <a:pt x="195" y="124"/>
                  </a:cubicBezTo>
                  <a:cubicBezTo>
                    <a:pt x="195" y="124"/>
                    <a:pt x="195" y="124"/>
                    <a:pt x="195" y="124"/>
                  </a:cubicBezTo>
                  <a:cubicBezTo>
                    <a:pt x="194" y="124"/>
                    <a:pt x="194" y="124"/>
                    <a:pt x="194" y="124"/>
                  </a:cubicBezTo>
                  <a:cubicBezTo>
                    <a:pt x="194" y="124"/>
                    <a:pt x="194" y="124"/>
                    <a:pt x="194" y="124"/>
                  </a:cubicBezTo>
                  <a:cubicBezTo>
                    <a:pt x="193" y="124"/>
                    <a:pt x="193" y="124"/>
                    <a:pt x="193" y="124"/>
                  </a:cubicBezTo>
                  <a:cubicBezTo>
                    <a:pt x="193" y="125"/>
                    <a:pt x="193" y="125"/>
                    <a:pt x="193" y="125"/>
                  </a:cubicBezTo>
                  <a:cubicBezTo>
                    <a:pt x="192" y="125"/>
                    <a:pt x="192" y="125"/>
                    <a:pt x="192" y="125"/>
                  </a:cubicBezTo>
                  <a:cubicBezTo>
                    <a:pt x="192" y="125"/>
                    <a:pt x="192" y="125"/>
                    <a:pt x="192" y="125"/>
                  </a:cubicBezTo>
                  <a:cubicBezTo>
                    <a:pt x="191" y="125"/>
                    <a:pt x="191" y="125"/>
                    <a:pt x="191" y="125"/>
                  </a:cubicBezTo>
                  <a:cubicBezTo>
                    <a:pt x="191" y="125"/>
                    <a:pt x="191" y="125"/>
                    <a:pt x="191" y="125"/>
                  </a:cubicBezTo>
                  <a:cubicBezTo>
                    <a:pt x="190" y="126"/>
                    <a:pt x="189" y="126"/>
                    <a:pt x="188" y="126"/>
                  </a:cubicBezTo>
                  <a:cubicBezTo>
                    <a:pt x="188" y="126"/>
                    <a:pt x="188" y="126"/>
                    <a:pt x="188" y="127"/>
                  </a:cubicBezTo>
                  <a:cubicBezTo>
                    <a:pt x="187" y="127"/>
                    <a:pt x="186" y="127"/>
                    <a:pt x="185" y="127"/>
                  </a:cubicBezTo>
                  <a:cubicBezTo>
                    <a:pt x="185" y="127"/>
                    <a:pt x="185" y="127"/>
                    <a:pt x="185" y="128"/>
                  </a:cubicBezTo>
                  <a:cubicBezTo>
                    <a:pt x="184" y="128"/>
                    <a:pt x="184" y="128"/>
                    <a:pt x="184" y="128"/>
                  </a:cubicBezTo>
                  <a:cubicBezTo>
                    <a:pt x="184" y="128"/>
                    <a:pt x="184" y="128"/>
                    <a:pt x="184" y="128"/>
                  </a:cubicBezTo>
                  <a:cubicBezTo>
                    <a:pt x="183" y="128"/>
                    <a:pt x="182" y="128"/>
                    <a:pt x="182" y="128"/>
                  </a:cubicBezTo>
                  <a:cubicBezTo>
                    <a:pt x="182" y="128"/>
                    <a:pt x="182" y="128"/>
                    <a:pt x="182" y="129"/>
                  </a:cubicBezTo>
                  <a:cubicBezTo>
                    <a:pt x="181" y="129"/>
                    <a:pt x="180" y="129"/>
                    <a:pt x="179" y="129"/>
                  </a:cubicBezTo>
                  <a:cubicBezTo>
                    <a:pt x="178" y="130"/>
                    <a:pt x="178" y="130"/>
                    <a:pt x="178" y="131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177" y="132"/>
                    <a:pt x="177" y="132"/>
                    <a:pt x="176" y="132"/>
                  </a:cubicBezTo>
                  <a:cubicBezTo>
                    <a:pt x="176" y="133"/>
                    <a:pt x="175" y="134"/>
                    <a:pt x="174" y="135"/>
                  </a:cubicBezTo>
                  <a:cubicBezTo>
                    <a:pt x="174" y="135"/>
                    <a:pt x="174" y="135"/>
                    <a:pt x="174" y="136"/>
                  </a:cubicBezTo>
                  <a:cubicBezTo>
                    <a:pt x="174" y="136"/>
                    <a:pt x="173" y="136"/>
                    <a:pt x="173" y="136"/>
                  </a:cubicBezTo>
                  <a:cubicBezTo>
                    <a:pt x="173" y="136"/>
                    <a:pt x="173" y="137"/>
                    <a:pt x="172" y="137"/>
                  </a:cubicBezTo>
                  <a:cubicBezTo>
                    <a:pt x="172" y="137"/>
                    <a:pt x="171" y="138"/>
                    <a:pt x="171" y="138"/>
                  </a:cubicBezTo>
                  <a:cubicBezTo>
                    <a:pt x="171" y="139"/>
                    <a:pt x="171" y="139"/>
                    <a:pt x="171" y="139"/>
                  </a:cubicBezTo>
                  <a:cubicBezTo>
                    <a:pt x="169" y="140"/>
                    <a:pt x="168" y="141"/>
                    <a:pt x="167" y="142"/>
                  </a:cubicBezTo>
                  <a:cubicBezTo>
                    <a:pt x="167" y="142"/>
                    <a:pt x="167" y="142"/>
                    <a:pt x="167" y="143"/>
                  </a:cubicBezTo>
                  <a:cubicBezTo>
                    <a:pt x="166" y="144"/>
                    <a:pt x="165" y="144"/>
                    <a:pt x="164" y="145"/>
                  </a:cubicBezTo>
                  <a:cubicBezTo>
                    <a:pt x="164" y="146"/>
                    <a:pt x="164" y="146"/>
                    <a:pt x="164" y="146"/>
                  </a:cubicBezTo>
                  <a:cubicBezTo>
                    <a:pt x="163" y="147"/>
                    <a:pt x="162" y="148"/>
                    <a:pt x="161" y="149"/>
                  </a:cubicBezTo>
                  <a:cubicBezTo>
                    <a:pt x="161" y="149"/>
                    <a:pt x="161" y="149"/>
                    <a:pt x="161" y="150"/>
                  </a:cubicBezTo>
                  <a:cubicBezTo>
                    <a:pt x="160" y="151"/>
                    <a:pt x="159" y="151"/>
                    <a:pt x="158" y="152"/>
                  </a:cubicBezTo>
                  <a:cubicBezTo>
                    <a:pt x="158" y="153"/>
                    <a:pt x="158" y="153"/>
                    <a:pt x="158" y="153"/>
                  </a:cubicBezTo>
                  <a:cubicBezTo>
                    <a:pt x="157" y="154"/>
                    <a:pt x="157" y="154"/>
                    <a:pt x="156" y="155"/>
                  </a:cubicBezTo>
                  <a:cubicBezTo>
                    <a:pt x="156" y="155"/>
                    <a:pt x="156" y="155"/>
                    <a:pt x="156" y="156"/>
                  </a:cubicBezTo>
                  <a:cubicBezTo>
                    <a:pt x="156" y="156"/>
                    <a:pt x="155" y="156"/>
                    <a:pt x="155" y="156"/>
                  </a:cubicBezTo>
                  <a:cubicBezTo>
                    <a:pt x="155" y="156"/>
                    <a:pt x="155" y="157"/>
                    <a:pt x="155" y="157"/>
                  </a:cubicBezTo>
                  <a:cubicBezTo>
                    <a:pt x="155" y="157"/>
                    <a:pt x="154" y="157"/>
                    <a:pt x="154" y="157"/>
                  </a:cubicBezTo>
                  <a:cubicBezTo>
                    <a:pt x="154" y="158"/>
                    <a:pt x="154" y="158"/>
                    <a:pt x="154" y="158"/>
                  </a:cubicBezTo>
                  <a:cubicBezTo>
                    <a:pt x="154" y="158"/>
                    <a:pt x="154" y="158"/>
                    <a:pt x="153" y="158"/>
                  </a:cubicBezTo>
                  <a:cubicBezTo>
                    <a:pt x="153" y="159"/>
                    <a:pt x="153" y="159"/>
                    <a:pt x="153" y="159"/>
                  </a:cubicBezTo>
                  <a:cubicBezTo>
                    <a:pt x="153" y="159"/>
                    <a:pt x="153" y="159"/>
                    <a:pt x="153" y="159"/>
                  </a:cubicBezTo>
                  <a:cubicBezTo>
                    <a:pt x="153" y="160"/>
                    <a:pt x="153" y="160"/>
                    <a:pt x="153" y="160"/>
                  </a:cubicBezTo>
                  <a:cubicBezTo>
                    <a:pt x="152" y="160"/>
                    <a:pt x="152" y="160"/>
                    <a:pt x="152" y="160"/>
                  </a:cubicBezTo>
                  <a:cubicBezTo>
                    <a:pt x="152" y="161"/>
                    <a:pt x="152" y="161"/>
                    <a:pt x="152" y="161"/>
                  </a:cubicBezTo>
                  <a:cubicBezTo>
                    <a:pt x="152" y="161"/>
                    <a:pt x="152" y="161"/>
                    <a:pt x="151" y="161"/>
                  </a:cubicBezTo>
                  <a:cubicBezTo>
                    <a:pt x="151" y="162"/>
                    <a:pt x="151" y="162"/>
                    <a:pt x="151" y="162"/>
                  </a:cubicBezTo>
                  <a:cubicBezTo>
                    <a:pt x="151" y="162"/>
                    <a:pt x="151" y="162"/>
                    <a:pt x="151" y="163"/>
                  </a:cubicBezTo>
                  <a:cubicBezTo>
                    <a:pt x="151" y="163"/>
                    <a:pt x="151" y="163"/>
                    <a:pt x="151" y="163"/>
                  </a:cubicBezTo>
                  <a:cubicBezTo>
                    <a:pt x="150" y="163"/>
                    <a:pt x="150" y="163"/>
                    <a:pt x="150" y="164"/>
                  </a:cubicBezTo>
                  <a:cubicBezTo>
                    <a:pt x="150" y="164"/>
                    <a:pt x="150" y="164"/>
                    <a:pt x="150" y="164"/>
                  </a:cubicBezTo>
                  <a:cubicBezTo>
                    <a:pt x="150" y="164"/>
                    <a:pt x="149" y="165"/>
                    <a:pt x="149" y="165"/>
                  </a:cubicBezTo>
                  <a:cubicBezTo>
                    <a:pt x="149" y="165"/>
                    <a:pt x="149" y="165"/>
                    <a:pt x="149" y="165"/>
                  </a:cubicBezTo>
                  <a:cubicBezTo>
                    <a:pt x="149" y="165"/>
                    <a:pt x="149" y="165"/>
                    <a:pt x="149" y="165"/>
                  </a:cubicBezTo>
                  <a:cubicBezTo>
                    <a:pt x="149" y="166"/>
                    <a:pt x="149" y="166"/>
                    <a:pt x="149" y="166"/>
                  </a:cubicBezTo>
                  <a:cubicBezTo>
                    <a:pt x="148" y="166"/>
                    <a:pt x="148" y="167"/>
                    <a:pt x="148" y="167"/>
                  </a:cubicBezTo>
                  <a:cubicBezTo>
                    <a:pt x="148" y="167"/>
                    <a:pt x="148" y="167"/>
                    <a:pt x="148" y="167"/>
                  </a:cubicBezTo>
                  <a:cubicBezTo>
                    <a:pt x="147" y="168"/>
                    <a:pt x="147" y="168"/>
                    <a:pt x="147" y="168"/>
                  </a:cubicBezTo>
                  <a:cubicBezTo>
                    <a:pt x="147" y="168"/>
                    <a:pt x="147" y="169"/>
                    <a:pt x="147" y="169"/>
                  </a:cubicBezTo>
                  <a:cubicBezTo>
                    <a:pt x="147" y="169"/>
                    <a:pt x="146" y="169"/>
                    <a:pt x="146" y="169"/>
                  </a:cubicBezTo>
                  <a:cubicBezTo>
                    <a:pt x="146" y="170"/>
                    <a:pt x="146" y="170"/>
                    <a:pt x="146" y="170"/>
                  </a:cubicBezTo>
                  <a:cubicBezTo>
                    <a:pt x="146" y="170"/>
                    <a:pt x="145" y="170"/>
                    <a:pt x="145" y="170"/>
                  </a:cubicBezTo>
                  <a:cubicBezTo>
                    <a:pt x="145" y="170"/>
                    <a:pt x="145" y="171"/>
                    <a:pt x="145" y="171"/>
                  </a:cubicBezTo>
                  <a:cubicBezTo>
                    <a:pt x="145" y="171"/>
                    <a:pt x="145" y="171"/>
                    <a:pt x="145" y="171"/>
                  </a:cubicBezTo>
                  <a:cubicBezTo>
                    <a:pt x="145" y="172"/>
                    <a:pt x="145" y="172"/>
                    <a:pt x="145" y="172"/>
                  </a:cubicBezTo>
                  <a:cubicBezTo>
                    <a:pt x="144" y="172"/>
                    <a:pt x="144" y="172"/>
                    <a:pt x="144" y="172"/>
                  </a:cubicBezTo>
                  <a:cubicBezTo>
                    <a:pt x="144" y="173"/>
                    <a:pt x="144" y="173"/>
                    <a:pt x="144" y="173"/>
                  </a:cubicBezTo>
                  <a:cubicBezTo>
                    <a:pt x="144" y="173"/>
                    <a:pt x="143" y="173"/>
                    <a:pt x="143" y="173"/>
                  </a:cubicBezTo>
                  <a:cubicBezTo>
                    <a:pt x="143" y="174"/>
                    <a:pt x="143" y="174"/>
                    <a:pt x="143" y="174"/>
                  </a:cubicBezTo>
                  <a:cubicBezTo>
                    <a:pt x="143" y="174"/>
                    <a:pt x="143" y="174"/>
                    <a:pt x="143" y="174"/>
                  </a:cubicBezTo>
                  <a:cubicBezTo>
                    <a:pt x="143" y="175"/>
                    <a:pt x="143" y="175"/>
                    <a:pt x="143" y="175"/>
                  </a:cubicBezTo>
                  <a:cubicBezTo>
                    <a:pt x="142" y="175"/>
                    <a:pt x="142" y="175"/>
                    <a:pt x="142" y="175"/>
                  </a:cubicBezTo>
                  <a:cubicBezTo>
                    <a:pt x="142" y="175"/>
                    <a:pt x="142" y="176"/>
                    <a:pt x="142" y="176"/>
                  </a:cubicBezTo>
                  <a:cubicBezTo>
                    <a:pt x="142" y="176"/>
                    <a:pt x="141" y="176"/>
                    <a:pt x="141" y="177"/>
                  </a:cubicBezTo>
                  <a:cubicBezTo>
                    <a:pt x="141" y="177"/>
                    <a:pt x="141" y="177"/>
                    <a:pt x="141" y="177"/>
                  </a:cubicBezTo>
                  <a:cubicBezTo>
                    <a:pt x="141" y="177"/>
                    <a:pt x="141" y="177"/>
                    <a:pt x="141" y="177"/>
                  </a:cubicBezTo>
                  <a:cubicBezTo>
                    <a:pt x="141" y="178"/>
                    <a:pt x="141" y="178"/>
                    <a:pt x="140" y="178"/>
                  </a:cubicBezTo>
                  <a:cubicBezTo>
                    <a:pt x="140" y="178"/>
                    <a:pt x="140" y="179"/>
                    <a:pt x="140" y="179"/>
                  </a:cubicBezTo>
                  <a:cubicBezTo>
                    <a:pt x="140" y="179"/>
                    <a:pt x="140" y="179"/>
                    <a:pt x="140" y="179"/>
                  </a:cubicBezTo>
                  <a:cubicBezTo>
                    <a:pt x="139" y="180"/>
                    <a:pt x="139" y="180"/>
                    <a:pt x="139" y="180"/>
                  </a:cubicBezTo>
                  <a:cubicBezTo>
                    <a:pt x="139" y="180"/>
                    <a:pt x="139" y="180"/>
                    <a:pt x="139" y="181"/>
                  </a:cubicBezTo>
                  <a:cubicBezTo>
                    <a:pt x="138" y="181"/>
                    <a:pt x="138" y="181"/>
                    <a:pt x="138" y="181"/>
                  </a:cubicBezTo>
                  <a:cubicBezTo>
                    <a:pt x="138" y="181"/>
                    <a:pt x="138" y="182"/>
                    <a:pt x="138" y="182"/>
                  </a:cubicBezTo>
                  <a:cubicBezTo>
                    <a:pt x="138" y="182"/>
                    <a:pt x="137" y="182"/>
                    <a:pt x="137" y="182"/>
                  </a:cubicBezTo>
                  <a:cubicBezTo>
                    <a:pt x="137" y="182"/>
                    <a:pt x="137" y="183"/>
                    <a:pt x="137" y="183"/>
                  </a:cubicBezTo>
                  <a:cubicBezTo>
                    <a:pt x="137" y="183"/>
                    <a:pt x="137" y="183"/>
                    <a:pt x="137" y="183"/>
                  </a:cubicBezTo>
                  <a:cubicBezTo>
                    <a:pt x="137" y="183"/>
                    <a:pt x="137" y="184"/>
                    <a:pt x="137" y="184"/>
                  </a:cubicBezTo>
                  <a:cubicBezTo>
                    <a:pt x="136" y="184"/>
                    <a:pt x="136" y="184"/>
                    <a:pt x="136" y="184"/>
                  </a:cubicBezTo>
                  <a:cubicBezTo>
                    <a:pt x="136" y="184"/>
                    <a:pt x="136" y="185"/>
                    <a:pt x="136" y="185"/>
                  </a:cubicBezTo>
                  <a:cubicBezTo>
                    <a:pt x="136" y="185"/>
                    <a:pt x="135" y="185"/>
                    <a:pt x="135" y="185"/>
                  </a:cubicBezTo>
                  <a:cubicBezTo>
                    <a:pt x="135" y="185"/>
                    <a:pt x="135" y="186"/>
                    <a:pt x="135" y="186"/>
                  </a:cubicBezTo>
                  <a:cubicBezTo>
                    <a:pt x="135" y="186"/>
                    <a:pt x="135" y="186"/>
                    <a:pt x="135" y="186"/>
                  </a:cubicBezTo>
                  <a:cubicBezTo>
                    <a:pt x="135" y="187"/>
                    <a:pt x="135" y="187"/>
                    <a:pt x="135" y="187"/>
                  </a:cubicBezTo>
                  <a:cubicBezTo>
                    <a:pt x="134" y="187"/>
                    <a:pt x="134" y="187"/>
                    <a:pt x="134" y="187"/>
                  </a:cubicBezTo>
                  <a:cubicBezTo>
                    <a:pt x="134" y="188"/>
                    <a:pt x="134" y="188"/>
                    <a:pt x="134" y="188"/>
                  </a:cubicBezTo>
                  <a:cubicBezTo>
                    <a:pt x="134" y="188"/>
                    <a:pt x="133" y="188"/>
                    <a:pt x="133" y="188"/>
                  </a:cubicBezTo>
                  <a:cubicBezTo>
                    <a:pt x="133" y="189"/>
                    <a:pt x="133" y="189"/>
                    <a:pt x="133" y="189"/>
                  </a:cubicBezTo>
                  <a:cubicBezTo>
                    <a:pt x="133" y="189"/>
                    <a:pt x="133" y="189"/>
                    <a:pt x="133" y="189"/>
                  </a:cubicBezTo>
                  <a:cubicBezTo>
                    <a:pt x="133" y="189"/>
                    <a:pt x="133" y="190"/>
                    <a:pt x="132" y="190"/>
                  </a:cubicBezTo>
                  <a:cubicBezTo>
                    <a:pt x="132" y="190"/>
                    <a:pt x="132" y="190"/>
                    <a:pt x="132" y="191"/>
                  </a:cubicBezTo>
                  <a:cubicBezTo>
                    <a:pt x="132" y="191"/>
                    <a:pt x="132" y="191"/>
                    <a:pt x="132" y="191"/>
                  </a:cubicBezTo>
                  <a:cubicBezTo>
                    <a:pt x="131" y="191"/>
                    <a:pt x="131" y="192"/>
                    <a:pt x="131" y="192"/>
                  </a:cubicBezTo>
                  <a:cubicBezTo>
                    <a:pt x="131" y="192"/>
                    <a:pt x="131" y="192"/>
                    <a:pt x="131" y="193"/>
                  </a:cubicBezTo>
                  <a:cubicBezTo>
                    <a:pt x="130" y="193"/>
                    <a:pt x="130" y="193"/>
                    <a:pt x="130" y="193"/>
                  </a:cubicBezTo>
                  <a:cubicBezTo>
                    <a:pt x="130" y="193"/>
                    <a:pt x="130" y="193"/>
                    <a:pt x="130" y="194"/>
                  </a:cubicBezTo>
                  <a:cubicBezTo>
                    <a:pt x="130" y="194"/>
                    <a:pt x="130" y="194"/>
                    <a:pt x="129" y="194"/>
                  </a:cubicBezTo>
                  <a:cubicBezTo>
                    <a:pt x="129" y="194"/>
                    <a:pt x="129" y="194"/>
                    <a:pt x="129" y="195"/>
                  </a:cubicBezTo>
                  <a:cubicBezTo>
                    <a:pt x="129" y="195"/>
                    <a:pt x="129" y="195"/>
                    <a:pt x="129" y="195"/>
                  </a:cubicBezTo>
                  <a:cubicBezTo>
                    <a:pt x="129" y="195"/>
                    <a:pt x="129" y="196"/>
                    <a:pt x="129" y="196"/>
                  </a:cubicBezTo>
                  <a:cubicBezTo>
                    <a:pt x="128" y="196"/>
                    <a:pt x="128" y="196"/>
                    <a:pt x="128" y="196"/>
                  </a:cubicBezTo>
                  <a:cubicBezTo>
                    <a:pt x="128" y="196"/>
                    <a:pt x="128" y="197"/>
                    <a:pt x="128" y="197"/>
                  </a:cubicBezTo>
                  <a:cubicBezTo>
                    <a:pt x="128" y="197"/>
                    <a:pt x="127" y="197"/>
                    <a:pt x="127" y="197"/>
                  </a:cubicBezTo>
                  <a:cubicBezTo>
                    <a:pt x="127" y="197"/>
                    <a:pt x="127" y="198"/>
                    <a:pt x="127" y="198"/>
                  </a:cubicBezTo>
                  <a:cubicBezTo>
                    <a:pt x="127" y="198"/>
                    <a:pt x="127" y="198"/>
                    <a:pt x="126" y="199"/>
                  </a:cubicBezTo>
                  <a:cubicBezTo>
                    <a:pt x="126" y="198"/>
                    <a:pt x="126" y="199"/>
                    <a:pt x="126" y="198"/>
                  </a:cubicBezTo>
                  <a:cubicBezTo>
                    <a:pt x="125" y="197"/>
                    <a:pt x="124" y="196"/>
                    <a:pt x="122" y="195"/>
                  </a:cubicBezTo>
                  <a:cubicBezTo>
                    <a:pt x="122" y="194"/>
                    <a:pt x="122" y="194"/>
                    <a:pt x="122" y="194"/>
                  </a:cubicBezTo>
                  <a:cubicBezTo>
                    <a:pt x="122" y="194"/>
                    <a:pt x="121" y="194"/>
                    <a:pt x="121" y="194"/>
                  </a:cubicBezTo>
                  <a:cubicBezTo>
                    <a:pt x="120" y="192"/>
                    <a:pt x="118" y="191"/>
                    <a:pt x="116" y="189"/>
                  </a:cubicBezTo>
                  <a:cubicBezTo>
                    <a:pt x="116" y="189"/>
                    <a:pt x="116" y="189"/>
                    <a:pt x="116" y="189"/>
                  </a:cubicBezTo>
                  <a:cubicBezTo>
                    <a:pt x="116" y="189"/>
                    <a:pt x="115" y="188"/>
                    <a:pt x="115" y="188"/>
                  </a:cubicBezTo>
                  <a:cubicBezTo>
                    <a:pt x="115" y="188"/>
                    <a:pt x="114" y="187"/>
                    <a:pt x="114" y="187"/>
                  </a:cubicBezTo>
                  <a:cubicBezTo>
                    <a:pt x="112" y="185"/>
                    <a:pt x="111" y="184"/>
                    <a:pt x="110" y="183"/>
                  </a:cubicBezTo>
                  <a:cubicBezTo>
                    <a:pt x="110" y="183"/>
                    <a:pt x="110" y="183"/>
                    <a:pt x="110" y="183"/>
                  </a:cubicBezTo>
                  <a:cubicBezTo>
                    <a:pt x="109" y="183"/>
                    <a:pt x="109" y="182"/>
                    <a:pt x="109" y="182"/>
                  </a:cubicBezTo>
                  <a:cubicBezTo>
                    <a:pt x="108" y="182"/>
                    <a:pt x="108" y="182"/>
                    <a:pt x="108" y="182"/>
                  </a:cubicBezTo>
                  <a:cubicBezTo>
                    <a:pt x="108" y="182"/>
                    <a:pt x="108" y="181"/>
                    <a:pt x="108" y="181"/>
                  </a:cubicBezTo>
                  <a:cubicBezTo>
                    <a:pt x="107" y="181"/>
                    <a:pt x="107" y="181"/>
                    <a:pt x="106" y="181"/>
                  </a:cubicBezTo>
                  <a:cubicBezTo>
                    <a:pt x="106" y="181"/>
                    <a:pt x="106" y="180"/>
                    <a:pt x="106" y="180"/>
                  </a:cubicBezTo>
                  <a:cubicBezTo>
                    <a:pt x="106" y="180"/>
                    <a:pt x="105" y="180"/>
                    <a:pt x="105" y="180"/>
                  </a:cubicBezTo>
                  <a:cubicBezTo>
                    <a:pt x="105" y="180"/>
                    <a:pt x="105" y="180"/>
                    <a:pt x="105" y="179"/>
                  </a:cubicBezTo>
                  <a:cubicBezTo>
                    <a:pt x="104" y="179"/>
                    <a:pt x="104" y="179"/>
                    <a:pt x="103" y="179"/>
                  </a:cubicBezTo>
                  <a:cubicBezTo>
                    <a:pt x="103" y="179"/>
                    <a:pt x="103" y="179"/>
                    <a:pt x="103" y="179"/>
                  </a:cubicBezTo>
                  <a:cubicBezTo>
                    <a:pt x="103" y="179"/>
                    <a:pt x="103" y="178"/>
                    <a:pt x="102" y="178"/>
                  </a:cubicBezTo>
                  <a:cubicBezTo>
                    <a:pt x="102" y="178"/>
                    <a:pt x="102" y="178"/>
                    <a:pt x="102" y="178"/>
                  </a:cubicBezTo>
                  <a:cubicBezTo>
                    <a:pt x="102" y="177"/>
                    <a:pt x="101" y="177"/>
                    <a:pt x="101" y="177"/>
                  </a:cubicBezTo>
                  <a:cubicBezTo>
                    <a:pt x="101" y="177"/>
                    <a:pt x="101" y="177"/>
                    <a:pt x="101" y="177"/>
                  </a:cubicBezTo>
                  <a:cubicBezTo>
                    <a:pt x="100" y="177"/>
                    <a:pt x="100" y="177"/>
                    <a:pt x="100" y="177"/>
                  </a:cubicBezTo>
                  <a:cubicBezTo>
                    <a:pt x="99" y="176"/>
                    <a:pt x="99" y="176"/>
                    <a:pt x="99" y="176"/>
                  </a:cubicBezTo>
                  <a:cubicBezTo>
                    <a:pt x="99" y="176"/>
                    <a:pt x="98" y="176"/>
                    <a:pt x="98" y="175"/>
                  </a:cubicBezTo>
                  <a:cubicBezTo>
                    <a:pt x="98" y="175"/>
                    <a:pt x="98" y="175"/>
                    <a:pt x="97" y="175"/>
                  </a:cubicBezTo>
                  <a:cubicBezTo>
                    <a:pt x="97" y="175"/>
                    <a:pt x="97" y="175"/>
                    <a:pt x="97" y="175"/>
                  </a:cubicBezTo>
                  <a:cubicBezTo>
                    <a:pt x="97" y="175"/>
                    <a:pt x="97" y="174"/>
                    <a:pt x="96" y="174"/>
                  </a:cubicBezTo>
                  <a:cubicBezTo>
                    <a:pt x="96" y="174"/>
                    <a:pt x="95" y="174"/>
                    <a:pt x="95" y="174"/>
                  </a:cubicBezTo>
                  <a:cubicBezTo>
                    <a:pt x="95" y="173"/>
                    <a:pt x="95" y="173"/>
                    <a:pt x="95" y="173"/>
                  </a:cubicBezTo>
                  <a:cubicBezTo>
                    <a:pt x="94" y="173"/>
                    <a:pt x="94" y="173"/>
                    <a:pt x="94" y="173"/>
                  </a:cubicBezTo>
                  <a:cubicBezTo>
                    <a:pt x="94" y="173"/>
                    <a:pt x="94" y="173"/>
                    <a:pt x="94" y="172"/>
                  </a:cubicBezTo>
                  <a:cubicBezTo>
                    <a:pt x="93" y="172"/>
                    <a:pt x="93" y="172"/>
                    <a:pt x="92" y="172"/>
                  </a:cubicBezTo>
                  <a:cubicBezTo>
                    <a:pt x="92" y="172"/>
                    <a:pt x="92" y="172"/>
                    <a:pt x="92" y="172"/>
                  </a:cubicBezTo>
                  <a:cubicBezTo>
                    <a:pt x="92" y="172"/>
                    <a:pt x="92" y="171"/>
                    <a:pt x="91" y="171"/>
                  </a:cubicBezTo>
                  <a:cubicBezTo>
                    <a:pt x="91" y="171"/>
                    <a:pt x="91" y="171"/>
                    <a:pt x="91" y="171"/>
                  </a:cubicBezTo>
                  <a:cubicBezTo>
                    <a:pt x="90" y="170"/>
                    <a:pt x="90" y="170"/>
                    <a:pt x="89" y="170"/>
                  </a:cubicBezTo>
                  <a:cubicBezTo>
                    <a:pt x="89" y="170"/>
                    <a:pt x="89" y="170"/>
                    <a:pt x="89" y="170"/>
                  </a:cubicBezTo>
                  <a:cubicBezTo>
                    <a:pt x="89" y="170"/>
                    <a:pt x="89" y="170"/>
                    <a:pt x="88" y="170"/>
                  </a:cubicBezTo>
                  <a:cubicBezTo>
                    <a:pt x="88" y="169"/>
                    <a:pt x="88" y="169"/>
                    <a:pt x="88" y="169"/>
                  </a:cubicBezTo>
                  <a:cubicBezTo>
                    <a:pt x="88" y="169"/>
                    <a:pt x="87" y="169"/>
                    <a:pt x="87" y="168"/>
                  </a:cubicBezTo>
                  <a:cubicBezTo>
                    <a:pt x="87" y="168"/>
                    <a:pt x="87" y="168"/>
                    <a:pt x="87" y="168"/>
                  </a:cubicBezTo>
                  <a:cubicBezTo>
                    <a:pt x="86" y="168"/>
                    <a:pt x="86" y="168"/>
                    <a:pt x="86" y="168"/>
                  </a:cubicBezTo>
                  <a:cubicBezTo>
                    <a:pt x="85" y="168"/>
                    <a:pt x="85" y="167"/>
                    <a:pt x="85" y="167"/>
                  </a:cubicBezTo>
                  <a:cubicBezTo>
                    <a:pt x="85" y="167"/>
                    <a:pt x="84" y="167"/>
                    <a:pt x="84" y="167"/>
                  </a:cubicBezTo>
                  <a:cubicBezTo>
                    <a:pt x="84" y="166"/>
                    <a:pt x="84" y="166"/>
                    <a:pt x="83" y="166"/>
                  </a:cubicBezTo>
                  <a:cubicBezTo>
                    <a:pt x="83" y="166"/>
                    <a:pt x="83" y="166"/>
                    <a:pt x="83" y="166"/>
                  </a:cubicBezTo>
                  <a:cubicBezTo>
                    <a:pt x="83" y="166"/>
                    <a:pt x="83" y="166"/>
                    <a:pt x="82" y="165"/>
                  </a:cubicBezTo>
                  <a:cubicBezTo>
                    <a:pt x="82" y="165"/>
                    <a:pt x="81" y="165"/>
                    <a:pt x="81" y="165"/>
                  </a:cubicBezTo>
                  <a:cubicBezTo>
                    <a:pt x="81" y="165"/>
                    <a:pt x="81" y="165"/>
                    <a:pt x="81" y="164"/>
                  </a:cubicBezTo>
                  <a:cubicBezTo>
                    <a:pt x="80" y="164"/>
                    <a:pt x="80" y="164"/>
                    <a:pt x="80" y="164"/>
                  </a:cubicBezTo>
                  <a:cubicBezTo>
                    <a:pt x="80" y="164"/>
                    <a:pt x="80" y="164"/>
                    <a:pt x="80" y="164"/>
                  </a:cubicBezTo>
                  <a:cubicBezTo>
                    <a:pt x="79" y="164"/>
                    <a:pt x="79" y="164"/>
                    <a:pt x="79" y="164"/>
                  </a:cubicBezTo>
                  <a:cubicBezTo>
                    <a:pt x="78" y="164"/>
                    <a:pt x="77" y="164"/>
                    <a:pt x="76" y="165"/>
                  </a:cubicBezTo>
                  <a:cubicBezTo>
                    <a:pt x="76" y="165"/>
                    <a:pt x="76" y="165"/>
                    <a:pt x="76" y="165"/>
                  </a:cubicBezTo>
                  <a:cubicBezTo>
                    <a:pt x="75" y="165"/>
                    <a:pt x="75" y="165"/>
                    <a:pt x="75" y="165"/>
                  </a:cubicBezTo>
                  <a:cubicBezTo>
                    <a:pt x="75" y="165"/>
                    <a:pt x="75" y="165"/>
                    <a:pt x="75" y="165"/>
                  </a:cubicBezTo>
                  <a:cubicBezTo>
                    <a:pt x="74" y="165"/>
                    <a:pt x="74" y="165"/>
                    <a:pt x="74" y="165"/>
                  </a:cubicBezTo>
                  <a:cubicBezTo>
                    <a:pt x="74" y="165"/>
                    <a:pt x="74" y="166"/>
                    <a:pt x="74" y="166"/>
                  </a:cubicBezTo>
                  <a:cubicBezTo>
                    <a:pt x="73" y="166"/>
                    <a:pt x="73" y="166"/>
                    <a:pt x="72" y="166"/>
                  </a:cubicBezTo>
                  <a:cubicBezTo>
                    <a:pt x="72" y="166"/>
                    <a:pt x="72" y="166"/>
                    <a:pt x="72" y="166"/>
                  </a:cubicBezTo>
                  <a:cubicBezTo>
                    <a:pt x="72" y="166"/>
                    <a:pt x="71" y="166"/>
                    <a:pt x="71" y="166"/>
                  </a:cubicBezTo>
                  <a:cubicBezTo>
                    <a:pt x="71" y="166"/>
                    <a:pt x="71" y="167"/>
                    <a:pt x="71" y="167"/>
                  </a:cubicBezTo>
                  <a:cubicBezTo>
                    <a:pt x="70" y="167"/>
                    <a:pt x="69" y="167"/>
                    <a:pt x="68" y="167"/>
                  </a:cubicBezTo>
                  <a:cubicBezTo>
                    <a:pt x="68" y="168"/>
                    <a:pt x="68" y="168"/>
                    <a:pt x="68" y="168"/>
                  </a:cubicBezTo>
                  <a:cubicBezTo>
                    <a:pt x="68" y="168"/>
                    <a:pt x="68" y="168"/>
                    <a:pt x="67" y="168"/>
                  </a:cubicBezTo>
                  <a:cubicBezTo>
                    <a:pt x="67" y="168"/>
                    <a:pt x="67" y="168"/>
                    <a:pt x="67" y="168"/>
                  </a:cubicBezTo>
                  <a:cubicBezTo>
                    <a:pt x="67" y="168"/>
                    <a:pt x="66" y="168"/>
                    <a:pt x="65" y="168"/>
                  </a:cubicBezTo>
                  <a:cubicBezTo>
                    <a:pt x="65" y="169"/>
                    <a:pt x="65" y="169"/>
                    <a:pt x="65" y="169"/>
                  </a:cubicBezTo>
                  <a:cubicBezTo>
                    <a:pt x="65" y="169"/>
                    <a:pt x="65" y="169"/>
                    <a:pt x="65" y="169"/>
                  </a:cubicBezTo>
                  <a:cubicBezTo>
                    <a:pt x="65" y="169"/>
                    <a:pt x="65" y="169"/>
                    <a:pt x="65" y="169"/>
                  </a:cubicBezTo>
                  <a:cubicBezTo>
                    <a:pt x="64" y="169"/>
                    <a:pt x="62" y="170"/>
                    <a:pt x="61" y="170"/>
                  </a:cubicBezTo>
                  <a:cubicBezTo>
                    <a:pt x="61" y="170"/>
                    <a:pt x="61" y="170"/>
                    <a:pt x="61" y="171"/>
                  </a:cubicBezTo>
                  <a:cubicBezTo>
                    <a:pt x="60" y="171"/>
                    <a:pt x="59" y="172"/>
                    <a:pt x="59" y="173"/>
                  </a:cubicBezTo>
                  <a:cubicBezTo>
                    <a:pt x="59" y="173"/>
                    <a:pt x="59" y="173"/>
                    <a:pt x="59" y="173"/>
                  </a:cubicBezTo>
                  <a:cubicBezTo>
                    <a:pt x="58" y="173"/>
                    <a:pt x="58" y="174"/>
                    <a:pt x="58" y="174"/>
                  </a:cubicBezTo>
                  <a:cubicBezTo>
                    <a:pt x="58" y="174"/>
                    <a:pt x="58" y="174"/>
                    <a:pt x="58" y="174"/>
                  </a:cubicBezTo>
                  <a:cubicBezTo>
                    <a:pt x="57" y="175"/>
                    <a:pt x="56" y="176"/>
                    <a:pt x="54" y="177"/>
                  </a:cubicBezTo>
                  <a:cubicBezTo>
                    <a:pt x="54" y="178"/>
                    <a:pt x="53" y="179"/>
                    <a:pt x="53" y="179"/>
                  </a:cubicBezTo>
                  <a:cubicBezTo>
                    <a:pt x="52" y="180"/>
                    <a:pt x="52" y="180"/>
                    <a:pt x="52" y="180"/>
                  </a:cubicBezTo>
                  <a:cubicBezTo>
                    <a:pt x="52" y="180"/>
                    <a:pt x="52" y="180"/>
                    <a:pt x="52" y="181"/>
                  </a:cubicBezTo>
                  <a:cubicBezTo>
                    <a:pt x="50" y="182"/>
                    <a:pt x="49" y="183"/>
                    <a:pt x="47" y="185"/>
                  </a:cubicBezTo>
                  <a:cubicBezTo>
                    <a:pt x="46" y="186"/>
                    <a:pt x="45" y="188"/>
                    <a:pt x="43" y="189"/>
                  </a:cubicBezTo>
                  <a:cubicBezTo>
                    <a:pt x="43" y="189"/>
                    <a:pt x="42" y="189"/>
                    <a:pt x="42" y="189"/>
                  </a:cubicBezTo>
                  <a:cubicBezTo>
                    <a:pt x="41" y="190"/>
                    <a:pt x="38" y="190"/>
                    <a:pt x="37" y="190"/>
                  </a:cubicBezTo>
                  <a:cubicBezTo>
                    <a:pt x="38" y="188"/>
                    <a:pt x="38" y="186"/>
                    <a:pt x="39" y="184"/>
                  </a:cubicBezTo>
                  <a:cubicBezTo>
                    <a:pt x="39" y="184"/>
                    <a:pt x="39" y="184"/>
                    <a:pt x="39" y="184"/>
                  </a:cubicBezTo>
                  <a:cubicBezTo>
                    <a:pt x="39" y="183"/>
                    <a:pt x="39" y="183"/>
                    <a:pt x="39" y="182"/>
                  </a:cubicBezTo>
                  <a:cubicBezTo>
                    <a:pt x="39" y="182"/>
                    <a:pt x="39" y="182"/>
                    <a:pt x="39" y="182"/>
                  </a:cubicBezTo>
                  <a:cubicBezTo>
                    <a:pt x="39" y="182"/>
                    <a:pt x="39" y="182"/>
                    <a:pt x="39" y="181"/>
                  </a:cubicBezTo>
                  <a:cubicBezTo>
                    <a:pt x="40" y="181"/>
                    <a:pt x="40" y="181"/>
                    <a:pt x="40" y="181"/>
                  </a:cubicBezTo>
                  <a:cubicBezTo>
                    <a:pt x="40" y="181"/>
                    <a:pt x="40" y="180"/>
                    <a:pt x="40" y="180"/>
                  </a:cubicBezTo>
                  <a:cubicBezTo>
                    <a:pt x="40" y="180"/>
                    <a:pt x="40" y="180"/>
                    <a:pt x="40" y="180"/>
                  </a:cubicBezTo>
                  <a:cubicBezTo>
                    <a:pt x="40" y="179"/>
                    <a:pt x="40" y="179"/>
                    <a:pt x="40" y="179"/>
                  </a:cubicBezTo>
                  <a:cubicBezTo>
                    <a:pt x="40" y="179"/>
                    <a:pt x="40" y="179"/>
                    <a:pt x="40" y="179"/>
                  </a:cubicBezTo>
                  <a:cubicBezTo>
                    <a:pt x="41" y="177"/>
                    <a:pt x="41" y="176"/>
                    <a:pt x="41" y="174"/>
                  </a:cubicBezTo>
                  <a:cubicBezTo>
                    <a:pt x="43" y="170"/>
                    <a:pt x="44" y="165"/>
                    <a:pt x="45" y="161"/>
                  </a:cubicBezTo>
                  <a:cubicBezTo>
                    <a:pt x="45" y="161"/>
                    <a:pt x="45" y="161"/>
                    <a:pt x="45" y="160"/>
                  </a:cubicBezTo>
                  <a:cubicBezTo>
                    <a:pt x="45" y="160"/>
                    <a:pt x="45" y="160"/>
                    <a:pt x="45" y="160"/>
                  </a:cubicBezTo>
                  <a:cubicBezTo>
                    <a:pt x="45" y="160"/>
                    <a:pt x="45" y="159"/>
                    <a:pt x="45" y="159"/>
                  </a:cubicBezTo>
                  <a:cubicBezTo>
                    <a:pt x="45" y="159"/>
                    <a:pt x="46" y="159"/>
                    <a:pt x="46" y="159"/>
                  </a:cubicBezTo>
                  <a:cubicBezTo>
                    <a:pt x="46" y="158"/>
                    <a:pt x="46" y="158"/>
                    <a:pt x="46" y="157"/>
                  </a:cubicBezTo>
                  <a:cubicBezTo>
                    <a:pt x="46" y="157"/>
                    <a:pt x="46" y="157"/>
                    <a:pt x="46" y="157"/>
                  </a:cubicBezTo>
                  <a:cubicBezTo>
                    <a:pt x="46" y="157"/>
                    <a:pt x="46" y="156"/>
                    <a:pt x="46" y="156"/>
                  </a:cubicBezTo>
                  <a:cubicBezTo>
                    <a:pt x="48" y="149"/>
                    <a:pt x="49" y="142"/>
                    <a:pt x="52" y="136"/>
                  </a:cubicBezTo>
                  <a:cubicBezTo>
                    <a:pt x="52" y="133"/>
                    <a:pt x="53" y="130"/>
                    <a:pt x="53" y="127"/>
                  </a:cubicBezTo>
                  <a:cubicBezTo>
                    <a:pt x="53" y="127"/>
                    <a:pt x="54" y="127"/>
                    <a:pt x="54" y="127"/>
                  </a:cubicBezTo>
                  <a:cubicBezTo>
                    <a:pt x="54" y="127"/>
                    <a:pt x="54" y="127"/>
                    <a:pt x="54" y="127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26"/>
                    <a:pt x="54" y="126"/>
                    <a:pt x="54" y="125"/>
                  </a:cubicBezTo>
                  <a:cubicBezTo>
                    <a:pt x="55" y="125"/>
                    <a:pt x="55" y="125"/>
                    <a:pt x="55" y="125"/>
                  </a:cubicBezTo>
                  <a:cubicBezTo>
                    <a:pt x="55" y="125"/>
                    <a:pt x="55" y="125"/>
                    <a:pt x="55" y="124"/>
                  </a:cubicBezTo>
                  <a:cubicBezTo>
                    <a:pt x="55" y="124"/>
                    <a:pt x="56" y="124"/>
                    <a:pt x="56" y="124"/>
                  </a:cubicBezTo>
                  <a:cubicBezTo>
                    <a:pt x="56" y="124"/>
                    <a:pt x="56" y="124"/>
                    <a:pt x="56" y="123"/>
                  </a:cubicBezTo>
                  <a:cubicBezTo>
                    <a:pt x="56" y="123"/>
                    <a:pt x="56" y="123"/>
                    <a:pt x="57" y="123"/>
                  </a:cubicBezTo>
                  <a:cubicBezTo>
                    <a:pt x="57" y="123"/>
                    <a:pt x="57" y="122"/>
                    <a:pt x="57" y="122"/>
                  </a:cubicBezTo>
                  <a:cubicBezTo>
                    <a:pt x="57" y="121"/>
                    <a:pt x="57" y="121"/>
                    <a:pt x="58" y="121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8" y="120"/>
                    <a:pt x="58" y="120"/>
                    <a:pt x="58" y="120"/>
                  </a:cubicBezTo>
                  <a:cubicBezTo>
                    <a:pt x="59" y="119"/>
                    <a:pt x="59" y="119"/>
                    <a:pt x="59" y="119"/>
                  </a:cubicBezTo>
                  <a:cubicBezTo>
                    <a:pt x="59" y="119"/>
                    <a:pt x="59" y="119"/>
                    <a:pt x="59" y="118"/>
                  </a:cubicBezTo>
                  <a:cubicBezTo>
                    <a:pt x="59" y="118"/>
                    <a:pt x="59" y="118"/>
                    <a:pt x="60" y="118"/>
                  </a:cubicBezTo>
                  <a:cubicBezTo>
                    <a:pt x="60" y="118"/>
                    <a:pt x="60" y="117"/>
                    <a:pt x="60" y="117"/>
                  </a:cubicBezTo>
                  <a:cubicBezTo>
                    <a:pt x="60" y="117"/>
                    <a:pt x="60" y="117"/>
                    <a:pt x="60" y="117"/>
                  </a:cubicBezTo>
                  <a:cubicBezTo>
                    <a:pt x="60" y="117"/>
                    <a:pt x="61" y="116"/>
                    <a:pt x="61" y="116"/>
                  </a:cubicBezTo>
                  <a:cubicBezTo>
                    <a:pt x="62" y="114"/>
                    <a:pt x="63" y="113"/>
                    <a:pt x="64" y="111"/>
                  </a:cubicBezTo>
                  <a:cubicBezTo>
                    <a:pt x="64" y="111"/>
                    <a:pt x="64" y="111"/>
                    <a:pt x="64" y="111"/>
                  </a:cubicBezTo>
                  <a:cubicBezTo>
                    <a:pt x="64" y="111"/>
                    <a:pt x="62" y="110"/>
                    <a:pt x="62" y="109"/>
                  </a:cubicBezTo>
                  <a:cubicBezTo>
                    <a:pt x="60" y="108"/>
                    <a:pt x="59" y="106"/>
                    <a:pt x="57" y="105"/>
                  </a:cubicBezTo>
                  <a:cubicBezTo>
                    <a:pt x="55" y="102"/>
                    <a:pt x="52" y="99"/>
                    <a:pt x="50" y="97"/>
                  </a:cubicBezTo>
                  <a:cubicBezTo>
                    <a:pt x="48" y="96"/>
                    <a:pt x="47" y="95"/>
                    <a:pt x="46" y="94"/>
                  </a:cubicBezTo>
                  <a:cubicBezTo>
                    <a:pt x="46" y="91"/>
                    <a:pt x="46" y="89"/>
                    <a:pt x="46" y="86"/>
                  </a:cubicBezTo>
                  <a:cubicBezTo>
                    <a:pt x="45" y="85"/>
                    <a:pt x="46" y="83"/>
                    <a:pt x="46" y="82"/>
                  </a:cubicBezTo>
                  <a:cubicBezTo>
                    <a:pt x="46" y="79"/>
                    <a:pt x="45" y="76"/>
                    <a:pt x="45" y="73"/>
                  </a:cubicBezTo>
                  <a:cubicBezTo>
                    <a:pt x="43" y="71"/>
                    <a:pt x="41" y="69"/>
                    <a:pt x="39" y="67"/>
                  </a:cubicBezTo>
                  <a:cubicBezTo>
                    <a:pt x="39" y="66"/>
                    <a:pt x="39" y="66"/>
                    <a:pt x="39" y="66"/>
                  </a:cubicBezTo>
                  <a:cubicBezTo>
                    <a:pt x="36" y="64"/>
                    <a:pt x="34" y="62"/>
                    <a:pt x="32" y="60"/>
                  </a:cubicBezTo>
                  <a:cubicBezTo>
                    <a:pt x="32" y="59"/>
                    <a:pt x="32" y="59"/>
                    <a:pt x="32" y="59"/>
                  </a:cubicBezTo>
                  <a:cubicBezTo>
                    <a:pt x="30" y="57"/>
                    <a:pt x="28" y="55"/>
                    <a:pt x="26" y="53"/>
                  </a:cubicBezTo>
                  <a:cubicBezTo>
                    <a:pt x="26" y="53"/>
                    <a:pt x="26" y="53"/>
                    <a:pt x="26" y="52"/>
                  </a:cubicBezTo>
                  <a:cubicBezTo>
                    <a:pt x="24" y="51"/>
                    <a:pt x="22" y="49"/>
                    <a:pt x="21" y="47"/>
                  </a:cubicBezTo>
                  <a:cubicBezTo>
                    <a:pt x="20" y="47"/>
                    <a:pt x="20" y="47"/>
                    <a:pt x="20" y="46"/>
                  </a:cubicBezTo>
                  <a:cubicBezTo>
                    <a:pt x="18" y="45"/>
                    <a:pt x="17" y="43"/>
                    <a:pt x="15" y="42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13" y="39"/>
                    <a:pt x="11" y="37"/>
                    <a:pt x="9" y="36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4"/>
                    <a:pt x="8" y="34"/>
                    <a:pt x="7" y="33"/>
                  </a:cubicBezTo>
                  <a:cubicBezTo>
                    <a:pt x="5" y="30"/>
                    <a:pt x="2" y="28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1" y="24"/>
                    <a:pt x="2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4" y="24"/>
                    <a:pt x="4" y="24"/>
                  </a:cubicBezTo>
                  <a:cubicBezTo>
                    <a:pt x="4" y="24"/>
                    <a:pt x="4" y="23"/>
                    <a:pt x="4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6" y="23"/>
                    <a:pt x="6" y="23"/>
                    <a:pt x="7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3"/>
                    <a:pt x="8" y="23"/>
                    <a:pt x="8" y="23"/>
                  </a:cubicBezTo>
                  <a:cubicBezTo>
                    <a:pt x="8" y="23"/>
                    <a:pt x="8" y="22"/>
                    <a:pt x="8" y="22"/>
                  </a:cubicBezTo>
                  <a:cubicBezTo>
                    <a:pt x="9" y="22"/>
                    <a:pt x="9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1"/>
                    <a:pt x="13" y="21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1"/>
                    <a:pt x="14" y="21"/>
                    <a:pt x="15" y="21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7" y="20"/>
                    <a:pt x="18" y="20"/>
                    <a:pt x="20" y="19"/>
                  </a:cubicBezTo>
                  <a:cubicBezTo>
                    <a:pt x="26" y="15"/>
                    <a:pt x="31" y="11"/>
                    <a:pt x="36" y="6"/>
                  </a:cubicBezTo>
                  <a:cubicBezTo>
                    <a:pt x="39" y="6"/>
                    <a:pt x="42" y="6"/>
                    <a:pt x="44" y="5"/>
                  </a:cubicBezTo>
                  <a:cubicBezTo>
                    <a:pt x="54" y="3"/>
                    <a:pt x="63" y="2"/>
                    <a:pt x="73" y="0"/>
                  </a:cubicBezTo>
                  <a:cubicBezTo>
                    <a:pt x="73" y="0"/>
                    <a:pt x="73" y="1"/>
                    <a:pt x="73" y="1"/>
                  </a:cubicBezTo>
                  <a:cubicBezTo>
                    <a:pt x="73" y="1"/>
                    <a:pt x="73" y="1"/>
                    <a:pt x="73" y="1"/>
                  </a:cubicBezTo>
                  <a:cubicBezTo>
                    <a:pt x="73" y="1"/>
                    <a:pt x="73" y="1"/>
                    <a:pt x="73" y="2"/>
                  </a:cubicBezTo>
                  <a:cubicBezTo>
                    <a:pt x="73" y="2"/>
                    <a:pt x="74" y="2"/>
                    <a:pt x="74" y="2"/>
                  </a:cubicBezTo>
                  <a:cubicBezTo>
                    <a:pt x="74" y="2"/>
                    <a:pt x="74" y="2"/>
                    <a:pt x="74" y="2"/>
                  </a:cubicBezTo>
                  <a:cubicBezTo>
                    <a:pt x="74" y="2"/>
                    <a:pt x="74" y="3"/>
                    <a:pt x="74" y="3"/>
                  </a:cubicBezTo>
                  <a:cubicBezTo>
                    <a:pt x="74" y="3"/>
                    <a:pt x="75" y="4"/>
                    <a:pt x="75" y="4"/>
                  </a:cubicBezTo>
                  <a:cubicBezTo>
                    <a:pt x="75" y="4"/>
                    <a:pt x="75" y="4"/>
                    <a:pt x="75" y="4"/>
                  </a:cubicBezTo>
                  <a:cubicBezTo>
                    <a:pt x="76" y="5"/>
                    <a:pt x="76" y="6"/>
                    <a:pt x="76" y="7"/>
                  </a:cubicBezTo>
                  <a:cubicBezTo>
                    <a:pt x="76" y="7"/>
                    <a:pt x="77" y="7"/>
                    <a:pt x="77" y="7"/>
                  </a:cubicBezTo>
                  <a:cubicBezTo>
                    <a:pt x="77" y="7"/>
                    <a:pt x="77" y="8"/>
                    <a:pt x="77" y="8"/>
                  </a:cubicBezTo>
                  <a:cubicBezTo>
                    <a:pt x="77" y="8"/>
                    <a:pt x="78" y="9"/>
                    <a:pt x="78" y="9"/>
                  </a:cubicBezTo>
                  <a:cubicBezTo>
                    <a:pt x="78" y="9"/>
                    <a:pt x="78" y="10"/>
                    <a:pt x="78" y="10"/>
                  </a:cubicBezTo>
                  <a:cubicBezTo>
                    <a:pt x="78" y="10"/>
                    <a:pt x="79" y="10"/>
                    <a:pt x="79" y="10"/>
                  </a:cubicBezTo>
                  <a:cubicBezTo>
                    <a:pt x="79" y="11"/>
                    <a:pt x="79" y="12"/>
                    <a:pt x="80" y="12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3"/>
                    <a:pt x="81" y="14"/>
                    <a:pt x="81" y="14"/>
                  </a:cubicBezTo>
                  <a:cubicBezTo>
                    <a:pt x="81" y="14"/>
                    <a:pt x="81" y="14"/>
                    <a:pt x="81" y="15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15"/>
                    <a:pt x="82" y="15"/>
                    <a:pt x="82" y="15"/>
                  </a:cubicBezTo>
                  <a:cubicBezTo>
                    <a:pt x="82" y="16"/>
                    <a:pt x="82" y="16"/>
                    <a:pt x="82" y="16"/>
                  </a:cubicBezTo>
                  <a:cubicBezTo>
                    <a:pt x="82" y="16"/>
                    <a:pt x="82" y="16"/>
                    <a:pt x="82" y="16"/>
                  </a:cubicBezTo>
                  <a:cubicBezTo>
                    <a:pt x="83" y="17"/>
                    <a:pt x="83" y="18"/>
                    <a:pt x="83" y="18"/>
                  </a:cubicBezTo>
                  <a:cubicBezTo>
                    <a:pt x="83" y="19"/>
                    <a:pt x="84" y="19"/>
                    <a:pt x="84" y="19"/>
                  </a:cubicBezTo>
                  <a:cubicBezTo>
                    <a:pt x="84" y="19"/>
                    <a:pt x="84" y="20"/>
                    <a:pt x="84" y="20"/>
                  </a:cubicBezTo>
                  <a:cubicBezTo>
                    <a:pt x="84" y="20"/>
                    <a:pt x="85" y="20"/>
                    <a:pt x="85" y="21"/>
                  </a:cubicBezTo>
                  <a:cubicBezTo>
                    <a:pt x="85" y="21"/>
                    <a:pt x="85" y="21"/>
                    <a:pt x="85" y="22"/>
                  </a:cubicBezTo>
                  <a:cubicBezTo>
                    <a:pt x="85" y="22"/>
                    <a:pt x="86" y="22"/>
                    <a:pt x="86" y="22"/>
                  </a:cubicBezTo>
                  <a:cubicBezTo>
                    <a:pt x="86" y="23"/>
                    <a:pt x="86" y="24"/>
                    <a:pt x="87" y="24"/>
                  </a:cubicBezTo>
                  <a:cubicBezTo>
                    <a:pt x="87" y="25"/>
                    <a:pt x="87" y="25"/>
                    <a:pt x="87" y="25"/>
                  </a:cubicBezTo>
                  <a:cubicBezTo>
                    <a:pt x="87" y="25"/>
                    <a:pt x="88" y="26"/>
                    <a:pt x="88" y="26"/>
                  </a:cubicBezTo>
                  <a:cubicBezTo>
                    <a:pt x="88" y="26"/>
                    <a:pt x="88" y="26"/>
                    <a:pt x="88" y="26"/>
                  </a:cubicBezTo>
                  <a:cubicBezTo>
                    <a:pt x="88" y="27"/>
                    <a:pt x="89" y="27"/>
                    <a:pt x="89" y="28"/>
                  </a:cubicBezTo>
                  <a:cubicBezTo>
                    <a:pt x="89" y="28"/>
                    <a:pt x="89" y="28"/>
                    <a:pt x="89" y="28"/>
                  </a:cubicBezTo>
                  <a:cubicBezTo>
                    <a:pt x="89" y="28"/>
                    <a:pt x="89" y="29"/>
                    <a:pt x="89" y="29"/>
                  </a:cubicBezTo>
                  <a:cubicBezTo>
                    <a:pt x="90" y="30"/>
                    <a:pt x="91" y="30"/>
                    <a:pt x="91" y="31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</a:ln>
            <a:effectLst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64800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4000" b="1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0000"/>
                </a:solidFill>
                <a:latin typeface="UKIJ Qolyazma" pitchFamily="18" charset="0"/>
                <a:cs typeface="UKIJ Qolyazma" pitchFamily="18" charset="0"/>
              </a:endParaRPr>
            </a:p>
          </p:txBody>
        </p:sp>
        <p:sp>
          <p:nvSpPr>
            <p:cNvPr id="114" name="Freeform 25">
              <a:extLst>
                <a:ext uri="{FF2B5EF4-FFF2-40B4-BE49-F238E27FC236}">
                  <a16:creationId xmlns:a16="http://schemas.microsoft.com/office/drawing/2014/main" id="{D404FE94-F10E-E661-9BE7-739BF9D7366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5135" y="2267339"/>
              <a:ext cx="313948" cy="697891"/>
            </a:xfrm>
            <a:custGeom>
              <a:avLst/>
              <a:gdLst>
                <a:gd name="T0" fmla="*/ 40 w 144"/>
                <a:gd name="T1" fmla="*/ 246 h 321"/>
                <a:gd name="T2" fmla="*/ 40 w 144"/>
                <a:gd name="T3" fmla="*/ 260 h 321"/>
                <a:gd name="T4" fmla="*/ 28 w 144"/>
                <a:gd name="T5" fmla="*/ 320 h 321"/>
                <a:gd name="T6" fmla="*/ 25 w 144"/>
                <a:gd name="T7" fmla="*/ 315 h 321"/>
                <a:gd name="T8" fmla="*/ 23 w 144"/>
                <a:gd name="T9" fmla="*/ 311 h 321"/>
                <a:gd name="T10" fmla="*/ 21 w 144"/>
                <a:gd name="T11" fmla="*/ 307 h 321"/>
                <a:gd name="T12" fmla="*/ 19 w 144"/>
                <a:gd name="T13" fmla="*/ 303 h 321"/>
                <a:gd name="T14" fmla="*/ 17 w 144"/>
                <a:gd name="T15" fmla="*/ 298 h 321"/>
                <a:gd name="T16" fmla="*/ 15 w 144"/>
                <a:gd name="T17" fmla="*/ 294 h 321"/>
                <a:gd name="T18" fmla="*/ 13 w 144"/>
                <a:gd name="T19" fmla="*/ 288 h 321"/>
                <a:gd name="T20" fmla="*/ 10 w 144"/>
                <a:gd name="T21" fmla="*/ 283 h 321"/>
                <a:gd name="T22" fmla="*/ 2 w 144"/>
                <a:gd name="T23" fmla="*/ 232 h 321"/>
                <a:gd name="T24" fmla="*/ 0 w 144"/>
                <a:gd name="T25" fmla="*/ 218 h 321"/>
                <a:gd name="T26" fmla="*/ 1 w 144"/>
                <a:gd name="T27" fmla="*/ 187 h 321"/>
                <a:gd name="T28" fmla="*/ 2 w 144"/>
                <a:gd name="T29" fmla="*/ 141 h 321"/>
                <a:gd name="T30" fmla="*/ 6 w 144"/>
                <a:gd name="T31" fmla="*/ 113 h 321"/>
                <a:gd name="T32" fmla="*/ 15 w 144"/>
                <a:gd name="T33" fmla="*/ 108 h 321"/>
                <a:gd name="T34" fmla="*/ 20 w 144"/>
                <a:gd name="T35" fmla="*/ 104 h 321"/>
                <a:gd name="T36" fmla="*/ 25 w 144"/>
                <a:gd name="T37" fmla="*/ 101 h 321"/>
                <a:gd name="T38" fmla="*/ 36 w 144"/>
                <a:gd name="T39" fmla="*/ 90 h 321"/>
                <a:gd name="T40" fmla="*/ 41 w 144"/>
                <a:gd name="T41" fmla="*/ 84 h 321"/>
                <a:gd name="T42" fmla="*/ 69 w 144"/>
                <a:gd name="T43" fmla="*/ 24 h 321"/>
                <a:gd name="T44" fmla="*/ 76 w 144"/>
                <a:gd name="T45" fmla="*/ 16 h 321"/>
                <a:gd name="T46" fmla="*/ 80 w 144"/>
                <a:gd name="T47" fmla="*/ 10 h 321"/>
                <a:gd name="T48" fmla="*/ 89 w 144"/>
                <a:gd name="T49" fmla="*/ 1 h 321"/>
                <a:gd name="T50" fmla="*/ 115 w 144"/>
                <a:gd name="T51" fmla="*/ 2 h 321"/>
                <a:gd name="T52" fmla="*/ 118 w 144"/>
                <a:gd name="T53" fmla="*/ 14 h 321"/>
                <a:gd name="T54" fmla="*/ 116 w 144"/>
                <a:gd name="T55" fmla="*/ 22 h 321"/>
                <a:gd name="T56" fmla="*/ 114 w 144"/>
                <a:gd name="T57" fmla="*/ 29 h 321"/>
                <a:gd name="T58" fmla="*/ 114 w 144"/>
                <a:gd name="T59" fmla="*/ 47 h 321"/>
                <a:gd name="T60" fmla="*/ 117 w 144"/>
                <a:gd name="T61" fmla="*/ 52 h 321"/>
                <a:gd name="T62" fmla="*/ 127 w 144"/>
                <a:gd name="T63" fmla="*/ 53 h 321"/>
                <a:gd name="T64" fmla="*/ 135 w 144"/>
                <a:gd name="T65" fmla="*/ 46 h 321"/>
                <a:gd name="T66" fmla="*/ 138 w 144"/>
                <a:gd name="T67" fmla="*/ 40 h 321"/>
                <a:gd name="T68" fmla="*/ 143 w 144"/>
                <a:gd name="T69" fmla="*/ 32 h 321"/>
                <a:gd name="T70" fmla="*/ 142 w 144"/>
                <a:gd name="T71" fmla="*/ 77 h 321"/>
                <a:gd name="T72" fmla="*/ 141 w 144"/>
                <a:gd name="T73" fmla="*/ 94 h 321"/>
                <a:gd name="T74" fmla="*/ 136 w 144"/>
                <a:gd name="T75" fmla="*/ 128 h 321"/>
                <a:gd name="T76" fmla="*/ 131 w 144"/>
                <a:gd name="T77" fmla="*/ 153 h 321"/>
                <a:gd name="T78" fmla="*/ 129 w 144"/>
                <a:gd name="T79" fmla="*/ 157 h 321"/>
                <a:gd name="T80" fmla="*/ 127 w 144"/>
                <a:gd name="T81" fmla="*/ 165 h 321"/>
                <a:gd name="T82" fmla="*/ 125 w 144"/>
                <a:gd name="T83" fmla="*/ 169 h 321"/>
                <a:gd name="T84" fmla="*/ 124 w 144"/>
                <a:gd name="T85" fmla="*/ 173 h 321"/>
                <a:gd name="T86" fmla="*/ 121 w 144"/>
                <a:gd name="T87" fmla="*/ 178 h 321"/>
                <a:gd name="T88" fmla="*/ 120 w 144"/>
                <a:gd name="T89" fmla="*/ 183 h 321"/>
                <a:gd name="T90" fmla="*/ 117 w 144"/>
                <a:gd name="T91" fmla="*/ 188 h 321"/>
                <a:gd name="T92" fmla="*/ 115 w 144"/>
                <a:gd name="T93" fmla="*/ 193 h 321"/>
                <a:gd name="T94" fmla="*/ 113 w 144"/>
                <a:gd name="T95" fmla="*/ 195 h 321"/>
                <a:gd name="T96" fmla="*/ 112 w 144"/>
                <a:gd name="T97" fmla="*/ 199 h 321"/>
                <a:gd name="T98" fmla="*/ 109 w 144"/>
                <a:gd name="T99" fmla="*/ 203 h 321"/>
                <a:gd name="T100" fmla="*/ 107 w 144"/>
                <a:gd name="T101" fmla="*/ 208 h 321"/>
                <a:gd name="T102" fmla="*/ 102 w 144"/>
                <a:gd name="T103" fmla="*/ 215 h 321"/>
                <a:gd name="T104" fmla="*/ 99 w 144"/>
                <a:gd name="T105" fmla="*/ 220 h 321"/>
                <a:gd name="T106" fmla="*/ 96 w 144"/>
                <a:gd name="T107" fmla="*/ 224 h 321"/>
                <a:gd name="T108" fmla="*/ 92 w 144"/>
                <a:gd name="T109" fmla="*/ 230 h 321"/>
                <a:gd name="T110" fmla="*/ 82 w 144"/>
                <a:gd name="T111" fmla="*/ 241 h 321"/>
                <a:gd name="T112" fmla="*/ 74 w 144"/>
                <a:gd name="T113" fmla="*/ 249 h 321"/>
                <a:gd name="T114" fmla="*/ 61 w 144"/>
                <a:gd name="T115" fmla="*/ 250 h 321"/>
                <a:gd name="T116" fmla="*/ 52 w 144"/>
                <a:gd name="T117" fmla="*/ 247 h 321"/>
                <a:gd name="T118" fmla="*/ 42 w 144"/>
                <a:gd name="T119" fmla="*/ 243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44" h="321">
                  <a:moveTo>
                    <a:pt x="42" y="243"/>
                  </a:moveTo>
                  <a:cubicBezTo>
                    <a:pt x="42" y="243"/>
                    <a:pt x="42" y="243"/>
                    <a:pt x="42" y="244"/>
                  </a:cubicBezTo>
                  <a:cubicBezTo>
                    <a:pt x="41" y="244"/>
                    <a:pt x="41" y="244"/>
                    <a:pt x="41" y="244"/>
                  </a:cubicBezTo>
                  <a:cubicBezTo>
                    <a:pt x="41" y="244"/>
                    <a:pt x="41" y="244"/>
                    <a:pt x="41" y="245"/>
                  </a:cubicBezTo>
                  <a:cubicBezTo>
                    <a:pt x="41" y="245"/>
                    <a:pt x="41" y="245"/>
                    <a:pt x="41" y="245"/>
                  </a:cubicBezTo>
                  <a:cubicBezTo>
                    <a:pt x="41" y="245"/>
                    <a:pt x="41" y="245"/>
                    <a:pt x="41" y="245"/>
                  </a:cubicBezTo>
                  <a:cubicBezTo>
                    <a:pt x="41" y="245"/>
                    <a:pt x="41" y="245"/>
                    <a:pt x="41" y="245"/>
                  </a:cubicBezTo>
                  <a:cubicBezTo>
                    <a:pt x="41" y="246"/>
                    <a:pt x="41" y="246"/>
                    <a:pt x="41" y="246"/>
                  </a:cubicBezTo>
                  <a:cubicBezTo>
                    <a:pt x="40" y="246"/>
                    <a:pt x="40" y="246"/>
                    <a:pt x="40" y="246"/>
                  </a:cubicBezTo>
                  <a:cubicBezTo>
                    <a:pt x="40" y="247"/>
                    <a:pt x="40" y="247"/>
                    <a:pt x="40" y="248"/>
                  </a:cubicBezTo>
                  <a:cubicBezTo>
                    <a:pt x="40" y="248"/>
                    <a:pt x="40" y="248"/>
                    <a:pt x="40" y="248"/>
                  </a:cubicBezTo>
                  <a:cubicBezTo>
                    <a:pt x="40" y="248"/>
                    <a:pt x="40" y="249"/>
                    <a:pt x="40" y="250"/>
                  </a:cubicBezTo>
                  <a:cubicBezTo>
                    <a:pt x="40" y="250"/>
                    <a:pt x="40" y="250"/>
                    <a:pt x="39" y="250"/>
                  </a:cubicBezTo>
                  <a:cubicBezTo>
                    <a:pt x="39" y="252"/>
                    <a:pt x="39" y="253"/>
                    <a:pt x="39" y="254"/>
                  </a:cubicBezTo>
                  <a:cubicBezTo>
                    <a:pt x="40" y="254"/>
                    <a:pt x="40" y="254"/>
                    <a:pt x="40" y="254"/>
                  </a:cubicBezTo>
                  <a:cubicBezTo>
                    <a:pt x="40" y="255"/>
                    <a:pt x="40" y="256"/>
                    <a:pt x="40" y="258"/>
                  </a:cubicBezTo>
                  <a:cubicBezTo>
                    <a:pt x="40" y="258"/>
                    <a:pt x="40" y="258"/>
                    <a:pt x="40" y="258"/>
                  </a:cubicBezTo>
                  <a:cubicBezTo>
                    <a:pt x="40" y="258"/>
                    <a:pt x="40" y="259"/>
                    <a:pt x="40" y="260"/>
                  </a:cubicBezTo>
                  <a:cubicBezTo>
                    <a:pt x="40" y="260"/>
                    <a:pt x="40" y="260"/>
                    <a:pt x="41" y="260"/>
                  </a:cubicBezTo>
                  <a:cubicBezTo>
                    <a:pt x="42" y="268"/>
                    <a:pt x="43" y="275"/>
                    <a:pt x="44" y="283"/>
                  </a:cubicBezTo>
                  <a:cubicBezTo>
                    <a:pt x="44" y="287"/>
                    <a:pt x="44" y="291"/>
                    <a:pt x="44" y="295"/>
                  </a:cubicBezTo>
                  <a:cubicBezTo>
                    <a:pt x="44" y="295"/>
                    <a:pt x="45" y="295"/>
                    <a:pt x="45" y="295"/>
                  </a:cubicBezTo>
                  <a:cubicBezTo>
                    <a:pt x="45" y="299"/>
                    <a:pt x="45" y="303"/>
                    <a:pt x="45" y="307"/>
                  </a:cubicBezTo>
                  <a:cubicBezTo>
                    <a:pt x="45" y="307"/>
                    <a:pt x="44" y="307"/>
                    <a:pt x="44" y="307"/>
                  </a:cubicBezTo>
                  <a:cubicBezTo>
                    <a:pt x="44" y="312"/>
                    <a:pt x="44" y="316"/>
                    <a:pt x="44" y="321"/>
                  </a:cubicBezTo>
                  <a:cubicBezTo>
                    <a:pt x="40" y="321"/>
                    <a:pt x="35" y="321"/>
                    <a:pt x="31" y="320"/>
                  </a:cubicBezTo>
                  <a:cubicBezTo>
                    <a:pt x="30" y="320"/>
                    <a:pt x="29" y="320"/>
                    <a:pt x="28" y="320"/>
                  </a:cubicBezTo>
                  <a:cubicBezTo>
                    <a:pt x="28" y="319"/>
                    <a:pt x="28" y="319"/>
                    <a:pt x="27" y="318"/>
                  </a:cubicBezTo>
                  <a:cubicBezTo>
                    <a:pt x="27" y="318"/>
                    <a:pt x="27" y="318"/>
                    <a:pt x="27" y="318"/>
                  </a:cubicBezTo>
                  <a:cubicBezTo>
                    <a:pt x="27" y="318"/>
                    <a:pt x="27" y="318"/>
                    <a:pt x="27" y="317"/>
                  </a:cubicBezTo>
                  <a:cubicBezTo>
                    <a:pt x="27" y="317"/>
                    <a:pt x="26" y="317"/>
                    <a:pt x="26" y="317"/>
                  </a:cubicBezTo>
                  <a:cubicBezTo>
                    <a:pt x="26" y="317"/>
                    <a:pt x="26" y="317"/>
                    <a:pt x="26" y="316"/>
                  </a:cubicBezTo>
                  <a:cubicBezTo>
                    <a:pt x="26" y="316"/>
                    <a:pt x="26" y="316"/>
                    <a:pt x="26" y="316"/>
                  </a:cubicBezTo>
                  <a:cubicBezTo>
                    <a:pt x="26" y="316"/>
                    <a:pt x="26" y="316"/>
                    <a:pt x="26" y="316"/>
                  </a:cubicBezTo>
                  <a:cubicBezTo>
                    <a:pt x="26" y="316"/>
                    <a:pt x="25" y="315"/>
                    <a:pt x="25" y="315"/>
                  </a:cubicBezTo>
                  <a:cubicBezTo>
                    <a:pt x="25" y="315"/>
                    <a:pt x="25" y="315"/>
                    <a:pt x="25" y="315"/>
                  </a:cubicBezTo>
                  <a:cubicBezTo>
                    <a:pt x="25" y="315"/>
                    <a:pt x="25" y="315"/>
                    <a:pt x="25" y="315"/>
                  </a:cubicBezTo>
                  <a:cubicBezTo>
                    <a:pt x="25" y="314"/>
                    <a:pt x="25" y="314"/>
                    <a:pt x="25" y="314"/>
                  </a:cubicBezTo>
                  <a:cubicBezTo>
                    <a:pt x="25" y="314"/>
                    <a:pt x="25" y="314"/>
                    <a:pt x="24" y="314"/>
                  </a:cubicBezTo>
                  <a:cubicBezTo>
                    <a:pt x="24" y="313"/>
                    <a:pt x="24" y="313"/>
                    <a:pt x="24" y="313"/>
                  </a:cubicBezTo>
                  <a:cubicBezTo>
                    <a:pt x="24" y="312"/>
                    <a:pt x="24" y="312"/>
                    <a:pt x="23" y="312"/>
                  </a:cubicBezTo>
                  <a:cubicBezTo>
                    <a:pt x="23" y="312"/>
                    <a:pt x="23" y="312"/>
                    <a:pt x="23" y="312"/>
                  </a:cubicBezTo>
                  <a:cubicBezTo>
                    <a:pt x="23" y="312"/>
                    <a:pt x="23" y="312"/>
                    <a:pt x="23" y="312"/>
                  </a:cubicBezTo>
                  <a:cubicBezTo>
                    <a:pt x="23" y="311"/>
                    <a:pt x="23" y="311"/>
                    <a:pt x="23" y="311"/>
                  </a:cubicBezTo>
                  <a:cubicBezTo>
                    <a:pt x="23" y="311"/>
                    <a:pt x="23" y="311"/>
                    <a:pt x="23" y="311"/>
                  </a:cubicBezTo>
                  <a:cubicBezTo>
                    <a:pt x="23" y="311"/>
                    <a:pt x="23" y="310"/>
                    <a:pt x="23" y="310"/>
                  </a:cubicBezTo>
                  <a:cubicBezTo>
                    <a:pt x="23" y="310"/>
                    <a:pt x="22" y="310"/>
                    <a:pt x="22" y="310"/>
                  </a:cubicBezTo>
                  <a:cubicBezTo>
                    <a:pt x="22" y="310"/>
                    <a:pt x="22" y="310"/>
                    <a:pt x="22" y="309"/>
                  </a:cubicBezTo>
                  <a:cubicBezTo>
                    <a:pt x="22" y="309"/>
                    <a:pt x="22" y="309"/>
                    <a:pt x="22" y="309"/>
                  </a:cubicBezTo>
                  <a:cubicBezTo>
                    <a:pt x="22" y="309"/>
                    <a:pt x="22" y="309"/>
                    <a:pt x="22" y="309"/>
                  </a:cubicBezTo>
                  <a:cubicBezTo>
                    <a:pt x="22" y="309"/>
                    <a:pt x="22" y="309"/>
                    <a:pt x="22" y="309"/>
                  </a:cubicBezTo>
                  <a:cubicBezTo>
                    <a:pt x="22" y="308"/>
                    <a:pt x="22" y="308"/>
                    <a:pt x="22" y="308"/>
                  </a:cubicBezTo>
                  <a:cubicBezTo>
                    <a:pt x="22" y="308"/>
                    <a:pt x="21" y="308"/>
                    <a:pt x="21" y="308"/>
                  </a:cubicBezTo>
                  <a:cubicBezTo>
                    <a:pt x="21" y="308"/>
                    <a:pt x="21" y="308"/>
                    <a:pt x="21" y="307"/>
                  </a:cubicBezTo>
                  <a:cubicBezTo>
                    <a:pt x="21" y="307"/>
                    <a:pt x="21" y="307"/>
                    <a:pt x="21" y="307"/>
                  </a:cubicBezTo>
                  <a:cubicBezTo>
                    <a:pt x="21" y="307"/>
                    <a:pt x="20" y="306"/>
                    <a:pt x="20" y="305"/>
                  </a:cubicBezTo>
                  <a:cubicBezTo>
                    <a:pt x="20" y="305"/>
                    <a:pt x="20" y="305"/>
                    <a:pt x="20" y="305"/>
                  </a:cubicBezTo>
                  <a:cubicBezTo>
                    <a:pt x="20" y="305"/>
                    <a:pt x="20" y="305"/>
                    <a:pt x="20" y="304"/>
                  </a:cubicBezTo>
                  <a:cubicBezTo>
                    <a:pt x="20" y="304"/>
                    <a:pt x="20" y="304"/>
                    <a:pt x="20" y="304"/>
                  </a:cubicBezTo>
                  <a:cubicBezTo>
                    <a:pt x="20" y="304"/>
                    <a:pt x="20" y="304"/>
                    <a:pt x="20" y="303"/>
                  </a:cubicBezTo>
                  <a:cubicBezTo>
                    <a:pt x="19" y="303"/>
                    <a:pt x="19" y="303"/>
                    <a:pt x="19" y="303"/>
                  </a:cubicBezTo>
                  <a:cubicBezTo>
                    <a:pt x="19" y="303"/>
                    <a:pt x="19" y="303"/>
                    <a:pt x="19" y="303"/>
                  </a:cubicBezTo>
                  <a:cubicBezTo>
                    <a:pt x="19" y="303"/>
                    <a:pt x="19" y="303"/>
                    <a:pt x="19" y="303"/>
                  </a:cubicBezTo>
                  <a:cubicBezTo>
                    <a:pt x="19" y="303"/>
                    <a:pt x="19" y="302"/>
                    <a:pt x="19" y="302"/>
                  </a:cubicBezTo>
                  <a:cubicBezTo>
                    <a:pt x="19" y="302"/>
                    <a:pt x="19" y="302"/>
                    <a:pt x="18" y="302"/>
                  </a:cubicBezTo>
                  <a:cubicBezTo>
                    <a:pt x="18" y="301"/>
                    <a:pt x="18" y="301"/>
                    <a:pt x="18" y="300"/>
                  </a:cubicBezTo>
                  <a:cubicBezTo>
                    <a:pt x="18" y="300"/>
                    <a:pt x="18" y="300"/>
                    <a:pt x="17" y="300"/>
                  </a:cubicBezTo>
                  <a:cubicBezTo>
                    <a:pt x="17" y="300"/>
                    <a:pt x="17" y="299"/>
                    <a:pt x="17" y="299"/>
                  </a:cubicBezTo>
                  <a:cubicBezTo>
                    <a:pt x="17" y="299"/>
                    <a:pt x="17" y="299"/>
                    <a:pt x="17" y="299"/>
                  </a:cubicBezTo>
                  <a:cubicBezTo>
                    <a:pt x="17" y="299"/>
                    <a:pt x="17" y="298"/>
                    <a:pt x="17" y="298"/>
                  </a:cubicBezTo>
                  <a:cubicBezTo>
                    <a:pt x="17" y="298"/>
                    <a:pt x="17" y="298"/>
                    <a:pt x="17" y="298"/>
                  </a:cubicBezTo>
                  <a:cubicBezTo>
                    <a:pt x="17" y="298"/>
                    <a:pt x="17" y="298"/>
                    <a:pt x="17" y="298"/>
                  </a:cubicBezTo>
                  <a:cubicBezTo>
                    <a:pt x="17" y="298"/>
                    <a:pt x="16" y="298"/>
                    <a:pt x="16" y="298"/>
                  </a:cubicBezTo>
                  <a:cubicBezTo>
                    <a:pt x="16" y="297"/>
                    <a:pt x="16" y="297"/>
                    <a:pt x="16" y="297"/>
                  </a:cubicBezTo>
                  <a:cubicBezTo>
                    <a:pt x="16" y="297"/>
                    <a:pt x="16" y="297"/>
                    <a:pt x="16" y="297"/>
                  </a:cubicBezTo>
                  <a:cubicBezTo>
                    <a:pt x="16" y="296"/>
                    <a:pt x="16" y="296"/>
                    <a:pt x="16" y="296"/>
                  </a:cubicBezTo>
                  <a:cubicBezTo>
                    <a:pt x="16" y="296"/>
                    <a:pt x="16" y="296"/>
                    <a:pt x="16" y="296"/>
                  </a:cubicBezTo>
                  <a:cubicBezTo>
                    <a:pt x="16" y="296"/>
                    <a:pt x="16" y="295"/>
                    <a:pt x="16" y="295"/>
                  </a:cubicBezTo>
                  <a:cubicBezTo>
                    <a:pt x="16" y="295"/>
                    <a:pt x="15" y="295"/>
                    <a:pt x="15" y="295"/>
                  </a:cubicBezTo>
                  <a:cubicBezTo>
                    <a:pt x="15" y="295"/>
                    <a:pt x="15" y="294"/>
                    <a:pt x="15" y="294"/>
                  </a:cubicBezTo>
                  <a:cubicBezTo>
                    <a:pt x="15" y="294"/>
                    <a:pt x="15" y="294"/>
                    <a:pt x="15" y="294"/>
                  </a:cubicBezTo>
                  <a:cubicBezTo>
                    <a:pt x="15" y="293"/>
                    <a:pt x="15" y="293"/>
                    <a:pt x="15" y="293"/>
                  </a:cubicBezTo>
                  <a:cubicBezTo>
                    <a:pt x="15" y="293"/>
                    <a:pt x="14" y="293"/>
                    <a:pt x="14" y="293"/>
                  </a:cubicBezTo>
                  <a:cubicBezTo>
                    <a:pt x="14" y="292"/>
                    <a:pt x="14" y="292"/>
                    <a:pt x="14" y="292"/>
                  </a:cubicBezTo>
                  <a:cubicBezTo>
                    <a:pt x="14" y="292"/>
                    <a:pt x="14" y="292"/>
                    <a:pt x="14" y="292"/>
                  </a:cubicBezTo>
                  <a:cubicBezTo>
                    <a:pt x="14" y="291"/>
                    <a:pt x="14" y="291"/>
                    <a:pt x="14" y="291"/>
                  </a:cubicBezTo>
                  <a:cubicBezTo>
                    <a:pt x="13" y="291"/>
                    <a:pt x="13" y="291"/>
                    <a:pt x="13" y="291"/>
                  </a:cubicBezTo>
                  <a:cubicBezTo>
                    <a:pt x="13" y="290"/>
                    <a:pt x="13" y="290"/>
                    <a:pt x="13" y="289"/>
                  </a:cubicBezTo>
                  <a:cubicBezTo>
                    <a:pt x="13" y="289"/>
                    <a:pt x="13" y="289"/>
                    <a:pt x="13" y="289"/>
                  </a:cubicBezTo>
                  <a:cubicBezTo>
                    <a:pt x="13" y="289"/>
                    <a:pt x="13" y="289"/>
                    <a:pt x="13" y="288"/>
                  </a:cubicBezTo>
                  <a:cubicBezTo>
                    <a:pt x="12" y="288"/>
                    <a:pt x="12" y="288"/>
                    <a:pt x="12" y="288"/>
                  </a:cubicBezTo>
                  <a:cubicBezTo>
                    <a:pt x="12" y="288"/>
                    <a:pt x="12" y="287"/>
                    <a:pt x="12" y="287"/>
                  </a:cubicBezTo>
                  <a:cubicBezTo>
                    <a:pt x="12" y="287"/>
                    <a:pt x="12" y="287"/>
                    <a:pt x="12" y="287"/>
                  </a:cubicBezTo>
                  <a:cubicBezTo>
                    <a:pt x="12" y="287"/>
                    <a:pt x="12" y="287"/>
                    <a:pt x="12" y="286"/>
                  </a:cubicBezTo>
                  <a:cubicBezTo>
                    <a:pt x="12" y="286"/>
                    <a:pt x="12" y="286"/>
                    <a:pt x="11" y="286"/>
                  </a:cubicBezTo>
                  <a:cubicBezTo>
                    <a:pt x="11" y="286"/>
                    <a:pt x="11" y="285"/>
                    <a:pt x="11" y="285"/>
                  </a:cubicBezTo>
                  <a:cubicBezTo>
                    <a:pt x="11" y="285"/>
                    <a:pt x="11" y="285"/>
                    <a:pt x="11" y="285"/>
                  </a:cubicBezTo>
                  <a:cubicBezTo>
                    <a:pt x="11" y="284"/>
                    <a:pt x="11" y="284"/>
                    <a:pt x="10" y="283"/>
                  </a:cubicBezTo>
                  <a:cubicBezTo>
                    <a:pt x="10" y="283"/>
                    <a:pt x="10" y="283"/>
                    <a:pt x="10" y="283"/>
                  </a:cubicBezTo>
                  <a:cubicBezTo>
                    <a:pt x="10" y="282"/>
                    <a:pt x="10" y="282"/>
                    <a:pt x="10" y="281"/>
                  </a:cubicBezTo>
                  <a:cubicBezTo>
                    <a:pt x="10" y="281"/>
                    <a:pt x="9" y="281"/>
                    <a:pt x="9" y="281"/>
                  </a:cubicBezTo>
                  <a:cubicBezTo>
                    <a:pt x="9" y="280"/>
                    <a:pt x="9" y="278"/>
                    <a:pt x="9" y="277"/>
                  </a:cubicBezTo>
                  <a:cubicBezTo>
                    <a:pt x="7" y="271"/>
                    <a:pt x="6" y="265"/>
                    <a:pt x="4" y="259"/>
                  </a:cubicBezTo>
                  <a:cubicBezTo>
                    <a:pt x="4" y="253"/>
                    <a:pt x="3" y="246"/>
                    <a:pt x="2" y="239"/>
                  </a:cubicBezTo>
                  <a:cubicBezTo>
                    <a:pt x="2" y="239"/>
                    <a:pt x="2" y="239"/>
                    <a:pt x="2" y="239"/>
                  </a:cubicBezTo>
                  <a:cubicBezTo>
                    <a:pt x="2" y="238"/>
                    <a:pt x="2" y="237"/>
                    <a:pt x="2" y="236"/>
                  </a:cubicBezTo>
                  <a:cubicBezTo>
                    <a:pt x="2" y="236"/>
                    <a:pt x="2" y="236"/>
                    <a:pt x="2" y="236"/>
                  </a:cubicBezTo>
                  <a:cubicBezTo>
                    <a:pt x="2" y="234"/>
                    <a:pt x="2" y="233"/>
                    <a:pt x="2" y="232"/>
                  </a:cubicBezTo>
                  <a:cubicBezTo>
                    <a:pt x="2" y="232"/>
                    <a:pt x="1" y="232"/>
                    <a:pt x="1" y="232"/>
                  </a:cubicBezTo>
                  <a:cubicBezTo>
                    <a:pt x="1" y="231"/>
                    <a:pt x="1" y="230"/>
                    <a:pt x="1" y="229"/>
                  </a:cubicBezTo>
                  <a:cubicBezTo>
                    <a:pt x="1" y="229"/>
                    <a:pt x="1" y="229"/>
                    <a:pt x="1" y="229"/>
                  </a:cubicBezTo>
                  <a:cubicBezTo>
                    <a:pt x="1" y="227"/>
                    <a:pt x="1" y="226"/>
                    <a:pt x="1" y="225"/>
                  </a:cubicBezTo>
                  <a:cubicBezTo>
                    <a:pt x="1" y="225"/>
                    <a:pt x="1" y="225"/>
                    <a:pt x="1" y="225"/>
                  </a:cubicBezTo>
                  <a:cubicBezTo>
                    <a:pt x="1" y="224"/>
                    <a:pt x="1" y="223"/>
                    <a:pt x="1" y="222"/>
                  </a:cubicBezTo>
                  <a:cubicBezTo>
                    <a:pt x="1" y="222"/>
                    <a:pt x="0" y="222"/>
                    <a:pt x="0" y="222"/>
                  </a:cubicBezTo>
                  <a:cubicBezTo>
                    <a:pt x="0" y="220"/>
                    <a:pt x="0" y="219"/>
                    <a:pt x="0" y="218"/>
                  </a:cubicBezTo>
                  <a:cubicBezTo>
                    <a:pt x="0" y="218"/>
                    <a:pt x="0" y="218"/>
                    <a:pt x="0" y="218"/>
                  </a:cubicBezTo>
                  <a:cubicBezTo>
                    <a:pt x="0" y="218"/>
                    <a:pt x="0" y="217"/>
                    <a:pt x="0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214"/>
                    <a:pt x="0" y="211"/>
                    <a:pt x="0" y="208"/>
                  </a:cubicBezTo>
                  <a:cubicBezTo>
                    <a:pt x="0" y="208"/>
                    <a:pt x="0" y="207"/>
                    <a:pt x="0" y="207"/>
                  </a:cubicBezTo>
                  <a:cubicBezTo>
                    <a:pt x="0" y="207"/>
                    <a:pt x="1" y="207"/>
                    <a:pt x="1" y="207"/>
                  </a:cubicBezTo>
                  <a:cubicBezTo>
                    <a:pt x="1" y="205"/>
                    <a:pt x="1" y="204"/>
                    <a:pt x="1" y="202"/>
                  </a:cubicBezTo>
                  <a:cubicBezTo>
                    <a:pt x="1" y="200"/>
                    <a:pt x="1" y="199"/>
                    <a:pt x="1" y="197"/>
                  </a:cubicBezTo>
                  <a:cubicBezTo>
                    <a:pt x="1" y="197"/>
                    <a:pt x="1" y="197"/>
                    <a:pt x="1" y="197"/>
                  </a:cubicBezTo>
                  <a:cubicBezTo>
                    <a:pt x="1" y="194"/>
                    <a:pt x="1" y="191"/>
                    <a:pt x="1" y="187"/>
                  </a:cubicBezTo>
                  <a:cubicBezTo>
                    <a:pt x="1" y="187"/>
                    <a:pt x="1" y="187"/>
                    <a:pt x="1" y="187"/>
                  </a:cubicBezTo>
                  <a:cubicBezTo>
                    <a:pt x="1" y="184"/>
                    <a:pt x="1" y="181"/>
                    <a:pt x="1" y="178"/>
                  </a:cubicBezTo>
                  <a:cubicBezTo>
                    <a:pt x="1" y="178"/>
                    <a:pt x="2" y="178"/>
                    <a:pt x="2" y="178"/>
                  </a:cubicBezTo>
                  <a:cubicBezTo>
                    <a:pt x="2" y="174"/>
                    <a:pt x="2" y="171"/>
                    <a:pt x="2" y="168"/>
                  </a:cubicBezTo>
                  <a:cubicBezTo>
                    <a:pt x="2" y="168"/>
                    <a:pt x="2" y="168"/>
                    <a:pt x="2" y="168"/>
                  </a:cubicBezTo>
                  <a:cubicBezTo>
                    <a:pt x="2" y="166"/>
                    <a:pt x="2" y="165"/>
                    <a:pt x="2" y="164"/>
                  </a:cubicBezTo>
                  <a:cubicBezTo>
                    <a:pt x="2" y="162"/>
                    <a:pt x="2" y="159"/>
                    <a:pt x="2" y="157"/>
                  </a:cubicBezTo>
                  <a:cubicBezTo>
                    <a:pt x="3" y="154"/>
                    <a:pt x="2" y="151"/>
                    <a:pt x="3" y="148"/>
                  </a:cubicBezTo>
                  <a:cubicBezTo>
                    <a:pt x="3" y="147"/>
                    <a:pt x="3" y="142"/>
                    <a:pt x="2" y="141"/>
                  </a:cubicBezTo>
                  <a:cubicBezTo>
                    <a:pt x="2" y="139"/>
                    <a:pt x="2" y="137"/>
                    <a:pt x="2" y="136"/>
                  </a:cubicBezTo>
                  <a:cubicBezTo>
                    <a:pt x="2" y="136"/>
                    <a:pt x="2" y="136"/>
                    <a:pt x="2" y="136"/>
                  </a:cubicBezTo>
                  <a:cubicBezTo>
                    <a:pt x="2" y="129"/>
                    <a:pt x="1" y="123"/>
                    <a:pt x="1" y="116"/>
                  </a:cubicBezTo>
                  <a:cubicBezTo>
                    <a:pt x="2" y="116"/>
                    <a:pt x="2" y="115"/>
                    <a:pt x="3" y="115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4" y="114"/>
                    <a:pt x="4" y="114"/>
                    <a:pt x="4" y="114"/>
                  </a:cubicBezTo>
                  <a:cubicBezTo>
                    <a:pt x="4" y="114"/>
                    <a:pt x="4" y="113"/>
                    <a:pt x="4" y="113"/>
                  </a:cubicBezTo>
                  <a:cubicBezTo>
                    <a:pt x="5" y="113"/>
                    <a:pt x="5" y="113"/>
                    <a:pt x="6" y="113"/>
                  </a:cubicBezTo>
                  <a:cubicBezTo>
                    <a:pt x="6" y="113"/>
                    <a:pt x="6" y="113"/>
                    <a:pt x="6" y="113"/>
                  </a:cubicBezTo>
                  <a:cubicBezTo>
                    <a:pt x="6" y="113"/>
                    <a:pt x="6" y="113"/>
                    <a:pt x="6" y="113"/>
                  </a:cubicBezTo>
                  <a:cubicBezTo>
                    <a:pt x="6" y="112"/>
                    <a:pt x="6" y="112"/>
                    <a:pt x="7" y="112"/>
                  </a:cubicBezTo>
                  <a:cubicBezTo>
                    <a:pt x="7" y="112"/>
                    <a:pt x="8" y="112"/>
                    <a:pt x="8" y="111"/>
                  </a:cubicBezTo>
                  <a:cubicBezTo>
                    <a:pt x="8" y="111"/>
                    <a:pt x="8" y="111"/>
                    <a:pt x="8" y="111"/>
                  </a:cubicBezTo>
                  <a:cubicBezTo>
                    <a:pt x="9" y="111"/>
                    <a:pt x="10" y="110"/>
                    <a:pt x="10" y="110"/>
                  </a:cubicBezTo>
                  <a:cubicBezTo>
                    <a:pt x="11" y="110"/>
                    <a:pt x="11" y="110"/>
                    <a:pt x="11" y="109"/>
                  </a:cubicBezTo>
                  <a:cubicBezTo>
                    <a:pt x="11" y="109"/>
                    <a:pt x="12" y="109"/>
                    <a:pt x="13" y="109"/>
                  </a:cubicBezTo>
                  <a:cubicBezTo>
                    <a:pt x="13" y="108"/>
                    <a:pt x="13" y="108"/>
                    <a:pt x="13" y="108"/>
                  </a:cubicBezTo>
                  <a:cubicBezTo>
                    <a:pt x="14" y="108"/>
                    <a:pt x="14" y="108"/>
                    <a:pt x="15" y="108"/>
                  </a:cubicBezTo>
                  <a:cubicBezTo>
                    <a:pt x="15" y="107"/>
                    <a:pt x="15" y="107"/>
                    <a:pt x="15" y="107"/>
                  </a:cubicBezTo>
                  <a:cubicBezTo>
                    <a:pt x="16" y="107"/>
                    <a:pt x="16" y="106"/>
                    <a:pt x="17" y="106"/>
                  </a:cubicBezTo>
                  <a:cubicBezTo>
                    <a:pt x="17" y="106"/>
                    <a:pt x="17" y="106"/>
                    <a:pt x="17" y="106"/>
                  </a:cubicBezTo>
                  <a:cubicBezTo>
                    <a:pt x="18" y="106"/>
                    <a:pt x="18" y="106"/>
                    <a:pt x="18" y="106"/>
                  </a:cubicBezTo>
                  <a:cubicBezTo>
                    <a:pt x="18" y="105"/>
                    <a:pt x="18" y="105"/>
                    <a:pt x="18" y="105"/>
                  </a:cubicBezTo>
                  <a:cubicBezTo>
                    <a:pt x="18" y="105"/>
                    <a:pt x="19" y="105"/>
                    <a:pt x="19" y="105"/>
                  </a:cubicBezTo>
                  <a:cubicBezTo>
                    <a:pt x="19" y="105"/>
                    <a:pt x="19" y="105"/>
                    <a:pt x="19" y="104"/>
                  </a:cubicBezTo>
                  <a:cubicBezTo>
                    <a:pt x="19" y="104"/>
                    <a:pt x="20" y="104"/>
                    <a:pt x="20" y="104"/>
                  </a:cubicBezTo>
                  <a:cubicBezTo>
                    <a:pt x="20" y="104"/>
                    <a:pt x="20" y="104"/>
                    <a:pt x="20" y="104"/>
                  </a:cubicBezTo>
                  <a:cubicBezTo>
                    <a:pt x="20" y="104"/>
                    <a:pt x="21" y="104"/>
                    <a:pt x="21" y="104"/>
                  </a:cubicBezTo>
                  <a:cubicBezTo>
                    <a:pt x="21" y="104"/>
                    <a:pt x="21" y="103"/>
                    <a:pt x="21" y="103"/>
                  </a:cubicBezTo>
                  <a:cubicBezTo>
                    <a:pt x="22" y="103"/>
                    <a:pt x="22" y="103"/>
                    <a:pt x="22" y="103"/>
                  </a:cubicBezTo>
                  <a:cubicBezTo>
                    <a:pt x="22" y="103"/>
                    <a:pt x="22" y="103"/>
                    <a:pt x="22" y="102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23" y="102"/>
                    <a:pt x="24" y="102"/>
                    <a:pt x="24" y="102"/>
                  </a:cubicBezTo>
                  <a:cubicBezTo>
                    <a:pt x="24" y="101"/>
                    <a:pt x="24" y="101"/>
                    <a:pt x="24" y="101"/>
                  </a:cubicBezTo>
                  <a:cubicBezTo>
                    <a:pt x="25" y="101"/>
                    <a:pt x="25" y="101"/>
                    <a:pt x="25" y="101"/>
                  </a:cubicBezTo>
                  <a:cubicBezTo>
                    <a:pt x="25" y="101"/>
                    <a:pt x="26" y="100"/>
                    <a:pt x="26" y="100"/>
                  </a:cubicBezTo>
                  <a:cubicBezTo>
                    <a:pt x="26" y="100"/>
                    <a:pt x="26" y="100"/>
                    <a:pt x="27" y="100"/>
                  </a:cubicBezTo>
                  <a:cubicBezTo>
                    <a:pt x="27" y="100"/>
                    <a:pt x="27" y="99"/>
                    <a:pt x="27" y="99"/>
                  </a:cubicBezTo>
                  <a:cubicBezTo>
                    <a:pt x="27" y="99"/>
                    <a:pt x="28" y="99"/>
                    <a:pt x="28" y="99"/>
                  </a:cubicBezTo>
                  <a:cubicBezTo>
                    <a:pt x="28" y="98"/>
                    <a:pt x="29" y="98"/>
                    <a:pt x="29" y="97"/>
                  </a:cubicBezTo>
                  <a:cubicBezTo>
                    <a:pt x="29" y="97"/>
                    <a:pt x="29" y="97"/>
                    <a:pt x="30" y="97"/>
                  </a:cubicBezTo>
                  <a:cubicBezTo>
                    <a:pt x="31" y="96"/>
                    <a:pt x="32" y="95"/>
                    <a:pt x="34" y="93"/>
                  </a:cubicBezTo>
                  <a:cubicBezTo>
                    <a:pt x="34" y="93"/>
                    <a:pt x="35" y="92"/>
                    <a:pt x="36" y="91"/>
                  </a:cubicBezTo>
                  <a:cubicBezTo>
                    <a:pt x="36" y="91"/>
                    <a:pt x="36" y="91"/>
                    <a:pt x="36" y="90"/>
                  </a:cubicBezTo>
                  <a:cubicBezTo>
                    <a:pt x="36" y="90"/>
                    <a:pt x="37" y="90"/>
                    <a:pt x="37" y="89"/>
                  </a:cubicBezTo>
                  <a:cubicBezTo>
                    <a:pt x="37" y="89"/>
                    <a:pt x="37" y="89"/>
                    <a:pt x="37" y="89"/>
                  </a:cubicBezTo>
                  <a:cubicBezTo>
                    <a:pt x="38" y="89"/>
                    <a:pt x="38" y="88"/>
                    <a:pt x="38" y="88"/>
                  </a:cubicBezTo>
                  <a:cubicBezTo>
                    <a:pt x="38" y="88"/>
                    <a:pt x="38" y="88"/>
                    <a:pt x="38" y="88"/>
                  </a:cubicBezTo>
                  <a:cubicBezTo>
                    <a:pt x="38" y="87"/>
                    <a:pt x="39" y="87"/>
                    <a:pt x="39" y="87"/>
                  </a:cubicBezTo>
                  <a:cubicBezTo>
                    <a:pt x="39" y="86"/>
                    <a:pt x="40" y="86"/>
                    <a:pt x="40" y="85"/>
                  </a:cubicBezTo>
                  <a:cubicBezTo>
                    <a:pt x="40" y="85"/>
                    <a:pt x="40" y="85"/>
                    <a:pt x="41" y="85"/>
                  </a:cubicBezTo>
                  <a:cubicBezTo>
                    <a:pt x="41" y="84"/>
                    <a:pt x="41" y="84"/>
                    <a:pt x="41" y="84"/>
                  </a:cubicBezTo>
                  <a:cubicBezTo>
                    <a:pt x="41" y="84"/>
                    <a:pt x="41" y="84"/>
                    <a:pt x="41" y="84"/>
                  </a:cubicBezTo>
                  <a:cubicBezTo>
                    <a:pt x="41" y="83"/>
                    <a:pt x="41" y="83"/>
                    <a:pt x="41" y="83"/>
                  </a:cubicBezTo>
                  <a:cubicBezTo>
                    <a:pt x="41" y="83"/>
                    <a:pt x="41" y="83"/>
                    <a:pt x="41" y="83"/>
                  </a:cubicBezTo>
                  <a:cubicBezTo>
                    <a:pt x="41" y="82"/>
                    <a:pt x="41" y="82"/>
                    <a:pt x="42" y="81"/>
                  </a:cubicBezTo>
                  <a:cubicBezTo>
                    <a:pt x="42" y="81"/>
                    <a:pt x="42" y="81"/>
                    <a:pt x="42" y="81"/>
                  </a:cubicBezTo>
                  <a:cubicBezTo>
                    <a:pt x="42" y="80"/>
                    <a:pt x="43" y="78"/>
                    <a:pt x="43" y="77"/>
                  </a:cubicBezTo>
                  <a:cubicBezTo>
                    <a:pt x="46" y="69"/>
                    <a:pt x="45" y="59"/>
                    <a:pt x="45" y="49"/>
                  </a:cubicBezTo>
                  <a:cubicBezTo>
                    <a:pt x="47" y="48"/>
                    <a:pt x="48" y="46"/>
                    <a:pt x="49" y="45"/>
                  </a:cubicBezTo>
                  <a:cubicBezTo>
                    <a:pt x="51" y="43"/>
                    <a:pt x="53" y="41"/>
                    <a:pt x="56" y="39"/>
                  </a:cubicBezTo>
                  <a:cubicBezTo>
                    <a:pt x="60" y="34"/>
                    <a:pt x="65" y="30"/>
                    <a:pt x="69" y="24"/>
                  </a:cubicBezTo>
                  <a:cubicBezTo>
                    <a:pt x="70" y="24"/>
                    <a:pt x="70" y="23"/>
                    <a:pt x="71" y="23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2" y="21"/>
                    <a:pt x="72" y="21"/>
                    <a:pt x="72" y="21"/>
                  </a:cubicBezTo>
                  <a:cubicBezTo>
                    <a:pt x="72" y="21"/>
                    <a:pt x="72" y="20"/>
                    <a:pt x="72" y="20"/>
                  </a:cubicBezTo>
                  <a:cubicBezTo>
                    <a:pt x="73" y="20"/>
                    <a:pt x="73" y="19"/>
                    <a:pt x="74" y="19"/>
                  </a:cubicBezTo>
                  <a:cubicBezTo>
                    <a:pt x="74" y="19"/>
                    <a:pt x="74" y="19"/>
                    <a:pt x="74" y="18"/>
                  </a:cubicBezTo>
                  <a:cubicBezTo>
                    <a:pt x="74" y="18"/>
                    <a:pt x="75" y="18"/>
                    <a:pt x="75" y="17"/>
                  </a:cubicBezTo>
                  <a:cubicBezTo>
                    <a:pt x="75" y="17"/>
                    <a:pt x="75" y="17"/>
                    <a:pt x="75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16"/>
                    <a:pt x="76" y="16"/>
                    <a:pt x="76" y="15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77" y="14"/>
                    <a:pt x="77" y="14"/>
                    <a:pt x="77" y="14"/>
                  </a:cubicBezTo>
                  <a:cubicBezTo>
                    <a:pt x="77" y="14"/>
                    <a:pt x="78" y="14"/>
                    <a:pt x="78" y="14"/>
                  </a:cubicBezTo>
                  <a:cubicBezTo>
                    <a:pt x="78" y="13"/>
                    <a:pt x="78" y="13"/>
                    <a:pt x="78" y="13"/>
                  </a:cubicBezTo>
                  <a:cubicBezTo>
                    <a:pt x="78" y="13"/>
                    <a:pt x="79" y="12"/>
                    <a:pt x="79" y="12"/>
                  </a:cubicBezTo>
                  <a:cubicBezTo>
                    <a:pt x="79" y="12"/>
                    <a:pt x="79" y="12"/>
                    <a:pt x="79" y="11"/>
                  </a:cubicBezTo>
                  <a:cubicBezTo>
                    <a:pt x="79" y="11"/>
                    <a:pt x="79" y="11"/>
                    <a:pt x="80" y="11"/>
                  </a:cubicBezTo>
                  <a:cubicBezTo>
                    <a:pt x="80" y="11"/>
                    <a:pt x="80" y="11"/>
                    <a:pt x="80" y="10"/>
                  </a:cubicBezTo>
                  <a:cubicBezTo>
                    <a:pt x="80" y="10"/>
                    <a:pt x="80" y="10"/>
                    <a:pt x="80" y="10"/>
                  </a:cubicBezTo>
                  <a:cubicBezTo>
                    <a:pt x="80" y="10"/>
                    <a:pt x="81" y="9"/>
                    <a:pt x="81" y="9"/>
                  </a:cubicBezTo>
                  <a:cubicBezTo>
                    <a:pt x="81" y="9"/>
                    <a:pt x="81" y="9"/>
                    <a:pt x="82" y="8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7"/>
                    <a:pt x="83" y="7"/>
                    <a:pt x="83" y="7"/>
                  </a:cubicBezTo>
                  <a:cubicBezTo>
                    <a:pt x="83" y="6"/>
                    <a:pt x="83" y="6"/>
                    <a:pt x="83" y="6"/>
                  </a:cubicBezTo>
                  <a:cubicBezTo>
                    <a:pt x="84" y="6"/>
                    <a:pt x="84" y="5"/>
                    <a:pt x="84" y="5"/>
                  </a:cubicBezTo>
                  <a:cubicBezTo>
                    <a:pt x="85" y="4"/>
                    <a:pt x="87" y="2"/>
                    <a:pt x="88" y="1"/>
                  </a:cubicBezTo>
                  <a:cubicBezTo>
                    <a:pt x="89" y="1"/>
                    <a:pt x="89" y="1"/>
                    <a:pt x="89" y="1"/>
                  </a:cubicBezTo>
                  <a:cubicBezTo>
                    <a:pt x="89" y="1"/>
                    <a:pt x="89" y="1"/>
                    <a:pt x="89" y="1"/>
                  </a:cubicBezTo>
                  <a:cubicBezTo>
                    <a:pt x="91" y="0"/>
                    <a:pt x="95" y="0"/>
                    <a:pt x="97" y="0"/>
                  </a:cubicBezTo>
                  <a:cubicBezTo>
                    <a:pt x="97" y="0"/>
                    <a:pt x="98" y="1"/>
                    <a:pt x="98" y="1"/>
                  </a:cubicBezTo>
                  <a:cubicBezTo>
                    <a:pt x="99" y="1"/>
                    <a:pt x="100" y="1"/>
                    <a:pt x="101" y="1"/>
                  </a:cubicBezTo>
                  <a:cubicBezTo>
                    <a:pt x="101" y="1"/>
                    <a:pt x="101" y="1"/>
                    <a:pt x="101" y="1"/>
                  </a:cubicBezTo>
                  <a:cubicBezTo>
                    <a:pt x="102" y="1"/>
                    <a:pt x="103" y="1"/>
                    <a:pt x="105" y="1"/>
                  </a:cubicBezTo>
                  <a:cubicBezTo>
                    <a:pt x="105" y="1"/>
                    <a:pt x="105" y="1"/>
                    <a:pt x="105" y="1"/>
                  </a:cubicBezTo>
                  <a:cubicBezTo>
                    <a:pt x="106" y="1"/>
                    <a:pt x="107" y="1"/>
                    <a:pt x="108" y="1"/>
                  </a:cubicBezTo>
                  <a:cubicBezTo>
                    <a:pt x="110" y="1"/>
                    <a:pt x="113" y="1"/>
                    <a:pt x="115" y="2"/>
                  </a:cubicBezTo>
                  <a:cubicBezTo>
                    <a:pt x="116" y="2"/>
                    <a:pt x="116" y="2"/>
                    <a:pt x="117" y="2"/>
                  </a:cubicBezTo>
                  <a:cubicBezTo>
                    <a:pt x="117" y="3"/>
                    <a:pt x="117" y="3"/>
                    <a:pt x="117" y="3"/>
                  </a:cubicBezTo>
                  <a:cubicBezTo>
                    <a:pt x="118" y="3"/>
                    <a:pt x="118" y="4"/>
                    <a:pt x="118" y="4"/>
                  </a:cubicBezTo>
                  <a:cubicBezTo>
                    <a:pt x="119" y="5"/>
                    <a:pt x="120" y="9"/>
                    <a:pt x="119" y="10"/>
                  </a:cubicBezTo>
                  <a:cubicBezTo>
                    <a:pt x="119" y="10"/>
                    <a:pt x="119" y="10"/>
                    <a:pt x="119" y="10"/>
                  </a:cubicBezTo>
                  <a:cubicBezTo>
                    <a:pt x="119" y="11"/>
                    <a:pt x="119" y="12"/>
                    <a:pt x="119" y="12"/>
                  </a:cubicBezTo>
                  <a:cubicBezTo>
                    <a:pt x="119" y="12"/>
                    <a:pt x="119" y="12"/>
                    <a:pt x="118" y="12"/>
                  </a:cubicBezTo>
                  <a:cubicBezTo>
                    <a:pt x="118" y="13"/>
                    <a:pt x="118" y="13"/>
                    <a:pt x="118" y="14"/>
                  </a:cubicBezTo>
                  <a:cubicBezTo>
                    <a:pt x="118" y="14"/>
                    <a:pt x="118" y="14"/>
                    <a:pt x="118" y="14"/>
                  </a:cubicBezTo>
                  <a:cubicBezTo>
                    <a:pt x="118" y="14"/>
                    <a:pt x="118" y="15"/>
                    <a:pt x="118" y="15"/>
                  </a:cubicBezTo>
                  <a:cubicBezTo>
                    <a:pt x="118" y="15"/>
                    <a:pt x="118" y="15"/>
                    <a:pt x="118" y="15"/>
                  </a:cubicBezTo>
                  <a:cubicBezTo>
                    <a:pt x="118" y="16"/>
                    <a:pt x="118" y="16"/>
                    <a:pt x="118" y="17"/>
                  </a:cubicBezTo>
                  <a:cubicBezTo>
                    <a:pt x="118" y="17"/>
                    <a:pt x="118" y="17"/>
                    <a:pt x="117" y="17"/>
                  </a:cubicBezTo>
                  <a:cubicBezTo>
                    <a:pt x="117" y="17"/>
                    <a:pt x="117" y="18"/>
                    <a:pt x="117" y="19"/>
                  </a:cubicBezTo>
                  <a:cubicBezTo>
                    <a:pt x="117" y="19"/>
                    <a:pt x="117" y="19"/>
                    <a:pt x="117" y="19"/>
                  </a:cubicBezTo>
                  <a:cubicBezTo>
                    <a:pt x="117" y="19"/>
                    <a:pt x="117" y="20"/>
                    <a:pt x="117" y="20"/>
                  </a:cubicBezTo>
                  <a:cubicBezTo>
                    <a:pt x="117" y="20"/>
                    <a:pt x="117" y="20"/>
                    <a:pt x="116" y="20"/>
                  </a:cubicBezTo>
                  <a:cubicBezTo>
                    <a:pt x="116" y="21"/>
                    <a:pt x="116" y="21"/>
                    <a:pt x="116" y="22"/>
                  </a:cubicBezTo>
                  <a:cubicBezTo>
                    <a:pt x="116" y="22"/>
                    <a:pt x="116" y="22"/>
                    <a:pt x="116" y="22"/>
                  </a:cubicBezTo>
                  <a:cubicBezTo>
                    <a:pt x="116" y="22"/>
                    <a:pt x="116" y="22"/>
                    <a:pt x="116" y="23"/>
                  </a:cubicBezTo>
                  <a:cubicBezTo>
                    <a:pt x="116" y="23"/>
                    <a:pt x="116" y="23"/>
                    <a:pt x="116" y="23"/>
                  </a:cubicBezTo>
                  <a:cubicBezTo>
                    <a:pt x="116" y="23"/>
                    <a:pt x="115" y="24"/>
                    <a:pt x="115" y="25"/>
                  </a:cubicBezTo>
                  <a:cubicBezTo>
                    <a:pt x="115" y="25"/>
                    <a:pt x="115" y="25"/>
                    <a:pt x="115" y="25"/>
                  </a:cubicBezTo>
                  <a:cubicBezTo>
                    <a:pt x="115" y="26"/>
                    <a:pt x="115" y="26"/>
                    <a:pt x="115" y="26"/>
                  </a:cubicBezTo>
                  <a:cubicBezTo>
                    <a:pt x="115" y="26"/>
                    <a:pt x="115" y="26"/>
                    <a:pt x="115" y="26"/>
                  </a:cubicBezTo>
                  <a:cubicBezTo>
                    <a:pt x="115" y="27"/>
                    <a:pt x="114" y="28"/>
                    <a:pt x="114" y="29"/>
                  </a:cubicBezTo>
                  <a:cubicBezTo>
                    <a:pt x="114" y="29"/>
                    <a:pt x="114" y="29"/>
                    <a:pt x="114" y="29"/>
                  </a:cubicBezTo>
                  <a:cubicBezTo>
                    <a:pt x="114" y="30"/>
                    <a:pt x="114" y="30"/>
                    <a:pt x="114" y="31"/>
                  </a:cubicBezTo>
                  <a:cubicBezTo>
                    <a:pt x="114" y="31"/>
                    <a:pt x="114" y="31"/>
                    <a:pt x="114" y="31"/>
                  </a:cubicBezTo>
                  <a:cubicBezTo>
                    <a:pt x="113" y="33"/>
                    <a:pt x="113" y="34"/>
                    <a:pt x="113" y="36"/>
                  </a:cubicBezTo>
                  <a:cubicBezTo>
                    <a:pt x="113" y="36"/>
                    <a:pt x="113" y="36"/>
                    <a:pt x="113" y="36"/>
                  </a:cubicBezTo>
                  <a:cubicBezTo>
                    <a:pt x="112" y="37"/>
                    <a:pt x="113" y="44"/>
                    <a:pt x="113" y="45"/>
                  </a:cubicBezTo>
                  <a:cubicBezTo>
                    <a:pt x="113" y="45"/>
                    <a:pt x="113" y="45"/>
                    <a:pt x="114" y="45"/>
                  </a:cubicBezTo>
                  <a:cubicBezTo>
                    <a:pt x="114" y="45"/>
                    <a:pt x="114" y="46"/>
                    <a:pt x="114" y="46"/>
                  </a:cubicBezTo>
                  <a:cubicBezTo>
                    <a:pt x="114" y="46"/>
                    <a:pt x="114" y="46"/>
                    <a:pt x="114" y="46"/>
                  </a:cubicBezTo>
                  <a:cubicBezTo>
                    <a:pt x="114" y="47"/>
                    <a:pt x="114" y="47"/>
                    <a:pt x="114" y="47"/>
                  </a:cubicBezTo>
                  <a:cubicBezTo>
                    <a:pt x="114" y="47"/>
                    <a:pt x="114" y="47"/>
                    <a:pt x="114" y="47"/>
                  </a:cubicBezTo>
                  <a:cubicBezTo>
                    <a:pt x="114" y="48"/>
                    <a:pt x="114" y="48"/>
                    <a:pt x="114" y="48"/>
                  </a:cubicBezTo>
                  <a:cubicBezTo>
                    <a:pt x="114" y="48"/>
                    <a:pt x="115" y="48"/>
                    <a:pt x="115" y="48"/>
                  </a:cubicBezTo>
                  <a:cubicBezTo>
                    <a:pt x="115" y="49"/>
                    <a:pt x="115" y="49"/>
                    <a:pt x="115" y="50"/>
                  </a:cubicBezTo>
                  <a:cubicBezTo>
                    <a:pt x="115" y="50"/>
                    <a:pt x="115" y="50"/>
                    <a:pt x="115" y="50"/>
                  </a:cubicBezTo>
                  <a:cubicBezTo>
                    <a:pt x="115" y="50"/>
                    <a:pt x="116" y="51"/>
                    <a:pt x="116" y="51"/>
                  </a:cubicBezTo>
                  <a:cubicBezTo>
                    <a:pt x="116" y="51"/>
                    <a:pt x="116" y="51"/>
                    <a:pt x="116" y="51"/>
                  </a:cubicBezTo>
                  <a:cubicBezTo>
                    <a:pt x="116" y="52"/>
                    <a:pt x="116" y="52"/>
                    <a:pt x="116" y="5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53"/>
                    <a:pt x="118" y="53"/>
                    <a:pt x="118" y="54"/>
                  </a:cubicBezTo>
                  <a:cubicBezTo>
                    <a:pt x="118" y="54"/>
                    <a:pt x="119" y="54"/>
                    <a:pt x="119" y="54"/>
                  </a:cubicBezTo>
                  <a:cubicBezTo>
                    <a:pt x="119" y="54"/>
                    <a:pt x="119" y="54"/>
                    <a:pt x="119" y="54"/>
                  </a:cubicBezTo>
                  <a:cubicBezTo>
                    <a:pt x="121" y="55"/>
                    <a:pt x="122" y="55"/>
                    <a:pt x="124" y="55"/>
                  </a:cubicBezTo>
                  <a:cubicBezTo>
                    <a:pt x="124" y="55"/>
                    <a:pt x="124" y="55"/>
                    <a:pt x="124" y="54"/>
                  </a:cubicBezTo>
                  <a:cubicBezTo>
                    <a:pt x="124" y="54"/>
                    <a:pt x="125" y="54"/>
                    <a:pt x="125" y="54"/>
                  </a:cubicBezTo>
                  <a:cubicBezTo>
                    <a:pt x="125" y="54"/>
                    <a:pt x="125" y="54"/>
                    <a:pt x="125" y="54"/>
                  </a:cubicBezTo>
                  <a:cubicBezTo>
                    <a:pt x="126" y="54"/>
                    <a:pt x="126" y="54"/>
                    <a:pt x="127" y="54"/>
                  </a:cubicBezTo>
                  <a:cubicBezTo>
                    <a:pt x="127" y="54"/>
                    <a:pt x="127" y="53"/>
                    <a:pt x="127" y="53"/>
                  </a:cubicBezTo>
                  <a:cubicBezTo>
                    <a:pt x="127" y="53"/>
                    <a:pt x="127" y="53"/>
                    <a:pt x="128" y="53"/>
                  </a:cubicBezTo>
                  <a:cubicBezTo>
                    <a:pt x="128" y="53"/>
                    <a:pt x="128" y="53"/>
                    <a:pt x="128" y="52"/>
                  </a:cubicBezTo>
                  <a:cubicBezTo>
                    <a:pt x="128" y="52"/>
                    <a:pt x="128" y="52"/>
                    <a:pt x="129" y="52"/>
                  </a:cubicBezTo>
                  <a:cubicBezTo>
                    <a:pt x="129" y="52"/>
                    <a:pt x="129" y="51"/>
                    <a:pt x="130" y="51"/>
                  </a:cubicBezTo>
                  <a:cubicBezTo>
                    <a:pt x="130" y="51"/>
                    <a:pt x="130" y="51"/>
                    <a:pt x="130" y="51"/>
                  </a:cubicBezTo>
                  <a:cubicBezTo>
                    <a:pt x="131" y="51"/>
                    <a:pt x="131" y="50"/>
                    <a:pt x="131" y="50"/>
                  </a:cubicBezTo>
                  <a:cubicBezTo>
                    <a:pt x="131" y="50"/>
                    <a:pt x="132" y="49"/>
                    <a:pt x="133" y="49"/>
                  </a:cubicBezTo>
                  <a:cubicBezTo>
                    <a:pt x="133" y="48"/>
                    <a:pt x="133" y="48"/>
                    <a:pt x="133" y="48"/>
                  </a:cubicBezTo>
                  <a:cubicBezTo>
                    <a:pt x="133" y="47"/>
                    <a:pt x="134" y="47"/>
                    <a:pt x="135" y="46"/>
                  </a:cubicBezTo>
                  <a:cubicBezTo>
                    <a:pt x="135" y="46"/>
                    <a:pt x="135" y="46"/>
                    <a:pt x="135" y="46"/>
                  </a:cubicBezTo>
                  <a:cubicBezTo>
                    <a:pt x="135" y="45"/>
                    <a:pt x="136" y="45"/>
                    <a:pt x="136" y="45"/>
                  </a:cubicBezTo>
                  <a:cubicBezTo>
                    <a:pt x="136" y="44"/>
                    <a:pt x="136" y="44"/>
                    <a:pt x="136" y="44"/>
                  </a:cubicBezTo>
                  <a:cubicBezTo>
                    <a:pt x="136" y="44"/>
                    <a:pt x="136" y="44"/>
                    <a:pt x="137" y="44"/>
                  </a:cubicBezTo>
                  <a:cubicBezTo>
                    <a:pt x="137" y="43"/>
                    <a:pt x="137" y="43"/>
                    <a:pt x="137" y="43"/>
                  </a:cubicBezTo>
                  <a:cubicBezTo>
                    <a:pt x="137" y="43"/>
                    <a:pt x="137" y="42"/>
                    <a:pt x="138" y="42"/>
                  </a:cubicBezTo>
                  <a:cubicBezTo>
                    <a:pt x="138" y="42"/>
                    <a:pt x="138" y="42"/>
                    <a:pt x="138" y="42"/>
                  </a:cubicBezTo>
                  <a:cubicBezTo>
                    <a:pt x="138" y="41"/>
                    <a:pt x="138" y="41"/>
                    <a:pt x="138" y="41"/>
                  </a:cubicBezTo>
                  <a:cubicBezTo>
                    <a:pt x="138" y="41"/>
                    <a:pt x="138" y="41"/>
                    <a:pt x="138" y="40"/>
                  </a:cubicBezTo>
                  <a:cubicBezTo>
                    <a:pt x="139" y="40"/>
                    <a:pt x="139" y="40"/>
                    <a:pt x="139" y="40"/>
                  </a:cubicBezTo>
                  <a:cubicBezTo>
                    <a:pt x="139" y="40"/>
                    <a:pt x="139" y="39"/>
                    <a:pt x="139" y="39"/>
                  </a:cubicBezTo>
                  <a:cubicBezTo>
                    <a:pt x="140" y="39"/>
                    <a:pt x="140" y="39"/>
                    <a:pt x="140" y="39"/>
                  </a:cubicBezTo>
                  <a:cubicBezTo>
                    <a:pt x="140" y="39"/>
                    <a:pt x="140" y="38"/>
                    <a:pt x="140" y="38"/>
                  </a:cubicBezTo>
                  <a:cubicBezTo>
                    <a:pt x="140" y="38"/>
                    <a:pt x="141" y="37"/>
                    <a:pt x="141" y="37"/>
                  </a:cubicBezTo>
                  <a:cubicBezTo>
                    <a:pt x="141" y="37"/>
                    <a:pt x="141" y="36"/>
                    <a:pt x="141" y="36"/>
                  </a:cubicBezTo>
                  <a:cubicBezTo>
                    <a:pt x="141" y="36"/>
                    <a:pt x="142" y="36"/>
                    <a:pt x="142" y="36"/>
                  </a:cubicBezTo>
                  <a:cubicBezTo>
                    <a:pt x="142" y="35"/>
                    <a:pt x="142" y="35"/>
                    <a:pt x="142" y="35"/>
                  </a:cubicBezTo>
                  <a:cubicBezTo>
                    <a:pt x="142" y="34"/>
                    <a:pt x="143" y="34"/>
                    <a:pt x="143" y="32"/>
                  </a:cubicBezTo>
                  <a:cubicBezTo>
                    <a:pt x="143" y="32"/>
                    <a:pt x="144" y="32"/>
                    <a:pt x="144" y="32"/>
                  </a:cubicBezTo>
                  <a:cubicBezTo>
                    <a:pt x="144" y="36"/>
                    <a:pt x="144" y="40"/>
                    <a:pt x="144" y="44"/>
                  </a:cubicBezTo>
                  <a:cubicBezTo>
                    <a:pt x="143" y="44"/>
                    <a:pt x="143" y="47"/>
                    <a:pt x="143" y="49"/>
                  </a:cubicBezTo>
                  <a:cubicBezTo>
                    <a:pt x="143" y="52"/>
                    <a:pt x="143" y="56"/>
                    <a:pt x="143" y="60"/>
                  </a:cubicBezTo>
                  <a:cubicBezTo>
                    <a:pt x="143" y="60"/>
                    <a:pt x="143" y="60"/>
                    <a:pt x="143" y="60"/>
                  </a:cubicBezTo>
                  <a:cubicBezTo>
                    <a:pt x="143" y="62"/>
                    <a:pt x="142" y="65"/>
                    <a:pt x="142" y="68"/>
                  </a:cubicBezTo>
                  <a:cubicBezTo>
                    <a:pt x="142" y="69"/>
                    <a:pt x="142" y="70"/>
                    <a:pt x="142" y="72"/>
                  </a:cubicBezTo>
                  <a:cubicBezTo>
                    <a:pt x="142" y="72"/>
                    <a:pt x="142" y="72"/>
                    <a:pt x="142" y="72"/>
                  </a:cubicBezTo>
                  <a:cubicBezTo>
                    <a:pt x="142" y="73"/>
                    <a:pt x="142" y="75"/>
                    <a:pt x="142" y="77"/>
                  </a:cubicBezTo>
                  <a:cubicBezTo>
                    <a:pt x="142" y="77"/>
                    <a:pt x="142" y="77"/>
                    <a:pt x="142" y="77"/>
                  </a:cubicBezTo>
                  <a:cubicBezTo>
                    <a:pt x="142" y="77"/>
                    <a:pt x="142" y="78"/>
                    <a:pt x="142" y="78"/>
                  </a:cubicBezTo>
                  <a:cubicBezTo>
                    <a:pt x="142" y="79"/>
                    <a:pt x="142" y="81"/>
                    <a:pt x="142" y="82"/>
                  </a:cubicBezTo>
                  <a:cubicBezTo>
                    <a:pt x="141" y="82"/>
                    <a:pt x="141" y="82"/>
                    <a:pt x="141" y="82"/>
                  </a:cubicBezTo>
                  <a:cubicBezTo>
                    <a:pt x="141" y="83"/>
                    <a:pt x="141" y="85"/>
                    <a:pt x="141" y="86"/>
                  </a:cubicBezTo>
                  <a:cubicBezTo>
                    <a:pt x="141" y="86"/>
                    <a:pt x="141" y="86"/>
                    <a:pt x="141" y="86"/>
                  </a:cubicBezTo>
                  <a:cubicBezTo>
                    <a:pt x="141" y="88"/>
                    <a:pt x="141" y="89"/>
                    <a:pt x="141" y="90"/>
                  </a:cubicBezTo>
                  <a:cubicBezTo>
                    <a:pt x="141" y="90"/>
                    <a:pt x="141" y="90"/>
                    <a:pt x="141" y="90"/>
                  </a:cubicBezTo>
                  <a:cubicBezTo>
                    <a:pt x="141" y="92"/>
                    <a:pt x="141" y="93"/>
                    <a:pt x="141" y="94"/>
                  </a:cubicBezTo>
                  <a:cubicBezTo>
                    <a:pt x="140" y="94"/>
                    <a:pt x="140" y="94"/>
                    <a:pt x="140" y="94"/>
                  </a:cubicBezTo>
                  <a:cubicBezTo>
                    <a:pt x="140" y="95"/>
                    <a:pt x="140" y="97"/>
                    <a:pt x="140" y="98"/>
                  </a:cubicBezTo>
                  <a:cubicBezTo>
                    <a:pt x="140" y="98"/>
                    <a:pt x="140" y="98"/>
                    <a:pt x="140" y="98"/>
                  </a:cubicBezTo>
                  <a:cubicBezTo>
                    <a:pt x="140" y="99"/>
                    <a:pt x="140" y="100"/>
                    <a:pt x="140" y="101"/>
                  </a:cubicBezTo>
                  <a:cubicBezTo>
                    <a:pt x="140" y="101"/>
                    <a:pt x="140" y="101"/>
                    <a:pt x="139" y="101"/>
                  </a:cubicBezTo>
                  <a:cubicBezTo>
                    <a:pt x="139" y="104"/>
                    <a:pt x="139" y="106"/>
                    <a:pt x="139" y="108"/>
                  </a:cubicBezTo>
                  <a:cubicBezTo>
                    <a:pt x="138" y="111"/>
                    <a:pt x="138" y="116"/>
                    <a:pt x="137" y="119"/>
                  </a:cubicBezTo>
                  <a:cubicBezTo>
                    <a:pt x="137" y="120"/>
                    <a:pt x="137" y="121"/>
                    <a:pt x="137" y="122"/>
                  </a:cubicBezTo>
                  <a:cubicBezTo>
                    <a:pt x="137" y="124"/>
                    <a:pt x="137" y="126"/>
                    <a:pt x="136" y="128"/>
                  </a:cubicBezTo>
                  <a:cubicBezTo>
                    <a:pt x="136" y="129"/>
                    <a:pt x="136" y="130"/>
                    <a:pt x="136" y="131"/>
                  </a:cubicBezTo>
                  <a:cubicBezTo>
                    <a:pt x="136" y="131"/>
                    <a:pt x="136" y="131"/>
                    <a:pt x="136" y="131"/>
                  </a:cubicBezTo>
                  <a:cubicBezTo>
                    <a:pt x="135" y="133"/>
                    <a:pt x="135" y="134"/>
                    <a:pt x="135" y="136"/>
                  </a:cubicBezTo>
                  <a:cubicBezTo>
                    <a:pt x="135" y="136"/>
                    <a:pt x="135" y="136"/>
                    <a:pt x="135" y="136"/>
                  </a:cubicBezTo>
                  <a:cubicBezTo>
                    <a:pt x="134" y="137"/>
                    <a:pt x="134" y="139"/>
                    <a:pt x="134" y="140"/>
                  </a:cubicBezTo>
                  <a:cubicBezTo>
                    <a:pt x="133" y="143"/>
                    <a:pt x="133" y="147"/>
                    <a:pt x="131" y="150"/>
                  </a:cubicBezTo>
                  <a:cubicBezTo>
                    <a:pt x="131" y="151"/>
                    <a:pt x="131" y="151"/>
                    <a:pt x="131" y="152"/>
                  </a:cubicBezTo>
                  <a:cubicBezTo>
                    <a:pt x="131" y="152"/>
                    <a:pt x="131" y="152"/>
                    <a:pt x="131" y="152"/>
                  </a:cubicBezTo>
                  <a:cubicBezTo>
                    <a:pt x="131" y="152"/>
                    <a:pt x="131" y="152"/>
                    <a:pt x="131" y="153"/>
                  </a:cubicBezTo>
                  <a:cubicBezTo>
                    <a:pt x="131" y="153"/>
                    <a:pt x="131" y="153"/>
                    <a:pt x="131" y="153"/>
                  </a:cubicBezTo>
                  <a:cubicBezTo>
                    <a:pt x="131" y="153"/>
                    <a:pt x="131" y="154"/>
                    <a:pt x="131" y="154"/>
                  </a:cubicBezTo>
                  <a:cubicBezTo>
                    <a:pt x="131" y="154"/>
                    <a:pt x="131" y="154"/>
                    <a:pt x="130" y="154"/>
                  </a:cubicBezTo>
                  <a:cubicBezTo>
                    <a:pt x="130" y="154"/>
                    <a:pt x="130" y="155"/>
                    <a:pt x="130" y="155"/>
                  </a:cubicBezTo>
                  <a:cubicBezTo>
                    <a:pt x="130" y="155"/>
                    <a:pt x="130" y="155"/>
                    <a:pt x="130" y="155"/>
                  </a:cubicBezTo>
                  <a:cubicBezTo>
                    <a:pt x="130" y="156"/>
                    <a:pt x="130" y="156"/>
                    <a:pt x="130" y="156"/>
                  </a:cubicBezTo>
                  <a:cubicBezTo>
                    <a:pt x="130" y="156"/>
                    <a:pt x="130" y="156"/>
                    <a:pt x="130" y="156"/>
                  </a:cubicBezTo>
                  <a:cubicBezTo>
                    <a:pt x="130" y="157"/>
                    <a:pt x="130" y="157"/>
                    <a:pt x="130" y="157"/>
                  </a:cubicBezTo>
                  <a:cubicBezTo>
                    <a:pt x="130" y="157"/>
                    <a:pt x="129" y="157"/>
                    <a:pt x="129" y="157"/>
                  </a:cubicBezTo>
                  <a:cubicBezTo>
                    <a:pt x="129" y="158"/>
                    <a:pt x="129" y="158"/>
                    <a:pt x="129" y="158"/>
                  </a:cubicBezTo>
                  <a:cubicBezTo>
                    <a:pt x="129" y="158"/>
                    <a:pt x="129" y="158"/>
                    <a:pt x="129" y="158"/>
                  </a:cubicBezTo>
                  <a:cubicBezTo>
                    <a:pt x="129" y="159"/>
                    <a:pt x="129" y="159"/>
                    <a:pt x="129" y="159"/>
                  </a:cubicBezTo>
                  <a:cubicBezTo>
                    <a:pt x="129" y="159"/>
                    <a:pt x="129" y="159"/>
                    <a:pt x="129" y="159"/>
                  </a:cubicBezTo>
                  <a:cubicBezTo>
                    <a:pt x="129" y="160"/>
                    <a:pt x="129" y="160"/>
                    <a:pt x="129" y="160"/>
                  </a:cubicBezTo>
                  <a:cubicBezTo>
                    <a:pt x="129" y="160"/>
                    <a:pt x="128" y="160"/>
                    <a:pt x="128" y="160"/>
                  </a:cubicBezTo>
                  <a:cubicBezTo>
                    <a:pt x="128" y="161"/>
                    <a:pt x="128" y="161"/>
                    <a:pt x="128" y="161"/>
                  </a:cubicBezTo>
                  <a:cubicBezTo>
                    <a:pt x="128" y="161"/>
                    <a:pt x="128" y="161"/>
                    <a:pt x="128" y="161"/>
                  </a:cubicBezTo>
                  <a:cubicBezTo>
                    <a:pt x="128" y="163"/>
                    <a:pt x="127" y="164"/>
                    <a:pt x="127" y="165"/>
                  </a:cubicBezTo>
                  <a:cubicBezTo>
                    <a:pt x="127" y="165"/>
                    <a:pt x="127" y="165"/>
                    <a:pt x="127" y="165"/>
                  </a:cubicBezTo>
                  <a:cubicBezTo>
                    <a:pt x="127" y="165"/>
                    <a:pt x="127" y="165"/>
                    <a:pt x="127" y="165"/>
                  </a:cubicBezTo>
                  <a:cubicBezTo>
                    <a:pt x="127" y="165"/>
                    <a:pt x="127" y="165"/>
                    <a:pt x="127" y="165"/>
                  </a:cubicBezTo>
                  <a:cubicBezTo>
                    <a:pt x="126" y="166"/>
                    <a:pt x="126" y="167"/>
                    <a:pt x="126" y="167"/>
                  </a:cubicBezTo>
                  <a:cubicBezTo>
                    <a:pt x="126" y="167"/>
                    <a:pt x="126" y="167"/>
                    <a:pt x="126" y="167"/>
                  </a:cubicBezTo>
                  <a:cubicBezTo>
                    <a:pt x="126" y="168"/>
                    <a:pt x="126" y="168"/>
                    <a:pt x="126" y="168"/>
                  </a:cubicBezTo>
                  <a:cubicBezTo>
                    <a:pt x="126" y="168"/>
                    <a:pt x="126" y="168"/>
                    <a:pt x="125" y="168"/>
                  </a:cubicBezTo>
                  <a:cubicBezTo>
                    <a:pt x="125" y="168"/>
                    <a:pt x="125" y="169"/>
                    <a:pt x="125" y="169"/>
                  </a:cubicBezTo>
                  <a:cubicBezTo>
                    <a:pt x="125" y="169"/>
                    <a:pt x="125" y="169"/>
                    <a:pt x="125" y="169"/>
                  </a:cubicBezTo>
                  <a:cubicBezTo>
                    <a:pt x="125" y="169"/>
                    <a:pt x="125" y="170"/>
                    <a:pt x="125" y="170"/>
                  </a:cubicBezTo>
                  <a:cubicBezTo>
                    <a:pt x="125" y="170"/>
                    <a:pt x="125" y="170"/>
                    <a:pt x="125" y="170"/>
                  </a:cubicBezTo>
                  <a:cubicBezTo>
                    <a:pt x="125" y="170"/>
                    <a:pt x="125" y="171"/>
                    <a:pt x="125" y="171"/>
                  </a:cubicBezTo>
                  <a:cubicBezTo>
                    <a:pt x="125" y="171"/>
                    <a:pt x="125" y="171"/>
                    <a:pt x="124" y="171"/>
                  </a:cubicBezTo>
                  <a:cubicBezTo>
                    <a:pt x="124" y="171"/>
                    <a:pt x="124" y="171"/>
                    <a:pt x="124" y="172"/>
                  </a:cubicBezTo>
                  <a:cubicBezTo>
                    <a:pt x="124" y="172"/>
                    <a:pt x="124" y="172"/>
                    <a:pt x="124" y="172"/>
                  </a:cubicBezTo>
                  <a:cubicBezTo>
                    <a:pt x="124" y="172"/>
                    <a:pt x="124" y="172"/>
                    <a:pt x="124" y="173"/>
                  </a:cubicBezTo>
                  <a:cubicBezTo>
                    <a:pt x="124" y="173"/>
                    <a:pt x="124" y="173"/>
                    <a:pt x="124" y="173"/>
                  </a:cubicBezTo>
                  <a:cubicBezTo>
                    <a:pt x="124" y="173"/>
                    <a:pt x="124" y="173"/>
                    <a:pt x="124" y="173"/>
                  </a:cubicBezTo>
                  <a:cubicBezTo>
                    <a:pt x="124" y="173"/>
                    <a:pt x="124" y="173"/>
                    <a:pt x="123" y="173"/>
                  </a:cubicBezTo>
                  <a:cubicBezTo>
                    <a:pt x="123" y="174"/>
                    <a:pt x="123" y="174"/>
                    <a:pt x="123" y="174"/>
                  </a:cubicBezTo>
                  <a:cubicBezTo>
                    <a:pt x="123" y="174"/>
                    <a:pt x="123" y="174"/>
                    <a:pt x="123" y="174"/>
                  </a:cubicBezTo>
                  <a:cubicBezTo>
                    <a:pt x="123" y="175"/>
                    <a:pt x="123" y="175"/>
                    <a:pt x="123" y="176"/>
                  </a:cubicBezTo>
                  <a:cubicBezTo>
                    <a:pt x="123" y="176"/>
                    <a:pt x="122" y="176"/>
                    <a:pt x="122" y="176"/>
                  </a:cubicBezTo>
                  <a:cubicBezTo>
                    <a:pt x="122" y="176"/>
                    <a:pt x="122" y="177"/>
                    <a:pt x="122" y="177"/>
                  </a:cubicBezTo>
                  <a:cubicBezTo>
                    <a:pt x="122" y="177"/>
                    <a:pt x="122" y="177"/>
                    <a:pt x="122" y="177"/>
                  </a:cubicBezTo>
                  <a:cubicBezTo>
                    <a:pt x="122" y="177"/>
                    <a:pt x="122" y="178"/>
                    <a:pt x="122" y="178"/>
                  </a:cubicBezTo>
                  <a:cubicBezTo>
                    <a:pt x="122" y="178"/>
                    <a:pt x="121" y="178"/>
                    <a:pt x="121" y="178"/>
                  </a:cubicBezTo>
                  <a:cubicBezTo>
                    <a:pt x="121" y="179"/>
                    <a:pt x="121" y="179"/>
                    <a:pt x="121" y="179"/>
                  </a:cubicBezTo>
                  <a:cubicBezTo>
                    <a:pt x="121" y="179"/>
                    <a:pt x="121" y="179"/>
                    <a:pt x="121" y="179"/>
                  </a:cubicBezTo>
                  <a:cubicBezTo>
                    <a:pt x="121" y="180"/>
                    <a:pt x="121" y="180"/>
                    <a:pt x="121" y="180"/>
                  </a:cubicBezTo>
                  <a:cubicBezTo>
                    <a:pt x="121" y="180"/>
                    <a:pt x="121" y="180"/>
                    <a:pt x="121" y="180"/>
                  </a:cubicBezTo>
                  <a:cubicBezTo>
                    <a:pt x="120" y="180"/>
                    <a:pt x="120" y="181"/>
                    <a:pt x="120" y="181"/>
                  </a:cubicBezTo>
                  <a:cubicBezTo>
                    <a:pt x="120" y="181"/>
                    <a:pt x="120" y="181"/>
                    <a:pt x="120" y="181"/>
                  </a:cubicBezTo>
                  <a:cubicBezTo>
                    <a:pt x="120" y="182"/>
                    <a:pt x="120" y="182"/>
                    <a:pt x="120" y="182"/>
                  </a:cubicBezTo>
                  <a:cubicBezTo>
                    <a:pt x="120" y="182"/>
                    <a:pt x="120" y="182"/>
                    <a:pt x="120" y="182"/>
                  </a:cubicBezTo>
                  <a:cubicBezTo>
                    <a:pt x="120" y="183"/>
                    <a:pt x="120" y="183"/>
                    <a:pt x="120" y="183"/>
                  </a:cubicBezTo>
                  <a:cubicBezTo>
                    <a:pt x="119" y="183"/>
                    <a:pt x="119" y="183"/>
                    <a:pt x="119" y="183"/>
                  </a:cubicBezTo>
                  <a:cubicBezTo>
                    <a:pt x="119" y="183"/>
                    <a:pt x="119" y="184"/>
                    <a:pt x="119" y="184"/>
                  </a:cubicBezTo>
                  <a:cubicBezTo>
                    <a:pt x="119" y="184"/>
                    <a:pt x="119" y="184"/>
                    <a:pt x="119" y="184"/>
                  </a:cubicBezTo>
                  <a:cubicBezTo>
                    <a:pt x="119" y="184"/>
                    <a:pt x="119" y="184"/>
                    <a:pt x="119" y="185"/>
                  </a:cubicBezTo>
                  <a:cubicBezTo>
                    <a:pt x="119" y="185"/>
                    <a:pt x="119" y="185"/>
                    <a:pt x="118" y="185"/>
                  </a:cubicBezTo>
                  <a:cubicBezTo>
                    <a:pt x="118" y="185"/>
                    <a:pt x="118" y="186"/>
                    <a:pt x="118" y="187"/>
                  </a:cubicBezTo>
                  <a:cubicBezTo>
                    <a:pt x="118" y="187"/>
                    <a:pt x="118" y="187"/>
                    <a:pt x="117" y="187"/>
                  </a:cubicBezTo>
                  <a:cubicBezTo>
                    <a:pt x="117" y="187"/>
                    <a:pt x="117" y="187"/>
                    <a:pt x="117" y="188"/>
                  </a:cubicBezTo>
                  <a:cubicBezTo>
                    <a:pt x="117" y="188"/>
                    <a:pt x="117" y="188"/>
                    <a:pt x="117" y="188"/>
                  </a:cubicBezTo>
                  <a:cubicBezTo>
                    <a:pt x="117" y="188"/>
                    <a:pt x="117" y="188"/>
                    <a:pt x="117" y="188"/>
                  </a:cubicBezTo>
                  <a:cubicBezTo>
                    <a:pt x="117" y="188"/>
                    <a:pt x="117" y="188"/>
                    <a:pt x="117" y="188"/>
                  </a:cubicBezTo>
                  <a:cubicBezTo>
                    <a:pt x="117" y="189"/>
                    <a:pt x="117" y="189"/>
                    <a:pt x="116" y="190"/>
                  </a:cubicBezTo>
                  <a:cubicBezTo>
                    <a:pt x="116" y="190"/>
                    <a:pt x="116" y="190"/>
                    <a:pt x="116" y="190"/>
                  </a:cubicBezTo>
                  <a:cubicBezTo>
                    <a:pt x="116" y="190"/>
                    <a:pt x="116" y="191"/>
                    <a:pt x="116" y="191"/>
                  </a:cubicBezTo>
                  <a:cubicBezTo>
                    <a:pt x="116" y="191"/>
                    <a:pt x="115" y="191"/>
                    <a:pt x="115" y="191"/>
                  </a:cubicBezTo>
                  <a:cubicBezTo>
                    <a:pt x="115" y="191"/>
                    <a:pt x="115" y="192"/>
                    <a:pt x="115" y="192"/>
                  </a:cubicBezTo>
                  <a:cubicBezTo>
                    <a:pt x="115" y="192"/>
                    <a:pt x="115" y="192"/>
                    <a:pt x="115" y="192"/>
                  </a:cubicBezTo>
                  <a:cubicBezTo>
                    <a:pt x="115" y="192"/>
                    <a:pt x="115" y="192"/>
                    <a:pt x="115" y="193"/>
                  </a:cubicBezTo>
                  <a:cubicBezTo>
                    <a:pt x="115" y="193"/>
                    <a:pt x="115" y="193"/>
                    <a:pt x="115" y="193"/>
                  </a:cubicBezTo>
                  <a:cubicBezTo>
                    <a:pt x="115" y="193"/>
                    <a:pt x="115" y="193"/>
                    <a:pt x="115" y="193"/>
                  </a:cubicBezTo>
                  <a:cubicBezTo>
                    <a:pt x="115" y="193"/>
                    <a:pt x="114" y="193"/>
                    <a:pt x="114" y="193"/>
                  </a:cubicBezTo>
                  <a:cubicBezTo>
                    <a:pt x="114" y="194"/>
                    <a:pt x="114" y="194"/>
                    <a:pt x="114" y="194"/>
                  </a:cubicBezTo>
                  <a:cubicBezTo>
                    <a:pt x="114" y="194"/>
                    <a:pt x="114" y="194"/>
                    <a:pt x="114" y="194"/>
                  </a:cubicBezTo>
                  <a:cubicBezTo>
                    <a:pt x="114" y="194"/>
                    <a:pt x="114" y="194"/>
                    <a:pt x="114" y="195"/>
                  </a:cubicBezTo>
                  <a:cubicBezTo>
                    <a:pt x="114" y="195"/>
                    <a:pt x="114" y="195"/>
                    <a:pt x="114" y="195"/>
                  </a:cubicBezTo>
                  <a:cubicBezTo>
                    <a:pt x="114" y="195"/>
                    <a:pt x="114" y="195"/>
                    <a:pt x="114" y="195"/>
                  </a:cubicBezTo>
                  <a:cubicBezTo>
                    <a:pt x="113" y="195"/>
                    <a:pt x="113" y="195"/>
                    <a:pt x="113" y="195"/>
                  </a:cubicBezTo>
                  <a:cubicBezTo>
                    <a:pt x="113" y="196"/>
                    <a:pt x="113" y="196"/>
                    <a:pt x="113" y="196"/>
                  </a:cubicBezTo>
                  <a:cubicBezTo>
                    <a:pt x="113" y="196"/>
                    <a:pt x="113" y="196"/>
                    <a:pt x="113" y="196"/>
                  </a:cubicBezTo>
                  <a:cubicBezTo>
                    <a:pt x="113" y="196"/>
                    <a:pt x="113" y="197"/>
                    <a:pt x="113" y="197"/>
                  </a:cubicBezTo>
                  <a:cubicBezTo>
                    <a:pt x="113" y="197"/>
                    <a:pt x="113" y="197"/>
                    <a:pt x="113" y="197"/>
                  </a:cubicBezTo>
                  <a:cubicBezTo>
                    <a:pt x="113" y="197"/>
                    <a:pt x="113" y="197"/>
                    <a:pt x="113" y="197"/>
                  </a:cubicBezTo>
                  <a:cubicBezTo>
                    <a:pt x="112" y="197"/>
                    <a:pt x="112" y="197"/>
                    <a:pt x="112" y="197"/>
                  </a:cubicBezTo>
                  <a:cubicBezTo>
                    <a:pt x="112" y="198"/>
                    <a:pt x="112" y="198"/>
                    <a:pt x="112" y="198"/>
                  </a:cubicBezTo>
                  <a:cubicBezTo>
                    <a:pt x="112" y="198"/>
                    <a:pt x="112" y="198"/>
                    <a:pt x="112" y="199"/>
                  </a:cubicBezTo>
                  <a:cubicBezTo>
                    <a:pt x="112" y="199"/>
                    <a:pt x="112" y="199"/>
                    <a:pt x="112" y="199"/>
                  </a:cubicBezTo>
                  <a:cubicBezTo>
                    <a:pt x="111" y="199"/>
                    <a:pt x="111" y="199"/>
                    <a:pt x="111" y="199"/>
                  </a:cubicBezTo>
                  <a:cubicBezTo>
                    <a:pt x="111" y="199"/>
                    <a:pt x="111" y="200"/>
                    <a:pt x="111" y="200"/>
                  </a:cubicBezTo>
                  <a:cubicBezTo>
                    <a:pt x="111" y="200"/>
                    <a:pt x="111" y="200"/>
                    <a:pt x="111" y="200"/>
                  </a:cubicBezTo>
                  <a:cubicBezTo>
                    <a:pt x="111" y="200"/>
                    <a:pt x="111" y="200"/>
                    <a:pt x="111" y="201"/>
                  </a:cubicBezTo>
                  <a:cubicBezTo>
                    <a:pt x="111" y="201"/>
                    <a:pt x="111" y="201"/>
                    <a:pt x="110" y="201"/>
                  </a:cubicBezTo>
                  <a:cubicBezTo>
                    <a:pt x="110" y="201"/>
                    <a:pt x="110" y="201"/>
                    <a:pt x="110" y="201"/>
                  </a:cubicBezTo>
                  <a:cubicBezTo>
                    <a:pt x="110" y="201"/>
                    <a:pt x="110" y="201"/>
                    <a:pt x="110" y="201"/>
                  </a:cubicBezTo>
                  <a:cubicBezTo>
                    <a:pt x="110" y="202"/>
                    <a:pt x="110" y="202"/>
                    <a:pt x="110" y="203"/>
                  </a:cubicBezTo>
                  <a:cubicBezTo>
                    <a:pt x="110" y="203"/>
                    <a:pt x="109" y="203"/>
                    <a:pt x="109" y="203"/>
                  </a:cubicBezTo>
                  <a:cubicBezTo>
                    <a:pt x="109" y="203"/>
                    <a:pt x="109" y="204"/>
                    <a:pt x="109" y="204"/>
                  </a:cubicBezTo>
                  <a:cubicBezTo>
                    <a:pt x="109" y="204"/>
                    <a:pt x="109" y="204"/>
                    <a:pt x="109" y="204"/>
                  </a:cubicBezTo>
                  <a:cubicBezTo>
                    <a:pt x="109" y="204"/>
                    <a:pt x="109" y="204"/>
                    <a:pt x="109" y="204"/>
                  </a:cubicBezTo>
                  <a:cubicBezTo>
                    <a:pt x="109" y="204"/>
                    <a:pt x="108" y="204"/>
                    <a:pt x="108" y="204"/>
                  </a:cubicBezTo>
                  <a:cubicBezTo>
                    <a:pt x="108" y="205"/>
                    <a:pt x="108" y="205"/>
                    <a:pt x="108" y="205"/>
                  </a:cubicBezTo>
                  <a:cubicBezTo>
                    <a:pt x="108" y="205"/>
                    <a:pt x="108" y="205"/>
                    <a:pt x="108" y="205"/>
                  </a:cubicBezTo>
                  <a:cubicBezTo>
                    <a:pt x="108" y="205"/>
                    <a:pt x="108" y="206"/>
                    <a:pt x="108" y="206"/>
                  </a:cubicBezTo>
                  <a:cubicBezTo>
                    <a:pt x="108" y="206"/>
                    <a:pt x="108" y="206"/>
                    <a:pt x="107" y="206"/>
                  </a:cubicBezTo>
                  <a:cubicBezTo>
                    <a:pt x="107" y="207"/>
                    <a:pt x="107" y="208"/>
                    <a:pt x="107" y="208"/>
                  </a:cubicBezTo>
                  <a:cubicBezTo>
                    <a:pt x="106" y="208"/>
                    <a:pt x="106" y="209"/>
                    <a:pt x="106" y="209"/>
                  </a:cubicBezTo>
                  <a:cubicBezTo>
                    <a:pt x="106" y="209"/>
                    <a:pt x="106" y="210"/>
                    <a:pt x="106" y="210"/>
                  </a:cubicBezTo>
                  <a:cubicBezTo>
                    <a:pt x="105" y="210"/>
                    <a:pt x="105" y="210"/>
                    <a:pt x="105" y="210"/>
                  </a:cubicBezTo>
                  <a:cubicBezTo>
                    <a:pt x="105" y="211"/>
                    <a:pt x="104" y="212"/>
                    <a:pt x="104" y="213"/>
                  </a:cubicBezTo>
                  <a:cubicBezTo>
                    <a:pt x="104" y="213"/>
                    <a:pt x="104" y="213"/>
                    <a:pt x="104" y="213"/>
                  </a:cubicBezTo>
                  <a:cubicBezTo>
                    <a:pt x="104" y="213"/>
                    <a:pt x="104" y="213"/>
                    <a:pt x="103" y="214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03" y="214"/>
                    <a:pt x="103" y="214"/>
                    <a:pt x="103" y="215"/>
                  </a:cubicBezTo>
                  <a:cubicBezTo>
                    <a:pt x="103" y="215"/>
                    <a:pt x="103" y="215"/>
                    <a:pt x="102" y="215"/>
                  </a:cubicBezTo>
                  <a:cubicBezTo>
                    <a:pt x="102" y="215"/>
                    <a:pt x="102" y="215"/>
                    <a:pt x="102" y="215"/>
                  </a:cubicBezTo>
                  <a:cubicBezTo>
                    <a:pt x="102" y="215"/>
                    <a:pt x="102" y="216"/>
                    <a:pt x="102" y="216"/>
                  </a:cubicBezTo>
                  <a:cubicBezTo>
                    <a:pt x="102" y="216"/>
                    <a:pt x="101" y="217"/>
                    <a:pt x="101" y="217"/>
                  </a:cubicBezTo>
                  <a:cubicBezTo>
                    <a:pt x="101" y="217"/>
                    <a:pt x="101" y="217"/>
                    <a:pt x="101" y="217"/>
                  </a:cubicBezTo>
                  <a:cubicBezTo>
                    <a:pt x="101" y="218"/>
                    <a:pt x="101" y="218"/>
                    <a:pt x="101" y="218"/>
                  </a:cubicBezTo>
                  <a:cubicBezTo>
                    <a:pt x="100" y="218"/>
                    <a:pt x="100" y="218"/>
                    <a:pt x="100" y="218"/>
                  </a:cubicBezTo>
                  <a:cubicBezTo>
                    <a:pt x="100" y="219"/>
                    <a:pt x="100" y="219"/>
                    <a:pt x="100" y="219"/>
                  </a:cubicBezTo>
                  <a:cubicBezTo>
                    <a:pt x="100" y="219"/>
                    <a:pt x="99" y="219"/>
                    <a:pt x="99" y="220"/>
                  </a:cubicBezTo>
                  <a:cubicBezTo>
                    <a:pt x="99" y="220"/>
                    <a:pt x="99" y="220"/>
                    <a:pt x="99" y="220"/>
                  </a:cubicBezTo>
                  <a:cubicBezTo>
                    <a:pt x="99" y="220"/>
                    <a:pt x="99" y="220"/>
                    <a:pt x="99" y="220"/>
                  </a:cubicBezTo>
                  <a:cubicBezTo>
                    <a:pt x="99" y="221"/>
                    <a:pt x="99" y="221"/>
                    <a:pt x="99" y="221"/>
                  </a:cubicBezTo>
                  <a:cubicBezTo>
                    <a:pt x="98" y="221"/>
                    <a:pt x="98" y="222"/>
                    <a:pt x="98" y="222"/>
                  </a:cubicBezTo>
                  <a:cubicBezTo>
                    <a:pt x="98" y="222"/>
                    <a:pt x="98" y="222"/>
                    <a:pt x="98" y="222"/>
                  </a:cubicBezTo>
                  <a:cubicBezTo>
                    <a:pt x="98" y="222"/>
                    <a:pt x="97" y="223"/>
                    <a:pt x="97" y="223"/>
                  </a:cubicBezTo>
                  <a:cubicBezTo>
                    <a:pt x="97" y="223"/>
                    <a:pt x="97" y="223"/>
                    <a:pt x="97" y="223"/>
                  </a:cubicBezTo>
                  <a:cubicBezTo>
                    <a:pt x="97" y="223"/>
                    <a:pt x="97" y="224"/>
                    <a:pt x="96" y="224"/>
                  </a:cubicBezTo>
                  <a:cubicBezTo>
                    <a:pt x="96" y="224"/>
                    <a:pt x="96" y="224"/>
                    <a:pt x="96" y="224"/>
                  </a:cubicBezTo>
                  <a:cubicBezTo>
                    <a:pt x="96" y="224"/>
                    <a:pt x="96" y="224"/>
                    <a:pt x="96" y="224"/>
                  </a:cubicBezTo>
                  <a:cubicBezTo>
                    <a:pt x="96" y="225"/>
                    <a:pt x="96" y="225"/>
                    <a:pt x="96" y="225"/>
                  </a:cubicBezTo>
                  <a:cubicBezTo>
                    <a:pt x="96" y="226"/>
                    <a:pt x="95" y="226"/>
                    <a:pt x="95" y="226"/>
                  </a:cubicBezTo>
                  <a:cubicBezTo>
                    <a:pt x="95" y="226"/>
                    <a:pt x="95" y="226"/>
                    <a:pt x="95" y="227"/>
                  </a:cubicBezTo>
                  <a:cubicBezTo>
                    <a:pt x="95" y="227"/>
                    <a:pt x="95" y="227"/>
                    <a:pt x="94" y="227"/>
                  </a:cubicBezTo>
                  <a:cubicBezTo>
                    <a:pt x="94" y="227"/>
                    <a:pt x="94" y="228"/>
                    <a:pt x="94" y="228"/>
                  </a:cubicBezTo>
                  <a:cubicBezTo>
                    <a:pt x="94" y="228"/>
                    <a:pt x="93" y="228"/>
                    <a:pt x="93" y="229"/>
                  </a:cubicBezTo>
                  <a:cubicBezTo>
                    <a:pt x="93" y="229"/>
                    <a:pt x="93" y="229"/>
                    <a:pt x="93" y="229"/>
                  </a:cubicBezTo>
                  <a:cubicBezTo>
                    <a:pt x="93" y="229"/>
                    <a:pt x="93" y="230"/>
                    <a:pt x="92" y="230"/>
                  </a:cubicBezTo>
                  <a:cubicBezTo>
                    <a:pt x="92" y="230"/>
                    <a:pt x="92" y="230"/>
                    <a:pt x="92" y="230"/>
                  </a:cubicBezTo>
                  <a:cubicBezTo>
                    <a:pt x="92" y="231"/>
                    <a:pt x="91" y="231"/>
                    <a:pt x="91" y="231"/>
                  </a:cubicBezTo>
                  <a:cubicBezTo>
                    <a:pt x="91" y="232"/>
                    <a:pt x="91" y="232"/>
                    <a:pt x="91" y="232"/>
                  </a:cubicBezTo>
                  <a:cubicBezTo>
                    <a:pt x="91" y="232"/>
                    <a:pt x="90" y="232"/>
                    <a:pt x="90" y="232"/>
                  </a:cubicBezTo>
                  <a:cubicBezTo>
                    <a:pt x="90" y="233"/>
                    <a:pt x="90" y="233"/>
                    <a:pt x="90" y="234"/>
                  </a:cubicBezTo>
                  <a:cubicBezTo>
                    <a:pt x="89" y="234"/>
                    <a:pt x="89" y="234"/>
                    <a:pt x="88" y="235"/>
                  </a:cubicBezTo>
                  <a:cubicBezTo>
                    <a:pt x="88" y="235"/>
                    <a:pt x="88" y="235"/>
                    <a:pt x="88" y="236"/>
                  </a:cubicBezTo>
                  <a:cubicBezTo>
                    <a:pt x="87" y="236"/>
                    <a:pt x="87" y="237"/>
                    <a:pt x="86" y="237"/>
                  </a:cubicBezTo>
                  <a:cubicBezTo>
                    <a:pt x="86" y="237"/>
                    <a:pt x="86" y="237"/>
                    <a:pt x="86" y="238"/>
                  </a:cubicBezTo>
                  <a:cubicBezTo>
                    <a:pt x="85" y="239"/>
                    <a:pt x="84" y="240"/>
                    <a:pt x="82" y="241"/>
                  </a:cubicBezTo>
                  <a:cubicBezTo>
                    <a:pt x="81" y="243"/>
                    <a:pt x="80" y="244"/>
                    <a:pt x="79" y="245"/>
                  </a:cubicBezTo>
                  <a:cubicBezTo>
                    <a:pt x="78" y="245"/>
                    <a:pt x="78" y="245"/>
                    <a:pt x="78" y="245"/>
                  </a:cubicBezTo>
                  <a:cubicBezTo>
                    <a:pt x="78" y="246"/>
                    <a:pt x="77" y="246"/>
                    <a:pt x="77" y="247"/>
                  </a:cubicBezTo>
                  <a:cubicBezTo>
                    <a:pt x="77" y="247"/>
                    <a:pt x="76" y="247"/>
                    <a:pt x="76" y="247"/>
                  </a:cubicBezTo>
                  <a:cubicBezTo>
                    <a:pt x="76" y="247"/>
                    <a:pt x="76" y="248"/>
                    <a:pt x="75" y="248"/>
                  </a:cubicBezTo>
                  <a:cubicBezTo>
                    <a:pt x="75" y="248"/>
                    <a:pt x="75" y="248"/>
                    <a:pt x="75" y="248"/>
                  </a:cubicBezTo>
                  <a:cubicBezTo>
                    <a:pt x="75" y="248"/>
                    <a:pt x="75" y="248"/>
                    <a:pt x="74" y="249"/>
                  </a:cubicBezTo>
                  <a:cubicBezTo>
                    <a:pt x="74" y="249"/>
                    <a:pt x="74" y="249"/>
                    <a:pt x="74" y="249"/>
                  </a:cubicBezTo>
                  <a:cubicBezTo>
                    <a:pt x="74" y="249"/>
                    <a:pt x="74" y="249"/>
                    <a:pt x="74" y="249"/>
                  </a:cubicBezTo>
                  <a:cubicBezTo>
                    <a:pt x="73" y="249"/>
                    <a:pt x="73" y="249"/>
                    <a:pt x="73" y="249"/>
                  </a:cubicBezTo>
                  <a:cubicBezTo>
                    <a:pt x="73" y="249"/>
                    <a:pt x="73" y="249"/>
                    <a:pt x="73" y="249"/>
                  </a:cubicBezTo>
                  <a:cubicBezTo>
                    <a:pt x="73" y="249"/>
                    <a:pt x="73" y="249"/>
                    <a:pt x="72" y="249"/>
                  </a:cubicBezTo>
                  <a:cubicBezTo>
                    <a:pt x="72" y="249"/>
                    <a:pt x="72" y="249"/>
                    <a:pt x="72" y="250"/>
                  </a:cubicBezTo>
                  <a:cubicBezTo>
                    <a:pt x="72" y="250"/>
                    <a:pt x="72" y="250"/>
                    <a:pt x="72" y="250"/>
                  </a:cubicBezTo>
                  <a:cubicBezTo>
                    <a:pt x="72" y="250"/>
                    <a:pt x="72" y="250"/>
                    <a:pt x="72" y="250"/>
                  </a:cubicBezTo>
                  <a:cubicBezTo>
                    <a:pt x="71" y="250"/>
                    <a:pt x="71" y="250"/>
                    <a:pt x="71" y="250"/>
                  </a:cubicBezTo>
                  <a:cubicBezTo>
                    <a:pt x="71" y="250"/>
                    <a:pt x="71" y="250"/>
                    <a:pt x="71" y="250"/>
                  </a:cubicBezTo>
                  <a:cubicBezTo>
                    <a:pt x="68" y="252"/>
                    <a:pt x="64" y="251"/>
                    <a:pt x="61" y="250"/>
                  </a:cubicBezTo>
                  <a:cubicBezTo>
                    <a:pt x="60" y="250"/>
                    <a:pt x="60" y="250"/>
                    <a:pt x="59" y="250"/>
                  </a:cubicBezTo>
                  <a:cubicBezTo>
                    <a:pt x="59" y="250"/>
                    <a:pt x="59" y="250"/>
                    <a:pt x="59" y="250"/>
                  </a:cubicBezTo>
                  <a:cubicBezTo>
                    <a:pt x="59" y="249"/>
                    <a:pt x="58" y="249"/>
                    <a:pt x="57" y="249"/>
                  </a:cubicBezTo>
                  <a:cubicBezTo>
                    <a:pt x="57" y="249"/>
                    <a:pt x="57" y="249"/>
                    <a:pt x="57" y="249"/>
                  </a:cubicBezTo>
                  <a:cubicBezTo>
                    <a:pt x="57" y="249"/>
                    <a:pt x="56" y="249"/>
                    <a:pt x="56" y="249"/>
                  </a:cubicBezTo>
                  <a:cubicBezTo>
                    <a:pt x="56" y="248"/>
                    <a:pt x="56" y="248"/>
                    <a:pt x="56" y="248"/>
                  </a:cubicBezTo>
                  <a:cubicBezTo>
                    <a:pt x="55" y="248"/>
                    <a:pt x="55" y="248"/>
                    <a:pt x="54" y="248"/>
                  </a:cubicBezTo>
                  <a:cubicBezTo>
                    <a:pt x="54" y="248"/>
                    <a:pt x="54" y="247"/>
                    <a:pt x="54" y="247"/>
                  </a:cubicBezTo>
                  <a:cubicBezTo>
                    <a:pt x="53" y="247"/>
                    <a:pt x="53" y="247"/>
                    <a:pt x="52" y="247"/>
                  </a:cubicBezTo>
                  <a:cubicBezTo>
                    <a:pt x="52" y="247"/>
                    <a:pt x="52" y="246"/>
                    <a:pt x="52" y="246"/>
                  </a:cubicBezTo>
                  <a:cubicBezTo>
                    <a:pt x="52" y="246"/>
                    <a:pt x="52" y="246"/>
                    <a:pt x="51" y="246"/>
                  </a:cubicBezTo>
                  <a:cubicBezTo>
                    <a:pt x="51" y="246"/>
                    <a:pt x="51" y="246"/>
                    <a:pt x="51" y="246"/>
                  </a:cubicBezTo>
                  <a:cubicBezTo>
                    <a:pt x="51" y="246"/>
                    <a:pt x="51" y="246"/>
                    <a:pt x="50" y="245"/>
                  </a:cubicBezTo>
                  <a:cubicBezTo>
                    <a:pt x="50" y="245"/>
                    <a:pt x="50" y="245"/>
                    <a:pt x="50" y="245"/>
                  </a:cubicBezTo>
                  <a:cubicBezTo>
                    <a:pt x="50" y="245"/>
                    <a:pt x="49" y="245"/>
                    <a:pt x="49" y="245"/>
                  </a:cubicBezTo>
                  <a:cubicBezTo>
                    <a:pt x="49" y="244"/>
                    <a:pt x="49" y="244"/>
                    <a:pt x="49" y="244"/>
                  </a:cubicBezTo>
                  <a:cubicBezTo>
                    <a:pt x="48" y="243"/>
                    <a:pt x="46" y="243"/>
                    <a:pt x="46" y="242"/>
                  </a:cubicBezTo>
                  <a:cubicBezTo>
                    <a:pt x="44" y="242"/>
                    <a:pt x="44" y="242"/>
                    <a:pt x="42" y="243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</a:ln>
            <a:effectLst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64800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4000" b="1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0000"/>
                </a:solidFill>
                <a:latin typeface="UKIJ Qolyazma" pitchFamily="18" charset="0"/>
                <a:cs typeface="UKIJ Qolyazma" pitchFamily="18" charset="0"/>
              </a:endParaRPr>
            </a:p>
          </p:txBody>
        </p:sp>
        <p:sp>
          <p:nvSpPr>
            <p:cNvPr id="115" name="Freeform 26">
              <a:extLst>
                <a:ext uri="{FF2B5EF4-FFF2-40B4-BE49-F238E27FC236}">
                  <a16:creationId xmlns:a16="http://schemas.microsoft.com/office/drawing/2014/main" id="{ABEF91D4-A871-DCBA-9219-D69C36208E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9184" y="2432032"/>
              <a:ext cx="1076687" cy="794648"/>
            </a:xfrm>
            <a:custGeom>
              <a:avLst/>
              <a:gdLst>
                <a:gd name="T0" fmla="*/ 136 w 495"/>
                <a:gd name="T1" fmla="*/ 23 h 365"/>
                <a:gd name="T2" fmla="*/ 145 w 495"/>
                <a:gd name="T3" fmla="*/ 27 h 365"/>
                <a:gd name="T4" fmla="*/ 175 w 495"/>
                <a:gd name="T5" fmla="*/ 47 h 365"/>
                <a:gd name="T6" fmla="*/ 196 w 495"/>
                <a:gd name="T7" fmla="*/ 51 h 365"/>
                <a:gd name="T8" fmla="*/ 221 w 495"/>
                <a:gd name="T9" fmla="*/ 60 h 365"/>
                <a:gd name="T10" fmla="*/ 242 w 495"/>
                <a:gd name="T11" fmla="*/ 48 h 365"/>
                <a:gd name="T12" fmla="*/ 253 w 495"/>
                <a:gd name="T13" fmla="*/ 43 h 365"/>
                <a:gd name="T14" fmla="*/ 264 w 495"/>
                <a:gd name="T15" fmla="*/ 38 h 365"/>
                <a:gd name="T16" fmla="*/ 281 w 495"/>
                <a:gd name="T17" fmla="*/ 26 h 365"/>
                <a:gd name="T18" fmla="*/ 301 w 495"/>
                <a:gd name="T19" fmla="*/ 21 h 365"/>
                <a:gd name="T20" fmla="*/ 320 w 495"/>
                <a:gd name="T21" fmla="*/ 31 h 365"/>
                <a:gd name="T22" fmla="*/ 336 w 495"/>
                <a:gd name="T23" fmla="*/ 35 h 365"/>
                <a:gd name="T24" fmla="*/ 384 w 495"/>
                <a:gd name="T25" fmla="*/ 56 h 365"/>
                <a:gd name="T26" fmla="*/ 392 w 495"/>
                <a:gd name="T27" fmla="*/ 87 h 365"/>
                <a:gd name="T28" fmla="*/ 379 w 495"/>
                <a:gd name="T29" fmla="*/ 113 h 365"/>
                <a:gd name="T30" fmla="*/ 360 w 495"/>
                <a:gd name="T31" fmla="*/ 140 h 365"/>
                <a:gd name="T32" fmla="*/ 359 w 495"/>
                <a:gd name="T33" fmla="*/ 163 h 365"/>
                <a:gd name="T34" fmla="*/ 358 w 495"/>
                <a:gd name="T35" fmla="*/ 193 h 365"/>
                <a:gd name="T36" fmla="*/ 389 w 495"/>
                <a:gd name="T37" fmla="*/ 242 h 365"/>
                <a:gd name="T38" fmla="*/ 405 w 495"/>
                <a:gd name="T39" fmla="*/ 254 h 365"/>
                <a:gd name="T40" fmla="*/ 420 w 495"/>
                <a:gd name="T41" fmla="*/ 262 h 365"/>
                <a:gd name="T42" fmla="*/ 445 w 495"/>
                <a:gd name="T43" fmla="*/ 265 h 365"/>
                <a:gd name="T44" fmla="*/ 459 w 495"/>
                <a:gd name="T45" fmla="*/ 273 h 365"/>
                <a:gd name="T46" fmla="*/ 491 w 495"/>
                <a:gd name="T47" fmla="*/ 285 h 365"/>
                <a:gd name="T48" fmla="*/ 492 w 495"/>
                <a:gd name="T49" fmla="*/ 302 h 365"/>
                <a:gd name="T50" fmla="*/ 482 w 495"/>
                <a:gd name="T51" fmla="*/ 318 h 365"/>
                <a:gd name="T52" fmla="*/ 475 w 495"/>
                <a:gd name="T53" fmla="*/ 333 h 365"/>
                <a:gd name="T54" fmla="*/ 462 w 495"/>
                <a:gd name="T55" fmla="*/ 351 h 365"/>
                <a:gd name="T56" fmla="*/ 449 w 495"/>
                <a:gd name="T57" fmla="*/ 365 h 365"/>
                <a:gd name="T58" fmla="*/ 430 w 495"/>
                <a:gd name="T59" fmla="*/ 354 h 365"/>
                <a:gd name="T60" fmla="*/ 401 w 495"/>
                <a:gd name="T61" fmla="*/ 333 h 365"/>
                <a:gd name="T62" fmla="*/ 383 w 495"/>
                <a:gd name="T63" fmla="*/ 325 h 365"/>
                <a:gd name="T64" fmla="*/ 344 w 495"/>
                <a:gd name="T65" fmla="*/ 310 h 365"/>
                <a:gd name="T66" fmla="*/ 324 w 495"/>
                <a:gd name="T67" fmla="*/ 303 h 365"/>
                <a:gd name="T68" fmla="*/ 251 w 495"/>
                <a:gd name="T69" fmla="*/ 294 h 365"/>
                <a:gd name="T70" fmla="*/ 260 w 495"/>
                <a:gd name="T71" fmla="*/ 286 h 365"/>
                <a:gd name="T72" fmla="*/ 265 w 495"/>
                <a:gd name="T73" fmla="*/ 276 h 365"/>
                <a:gd name="T74" fmla="*/ 266 w 495"/>
                <a:gd name="T75" fmla="*/ 260 h 365"/>
                <a:gd name="T76" fmla="*/ 264 w 495"/>
                <a:gd name="T77" fmla="*/ 221 h 365"/>
                <a:gd name="T78" fmla="*/ 274 w 495"/>
                <a:gd name="T79" fmla="*/ 213 h 365"/>
                <a:gd name="T80" fmla="*/ 264 w 495"/>
                <a:gd name="T81" fmla="*/ 194 h 365"/>
                <a:gd name="T82" fmla="*/ 243 w 495"/>
                <a:gd name="T83" fmla="*/ 197 h 365"/>
                <a:gd name="T84" fmla="*/ 238 w 495"/>
                <a:gd name="T85" fmla="*/ 181 h 365"/>
                <a:gd name="T86" fmla="*/ 239 w 495"/>
                <a:gd name="T87" fmla="*/ 159 h 365"/>
                <a:gd name="T88" fmla="*/ 230 w 495"/>
                <a:gd name="T89" fmla="*/ 144 h 365"/>
                <a:gd name="T90" fmla="*/ 196 w 495"/>
                <a:gd name="T91" fmla="*/ 147 h 365"/>
                <a:gd name="T92" fmla="*/ 175 w 495"/>
                <a:gd name="T93" fmla="*/ 171 h 365"/>
                <a:gd name="T94" fmla="*/ 163 w 495"/>
                <a:gd name="T95" fmla="*/ 163 h 365"/>
                <a:gd name="T96" fmla="*/ 133 w 495"/>
                <a:gd name="T97" fmla="*/ 152 h 365"/>
                <a:gd name="T98" fmla="*/ 96 w 495"/>
                <a:gd name="T99" fmla="*/ 149 h 365"/>
                <a:gd name="T100" fmla="*/ 87 w 495"/>
                <a:gd name="T101" fmla="*/ 136 h 365"/>
                <a:gd name="T102" fmla="*/ 44 w 495"/>
                <a:gd name="T103" fmla="*/ 134 h 365"/>
                <a:gd name="T104" fmla="*/ 29 w 495"/>
                <a:gd name="T105" fmla="*/ 140 h 365"/>
                <a:gd name="T106" fmla="*/ 16 w 495"/>
                <a:gd name="T107" fmla="*/ 133 h 365"/>
                <a:gd name="T108" fmla="*/ 6 w 495"/>
                <a:gd name="T109" fmla="*/ 116 h 365"/>
                <a:gd name="T110" fmla="*/ 1 w 495"/>
                <a:gd name="T111" fmla="*/ 69 h 365"/>
                <a:gd name="T112" fmla="*/ 11 w 495"/>
                <a:gd name="T113" fmla="*/ 53 h 365"/>
                <a:gd name="T114" fmla="*/ 32 w 495"/>
                <a:gd name="T115" fmla="*/ 40 h 365"/>
                <a:gd name="T116" fmla="*/ 66 w 495"/>
                <a:gd name="T117" fmla="*/ 40 h 365"/>
                <a:gd name="T118" fmla="*/ 74 w 495"/>
                <a:gd name="T119" fmla="*/ 37 h 365"/>
                <a:gd name="T120" fmla="*/ 77 w 495"/>
                <a:gd name="T121" fmla="*/ 14 h 365"/>
                <a:gd name="T122" fmla="*/ 101 w 495"/>
                <a:gd name="T123" fmla="*/ 3 h 365"/>
                <a:gd name="T124" fmla="*/ 113 w 495"/>
                <a:gd name="T125" fmla="*/ 8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5" h="365">
                  <a:moveTo>
                    <a:pt x="117" y="10"/>
                  </a:moveTo>
                  <a:cubicBezTo>
                    <a:pt x="118" y="11"/>
                    <a:pt x="118" y="11"/>
                    <a:pt x="118" y="12"/>
                  </a:cubicBezTo>
                  <a:cubicBezTo>
                    <a:pt x="118" y="12"/>
                    <a:pt x="118" y="13"/>
                    <a:pt x="118" y="13"/>
                  </a:cubicBezTo>
                  <a:cubicBezTo>
                    <a:pt x="119" y="13"/>
                    <a:pt x="119" y="13"/>
                    <a:pt x="119" y="13"/>
                  </a:cubicBezTo>
                  <a:cubicBezTo>
                    <a:pt x="119" y="14"/>
                    <a:pt x="119" y="15"/>
                    <a:pt x="119" y="15"/>
                  </a:cubicBezTo>
                  <a:cubicBezTo>
                    <a:pt x="119" y="15"/>
                    <a:pt x="119" y="15"/>
                    <a:pt x="119" y="15"/>
                  </a:cubicBezTo>
                  <a:cubicBezTo>
                    <a:pt x="119" y="17"/>
                    <a:pt x="119" y="18"/>
                    <a:pt x="120" y="19"/>
                  </a:cubicBezTo>
                  <a:cubicBezTo>
                    <a:pt x="120" y="19"/>
                    <a:pt x="120" y="19"/>
                    <a:pt x="120" y="19"/>
                  </a:cubicBezTo>
                  <a:cubicBezTo>
                    <a:pt x="120" y="20"/>
                    <a:pt x="120" y="21"/>
                    <a:pt x="120" y="21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0" y="22"/>
                    <a:pt x="120" y="23"/>
                    <a:pt x="120" y="23"/>
                  </a:cubicBezTo>
                  <a:cubicBezTo>
                    <a:pt x="121" y="25"/>
                    <a:pt x="121" y="27"/>
                    <a:pt x="122" y="28"/>
                  </a:cubicBezTo>
                  <a:cubicBezTo>
                    <a:pt x="124" y="29"/>
                    <a:pt x="128" y="29"/>
                    <a:pt x="130" y="28"/>
                  </a:cubicBezTo>
                  <a:cubicBezTo>
                    <a:pt x="130" y="28"/>
                    <a:pt x="130" y="28"/>
                    <a:pt x="130" y="28"/>
                  </a:cubicBezTo>
                  <a:cubicBezTo>
                    <a:pt x="130" y="28"/>
                    <a:pt x="131" y="28"/>
                    <a:pt x="131" y="27"/>
                  </a:cubicBezTo>
                  <a:cubicBezTo>
                    <a:pt x="132" y="27"/>
                    <a:pt x="132" y="27"/>
                    <a:pt x="132" y="27"/>
                  </a:cubicBezTo>
                  <a:cubicBezTo>
                    <a:pt x="132" y="27"/>
                    <a:pt x="132" y="27"/>
                    <a:pt x="132" y="27"/>
                  </a:cubicBezTo>
                  <a:cubicBezTo>
                    <a:pt x="132" y="27"/>
                    <a:pt x="132" y="26"/>
                    <a:pt x="132" y="26"/>
                  </a:cubicBezTo>
                  <a:cubicBezTo>
                    <a:pt x="133" y="26"/>
                    <a:pt x="133" y="26"/>
                    <a:pt x="134" y="26"/>
                  </a:cubicBezTo>
                  <a:cubicBezTo>
                    <a:pt x="134" y="24"/>
                    <a:pt x="135" y="24"/>
                    <a:pt x="136" y="24"/>
                  </a:cubicBezTo>
                  <a:cubicBezTo>
                    <a:pt x="136" y="23"/>
                    <a:pt x="136" y="23"/>
                    <a:pt x="136" y="23"/>
                  </a:cubicBezTo>
                  <a:cubicBezTo>
                    <a:pt x="136" y="23"/>
                    <a:pt x="136" y="23"/>
                    <a:pt x="136" y="23"/>
                  </a:cubicBezTo>
                  <a:cubicBezTo>
                    <a:pt x="136" y="22"/>
                    <a:pt x="136" y="22"/>
                    <a:pt x="136" y="22"/>
                  </a:cubicBezTo>
                  <a:cubicBezTo>
                    <a:pt x="137" y="22"/>
                    <a:pt x="137" y="21"/>
                    <a:pt x="137" y="21"/>
                  </a:cubicBezTo>
                  <a:cubicBezTo>
                    <a:pt x="137" y="21"/>
                    <a:pt x="137" y="21"/>
                    <a:pt x="137" y="20"/>
                  </a:cubicBezTo>
                  <a:cubicBezTo>
                    <a:pt x="137" y="20"/>
                    <a:pt x="138" y="20"/>
                    <a:pt x="138" y="20"/>
                  </a:cubicBezTo>
                  <a:cubicBezTo>
                    <a:pt x="138" y="20"/>
                    <a:pt x="138" y="19"/>
                    <a:pt x="139" y="19"/>
                  </a:cubicBezTo>
                  <a:cubicBezTo>
                    <a:pt x="139" y="19"/>
                    <a:pt x="140" y="19"/>
                    <a:pt x="141" y="18"/>
                  </a:cubicBezTo>
                  <a:cubicBezTo>
                    <a:pt x="141" y="18"/>
                    <a:pt x="141" y="19"/>
                    <a:pt x="141" y="19"/>
                  </a:cubicBezTo>
                  <a:cubicBezTo>
                    <a:pt x="141" y="19"/>
                    <a:pt x="141" y="19"/>
                    <a:pt x="142" y="19"/>
                  </a:cubicBezTo>
                  <a:cubicBezTo>
                    <a:pt x="142" y="19"/>
                    <a:pt x="142" y="19"/>
                    <a:pt x="142" y="20"/>
                  </a:cubicBezTo>
                  <a:cubicBezTo>
                    <a:pt x="142" y="20"/>
                    <a:pt x="142" y="20"/>
                    <a:pt x="143" y="20"/>
                  </a:cubicBezTo>
                  <a:cubicBezTo>
                    <a:pt x="143" y="20"/>
                    <a:pt x="143" y="21"/>
                    <a:pt x="143" y="21"/>
                  </a:cubicBezTo>
                  <a:cubicBezTo>
                    <a:pt x="143" y="21"/>
                    <a:pt x="143" y="21"/>
                    <a:pt x="143" y="21"/>
                  </a:cubicBezTo>
                  <a:cubicBezTo>
                    <a:pt x="143" y="21"/>
                    <a:pt x="143" y="22"/>
                    <a:pt x="144" y="23"/>
                  </a:cubicBezTo>
                  <a:cubicBezTo>
                    <a:pt x="144" y="23"/>
                    <a:pt x="144" y="23"/>
                    <a:pt x="144" y="23"/>
                  </a:cubicBezTo>
                  <a:cubicBezTo>
                    <a:pt x="144" y="23"/>
                    <a:pt x="144" y="24"/>
                    <a:pt x="144" y="24"/>
                  </a:cubicBezTo>
                  <a:cubicBezTo>
                    <a:pt x="144" y="24"/>
                    <a:pt x="144" y="24"/>
                    <a:pt x="144" y="24"/>
                  </a:cubicBezTo>
                  <a:cubicBezTo>
                    <a:pt x="144" y="24"/>
                    <a:pt x="144" y="24"/>
                    <a:pt x="144" y="25"/>
                  </a:cubicBezTo>
                  <a:cubicBezTo>
                    <a:pt x="144" y="25"/>
                    <a:pt x="145" y="25"/>
                    <a:pt x="145" y="25"/>
                  </a:cubicBezTo>
                  <a:cubicBezTo>
                    <a:pt x="145" y="25"/>
                    <a:pt x="145" y="25"/>
                    <a:pt x="145" y="26"/>
                  </a:cubicBezTo>
                  <a:cubicBezTo>
                    <a:pt x="145" y="26"/>
                    <a:pt x="145" y="26"/>
                    <a:pt x="145" y="26"/>
                  </a:cubicBezTo>
                  <a:cubicBezTo>
                    <a:pt x="145" y="26"/>
                    <a:pt x="145" y="26"/>
                    <a:pt x="145" y="27"/>
                  </a:cubicBezTo>
                  <a:cubicBezTo>
                    <a:pt x="145" y="27"/>
                    <a:pt x="145" y="27"/>
                    <a:pt x="145" y="27"/>
                  </a:cubicBezTo>
                  <a:cubicBezTo>
                    <a:pt x="145" y="27"/>
                    <a:pt x="145" y="27"/>
                    <a:pt x="145" y="28"/>
                  </a:cubicBezTo>
                  <a:cubicBezTo>
                    <a:pt x="145" y="28"/>
                    <a:pt x="146" y="28"/>
                    <a:pt x="146" y="28"/>
                  </a:cubicBezTo>
                  <a:cubicBezTo>
                    <a:pt x="146" y="28"/>
                    <a:pt x="146" y="28"/>
                    <a:pt x="146" y="29"/>
                  </a:cubicBezTo>
                  <a:cubicBezTo>
                    <a:pt x="147" y="31"/>
                    <a:pt x="148" y="34"/>
                    <a:pt x="149" y="36"/>
                  </a:cubicBezTo>
                  <a:cubicBezTo>
                    <a:pt x="149" y="36"/>
                    <a:pt x="149" y="36"/>
                    <a:pt x="150" y="37"/>
                  </a:cubicBezTo>
                  <a:cubicBezTo>
                    <a:pt x="150" y="37"/>
                    <a:pt x="150" y="37"/>
                    <a:pt x="150" y="37"/>
                  </a:cubicBezTo>
                  <a:cubicBezTo>
                    <a:pt x="150" y="38"/>
                    <a:pt x="151" y="38"/>
                    <a:pt x="151" y="38"/>
                  </a:cubicBezTo>
                  <a:cubicBezTo>
                    <a:pt x="151" y="38"/>
                    <a:pt x="151" y="39"/>
                    <a:pt x="151" y="39"/>
                  </a:cubicBezTo>
                  <a:cubicBezTo>
                    <a:pt x="151" y="39"/>
                    <a:pt x="152" y="39"/>
                    <a:pt x="152" y="39"/>
                  </a:cubicBezTo>
                  <a:cubicBezTo>
                    <a:pt x="153" y="40"/>
                    <a:pt x="153" y="41"/>
                    <a:pt x="154" y="41"/>
                  </a:cubicBezTo>
                  <a:cubicBezTo>
                    <a:pt x="154" y="41"/>
                    <a:pt x="154" y="41"/>
                    <a:pt x="154" y="41"/>
                  </a:cubicBezTo>
                  <a:cubicBezTo>
                    <a:pt x="155" y="42"/>
                    <a:pt x="155" y="42"/>
                    <a:pt x="155" y="42"/>
                  </a:cubicBezTo>
                  <a:cubicBezTo>
                    <a:pt x="155" y="42"/>
                    <a:pt x="156" y="42"/>
                    <a:pt x="156" y="42"/>
                  </a:cubicBezTo>
                  <a:cubicBezTo>
                    <a:pt x="156" y="43"/>
                    <a:pt x="156" y="43"/>
                    <a:pt x="157" y="44"/>
                  </a:cubicBezTo>
                  <a:cubicBezTo>
                    <a:pt x="159" y="45"/>
                    <a:pt x="161" y="46"/>
                    <a:pt x="162" y="48"/>
                  </a:cubicBezTo>
                  <a:cubicBezTo>
                    <a:pt x="165" y="47"/>
                    <a:pt x="169" y="49"/>
                    <a:pt x="172" y="48"/>
                  </a:cubicBezTo>
                  <a:cubicBezTo>
                    <a:pt x="172" y="48"/>
                    <a:pt x="172" y="48"/>
                    <a:pt x="172" y="48"/>
                  </a:cubicBezTo>
                  <a:cubicBezTo>
                    <a:pt x="172" y="48"/>
                    <a:pt x="173" y="48"/>
                    <a:pt x="173" y="48"/>
                  </a:cubicBezTo>
                  <a:cubicBezTo>
                    <a:pt x="173" y="48"/>
                    <a:pt x="173" y="47"/>
                    <a:pt x="173" y="47"/>
                  </a:cubicBezTo>
                  <a:cubicBezTo>
                    <a:pt x="173" y="47"/>
                    <a:pt x="173" y="47"/>
                    <a:pt x="174" y="47"/>
                  </a:cubicBezTo>
                  <a:cubicBezTo>
                    <a:pt x="174" y="47"/>
                    <a:pt x="174" y="47"/>
                    <a:pt x="174" y="47"/>
                  </a:cubicBezTo>
                  <a:cubicBezTo>
                    <a:pt x="174" y="47"/>
                    <a:pt x="174" y="47"/>
                    <a:pt x="175" y="47"/>
                  </a:cubicBezTo>
                  <a:cubicBezTo>
                    <a:pt x="175" y="47"/>
                    <a:pt x="175" y="47"/>
                    <a:pt x="175" y="47"/>
                  </a:cubicBezTo>
                  <a:cubicBezTo>
                    <a:pt x="175" y="47"/>
                    <a:pt x="175" y="47"/>
                    <a:pt x="175" y="47"/>
                  </a:cubicBezTo>
                  <a:cubicBezTo>
                    <a:pt x="175" y="47"/>
                    <a:pt x="175" y="46"/>
                    <a:pt x="175" y="46"/>
                  </a:cubicBezTo>
                  <a:cubicBezTo>
                    <a:pt x="176" y="46"/>
                    <a:pt x="176" y="46"/>
                    <a:pt x="176" y="46"/>
                  </a:cubicBezTo>
                  <a:cubicBezTo>
                    <a:pt x="176" y="46"/>
                    <a:pt x="176" y="46"/>
                    <a:pt x="177" y="46"/>
                  </a:cubicBezTo>
                  <a:cubicBezTo>
                    <a:pt x="177" y="45"/>
                    <a:pt x="178" y="45"/>
                    <a:pt x="179" y="45"/>
                  </a:cubicBezTo>
                  <a:cubicBezTo>
                    <a:pt x="179" y="45"/>
                    <a:pt x="179" y="44"/>
                    <a:pt x="179" y="44"/>
                  </a:cubicBezTo>
                  <a:cubicBezTo>
                    <a:pt x="179" y="44"/>
                    <a:pt x="179" y="44"/>
                    <a:pt x="180" y="44"/>
                  </a:cubicBezTo>
                  <a:cubicBezTo>
                    <a:pt x="181" y="43"/>
                    <a:pt x="183" y="42"/>
                    <a:pt x="185" y="42"/>
                  </a:cubicBezTo>
                  <a:cubicBezTo>
                    <a:pt x="186" y="44"/>
                    <a:pt x="187" y="45"/>
                    <a:pt x="188" y="47"/>
                  </a:cubicBezTo>
                  <a:cubicBezTo>
                    <a:pt x="188" y="47"/>
                    <a:pt x="188" y="47"/>
                    <a:pt x="188" y="47"/>
                  </a:cubicBezTo>
                  <a:cubicBezTo>
                    <a:pt x="188" y="47"/>
                    <a:pt x="188" y="47"/>
                    <a:pt x="188" y="47"/>
                  </a:cubicBezTo>
                  <a:cubicBezTo>
                    <a:pt x="188" y="48"/>
                    <a:pt x="188" y="48"/>
                    <a:pt x="188" y="48"/>
                  </a:cubicBezTo>
                  <a:cubicBezTo>
                    <a:pt x="188" y="48"/>
                    <a:pt x="189" y="48"/>
                    <a:pt x="189" y="48"/>
                  </a:cubicBezTo>
                  <a:cubicBezTo>
                    <a:pt x="189" y="49"/>
                    <a:pt x="189" y="49"/>
                    <a:pt x="189" y="49"/>
                  </a:cubicBezTo>
                  <a:cubicBezTo>
                    <a:pt x="189" y="49"/>
                    <a:pt x="190" y="49"/>
                    <a:pt x="190" y="49"/>
                  </a:cubicBezTo>
                  <a:cubicBezTo>
                    <a:pt x="190" y="50"/>
                    <a:pt x="190" y="50"/>
                    <a:pt x="190" y="50"/>
                  </a:cubicBezTo>
                  <a:cubicBezTo>
                    <a:pt x="190" y="50"/>
                    <a:pt x="191" y="50"/>
                    <a:pt x="191" y="50"/>
                  </a:cubicBezTo>
                  <a:cubicBezTo>
                    <a:pt x="191" y="50"/>
                    <a:pt x="191" y="50"/>
                    <a:pt x="191" y="50"/>
                  </a:cubicBezTo>
                  <a:cubicBezTo>
                    <a:pt x="192" y="50"/>
                    <a:pt x="192" y="50"/>
                    <a:pt x="192" y="50"/>
                  </a:cubicBezTo>
                  <a:cubicBezTo>
                    <a:pt x="192" y="51"/>
                    <a:pt x="192" y="51"/>
                    <a:pt x="192" y="51"/>
                  </a:cubicBezTo>
                  <a:cubicBezTo>
                    <a:pt x="194" y="51"/>
                    <a:pt x="195" y="51"/>
                    <a:pt x="196" y="51"/>
                  </a:cubicBezTo>
                  <a:cubicBezTo>
                    <a:pt x="196" y="51"/>
                    <a:pt x="196" y="51"/>
                    <a:pt x="196" y="52"/>
                  </a:cubicBezTo>
                  <a:cubicBezTo>
                    <a:pt x="197" y="52"/>
                    <a:pt x="198" y="52"/>
                    <a:pt x="198" y="52"/>
                  </a:cubicBezTo>
                  <a:cubicBezTo>
                    <a:pt x="198" y="52"/>
                    <a:pt x="198" y="52"/>
                    <a:pt x="198" y="52"/>
                  </a:cubicBezTo>
                  <a:cubicBezTo>
                    <a:pt x="199" y="52"/>
                    <a:pt x="199" y="52"/>
                    <a:pt x="199" y="52"/>
                  </a:cubicBezTo>
                  <a:cubicBezTo>
                    <a:pt x="199" y="52"/>
                    <a:pt x="199" y="52"/>
                    <a:pt x="199" y="52"/>
                  </a:cubicBezTo>
                  <a:cubicBezTo>
                    <a:pt x="200" y="52"/>
                    <a:pt x="200" y="52"/>
                    <a:pt x="201" y="53"/>
                  </a:cubicBezTo>
                  <a:cubicBezTo>
                    <a:pt x="201" y="53"/>
                    <a:pt x="201" y="53"/>
                    <a:pt x="201" y="53"/>
                  </a:cubicBezTo>
                  <a:cubicBezTo>
                    <a:pt x="202" y="53"/>
                    <a:pt x="203" y="53"/>
                    <a:pt x="203" y="53"/>
                  </a:cubicBezTo>
                  <a:cubicBezTo>
                    <a:pt x="203" y="53"/>
                    <a:pt x="203" y="54"/>
                    <a:pt x="203" y="54"/>
                  </a:cubicBezTo>
                  <a:cubicBezTo>
                    <a:pt x="204" y="54"/>
                    <a:pt x="204" y="54"/>
                    <a:pt x="204" y="54"/>
                  </a:cubicBezTo>
                  <a:cubicBezTo>
                    <a:pt x="204" y="54"/>
                    <a:pt x="204" y="54"/>
                    <a:pt x="204" y="54"/>
                  </a:cubicBezTo>
                  <a:cubicBezTo>
                    <a:pt x="205" y="54"/>
                    <a:pt x="205" y="54"/>
                    <a:pt x="205" y="54"/>
                  </a:cubicBezTo>
                  <a:cubicBezTo>
                    <a:pt x="206" y="55"/>
                    <a:pt x="206" y="56"/>
                    <a:pt x="207" y="56"/>
                  </a:cubicBezTo>
                  <a:cubicBezTo>
                    <a:pt x="207" y="57"/>
                    <a:pt x="208" y="57"/>
                    <a:pt x="208" y="57"/>
                  </a:cubicBezTo>
                  <a:cubicBezTo>
                    <a:pt x="208" y="58"/>
                    <a:pt x="209" y="58"/>
                    <a:pt x="209" y="58"/>
                  </a:cubicBezTo>
                  <a:cubicBezTo>
                    <a:pt x="209" y="58"/>
                    <a:pt x="209" y="58"/>
                    <a:pt x="209" y="58"/>
                  </a:cubicBezTo>
                  <a:cubicBezTo>
                    <a:pt x="210" y="59"/>
                    <a:pt x="210" y="59"/>
                    <a:pt x="211" y="60"/>
                  </a:cubicBezTo>
                  <a:cubicBezTo>
                    <a:pt x="211" y="60"/>
                    <a:pt x="211" y="60"/>
                    <a:pt x="211" y="60"/>
                  </a:cubicBezTo>
                  <a:cubicBezTo>
                    <a:pt x="212" y="60"/>
                    <a:pt x="212" y="60"/>
                    <a:pt x="212" y="61"/>
                  </a:cubicBezTo>
                  <a:cubicBezTo>
                    <a:pt x="212" y="61"/>
                    <a:pt x="213" y="61"/>
                    <a:pt x="214" y="61"/>
                  </a:cubicBezTo>
                  <a:cubicBezTo>
                    <a:pt x="214" y="61"/>
                    <a:pt x="214" y="61"/>
                    <a:pt x="214" y="61"/>
                  </a:cubicBezTo>
                  <a:cubicBezTo>
                    <a:pt x="216" y="62"/>
                    <a:pt x="219" y="61"/>
                    <a:pt x="221" y="60"/>
                  </a:cubicBezTo>
                  <a:cubicBezTo>
                    <a:pt x="221" y="60"/>
                    <a:pt x="222" y="60"/>
                    <a:pt x="222" y="60"/>
                  </a:cubicBezTo>
                  <a:cubicBezTo>
                    <a:pt x="224" y="59"/>
                    <a:pt x="226" y="58"/>
                    <a:pt x="229" y="57"/>
                  </a:cubicBezTo>
                  <a:cubicBezTo>
                    <a:pt x="229" y="57"/>
                    <a:pt x="229" y="57"/>
                    <a:pt x="229" y="57"/>
                  </a:cubicBezTo>
                  <a:cubicBezTo>
                    <a:pt x="229" y="57"/>
                    <a:pt x="229" y="57"/>
                    <a:pt x="230" y="57"/>
                  </a:cubicBezTo>
                  <a:cubicBezTo>
                    <a:pt x="230" y="56"/>
                    <a:pt x="230" y="56"/>
                    <a:pt x="230" y="56"/>
                  </a:cubicBezTo>
                  <a:cubicBezTo>
                    <a:pt x="231" y="56"/>
                    <a:pt x="231" y="56"/>
                    <a:pt x="231" y="56"/>
                  </a:cubicBezTo>
                  <a:cubicBezTo>
                    <a:pt x="231" y="56"/>
                    <a:pt x="231" y="56"/>
                    <a:pt x="231" y="55"/>
                  </a:cubicBezTo>
                  <a:cubicBezTo>
                    <a:pt x="231" y="55"/>
                    <a:pt x="232" y="55"/>
                    <a:pt x="232" y="55"/>
                  </a:cubicBezTo>
                  <a:cubicBezTo>
                    <a:pt x="232" y="54"/>
                    <a:pt x="233" y="54"/>
                    <a:pt x="233" y="53"/>
                  </a:cubicBezTo>
                  <a:cubicBezTo>
                    <a:pt x="234" y="53"/>
                    <a:pt x="234" y="53"/>
                    <a:pt x="235" y="53"/>
                  </a:cubicBezTo>
                  <a:cubicBezTo>
                    <a:pt x="235" y="53"/>
                    <a:pt x="235" y="52"/>
                    <a:pt x="236" y="52"/>
                  </a:cubicBezTo>
                  <a:cubicBezTo>
                    <a:pt x="236" y="52"/>
                    <a:pt x="236" y="52"/>
                    <a:pt x="236" y="52"/>
                  </a:cubicBezTo>
                  <a:cubicBezTo>
                    <a:pt x="236" y="52"/>
                    <a:pt x="237" y="51"/>
                    <a:pt x="237" y="51"/>
                  </a:cubicBezTo>
                  <a:cubicBezTo>
                    <a:pt x="237" y="51"/>
                    <a:pt x="237" y="51"/>
                    <a:pt x="237" y="51"/>
                  </a:cubicBezTo>
                  <a:cubicBezTo>
                    <a:pt x="238" y="51"/>
                    <a:pt x="238" y="50"/>
                    <a:pt x="238" y="50"/>
                  </a:cubicBezTo>
                  <a:cubicBezTo>
                    <a:pt x="239" y="50"/>
                    <a:pt x="239" y="50"/>
                    <a:pt x="239" y="50"/>
                  </a:cubicBezTo>
                  <a:cubicBezTo>
                    <a:pt x="240" y="50"/>
                    <a:pt x="240" y="49"/>
                    <a:pt x="240" y="49"/>
                  </a:cubicBezTo>
                  <a:cubicBezTo>
                    <a:pt x="240" y="49"/>
                    <a:pt x="240" y="49"/>
                    <a:pt x="241" y="49"/>
                  </a:cubicBezTo>
                  <a:cubicBezTo>
                    <a:pt x="241" y="49"/>
                    <a:pt x="241" y="49"/>
                    <a:pt x="241" y="49"/>
                  </a:cubicBezTo>
                  <a:cubicBezTo>
                    <a:pt x="241" y="49"/>
                    <a:pt x="241" y="49"/>
                    <a:pt x="241" y="49"/>
                  </a:cubicBezTo>
                  <a:cubicBezTo>
                    <a:pt x="241" y="49"/>
                    <a:pt x="241" y="49"/>
                    <a:pt x="241" y="48"/>
                  </a:cubicBezTo>
                  <a:cubicBezTo>
                    <a:pt x="241" y="48"/>
                    <a:pt x="242" y="48"/>
                    <a:pt x="242" y="48"/>
                  </a:cubicBezTo>
                  <a:cubicBezTo>
                    <a:pt x="242" y="48"/>
                    <a:pt x="242" y="48"/>
                    <a:pt x="242" y="48"/>
                  </a:cubicBezTo>
                  <a:cubicBezTo>
                    <a:pt x="242" y="48"/>
                    <a:pt x="242" y="48"/>
                    <a:pt x="243" y="48"/>
                  </a:cubicBezTo>
                  <a:cubicBezTo>
                    <a:pt x="243" y="48"/>
                    <a:pt x="243" y="48"/>
                    <a:pt x="243" y="48"/>
                  </a:cubicBezTo>
                  <a:cubicBezTo>
                    <a:pt x="243" y="48"/>
                    <a:pt x="243" y="48"/>
                    <a:pt x="243" y="48"/>
                  </a:cubicBezTo>
                  <a:cubicBezTo>
                    <a:pt x="243" y="47"/>
                    <a:pt x="244" y="47"/>
                    <a:pt x="244" y="47"/>
                  </a:cubicBezTo>
                  <a:cubicBezTo>
                    <a:pt x="244" y="47"/>
                    <a:pt x="244" y="47"/>
                    <a:pt x="244" y="47"/>
                  </a:cubicBezTo>
                  <a:cubicBezTo>
                    <a:pt x="244" y="47"/>
                    <a:pt x="244" y="47"/>
                    <a:pt x="244" y="47"/>
                  </a:cubicBezTo>
                  <a:cubicBezTo>
                    <a:pt x="245" y="47"/>
                    <a:pt x="245" y="47"/>
                    <a:pt x="245" y="47"/>
                  </a:cubicBezTo>
                  <a:cubicBezTo>
                    <a:pt x="245" y="47"/>
                    <a:pt x="245" y="46"/>
                    <a:pt x="245" y="46"/>
                  </a:cubicBezTo>
                  <a:cubicBezTo>
                    <a:pt x="245" y="46"/>
                    <a:pt x="246" y="46"/>
                    <a:pt x="246" y="46"/>
                  </a:cubicBezTo>
                  <a:cubicBezTo>
                    <a:pt x="246" y="46"/>
                    <a:pt x="246" y="46"/>
                    <a:pt x="246" y="46"/>
                  </a:cubicBezTo>
                  <a:cubicBezTo>
                    <a:pt x="247" y="46"/>
                    <a:pt x="247" y="46"/>
                    <a:pt x="248" y="46"/>
                  </a:cubicBezTo>
                  <a:cubicBezTo>
                    <a:pt x="248" y="45"/>
                    <a:pt x="248" y="45"/>
                    <a:pt x="248" y="45"/>
                  </a:cubicBezTo>
                  <a:cubicBezTo>
                    <a:pt x="248" y="45"/>
                    <a:pt x="248" y="45"/>
                    <a:pt x="248" y="45"/>
                  </a:cubicBezTo>
                  <a:cubicBezTo>
                    <a:pt x="248" y="45"/>
                    <a:pt x="248" y="45"/>
                    <a:pt x="248" y="45"/>
                  </a:cubicBezTo>
                  <a:cubicBezTo>
                    <a:pt x="248" y="45"/>
                    <a:pt x="249" y="45"/>
                    <a:pt x="249" y="45"/>
                  </a:cubicBezTo>
                  <a:cubicBezTo>
                    <a:pt x="249" y="45"/>
                    <a:pt x="249" y="45"/>
                    <a:pt x="249" y="45"/>
                  </a:cubicBezTo>
                  <a:cubicBezTo>
                    <a:pt x="249" y="45"/>
                    <a:pt x="249" y="45"/>
                    <a:pt x="250" y="45"/>
                  </a:cubicBezTo>
                  <a:cubicBezTo>
                    <a:pt x="250" y="44"/>
                    <a:pt x="250" y="44"/>
                    <a:pt x="250" y="44"/>
                  </a:cubicBezTo>
                  <a:cubicBezTo>
                    <a:pt x="250" y="44"/>
                    <a:pt x="251" y="44"/>
                    <a:pt x="252" y="44"/>
                  </a:cubicBezTo>
                  <a:cubicBezTo>
                    <a:pt x="252" y="43"/>
                    <a:pt x="252" y="43"/>
                    <a:pt x="252" y="43"/>
                  </a:cubicBezTo>
                  <a:cubicBezTo>
                    <a:pt x="252" y="43"/>
                    <a:pt x="252" y="43"/>
                    <a:pt x="253" y="43"/>
                  </a:cubicBezTo>
                  <a:cubicBezTo>
                    <a:pt x="253" y="43"/>
                    <a:pt x="253" y="43"/>
                    <a:pt x="253" y="43"/>
                  </a:cubicBezTo>
                  <a:cubicBezTo>
                    <a:pt x="253" y="43"/>
                    <a:pt x="254" y="42"/>
                    <a:pt x="255" y="42"/>
                  </a:cubicBezTo>
                  <a:cubicBezTo>
                    <a:pt x="255" y="42"/>
                    <a:pt x="255" y="42"/>
                    <a:pt x="255" y="42"/>
                  </a:cubicBezTo>
                  <a:cubicBezTo>
                    <a:pt x="255" y="42"/>
                    <a:pt x="255" y="42"/>
                    <a:pt x="256" y="42"/>
                  </a:cubicBezTo>
                  <a:cubicBezTo>
                    <a:pt x="256" y="42"/>
                    <a:pt x="256" y="42"/>
                    <a:pt x="256" y="41"/>
                  </a:cubicBezTo>
                  <a:cubicBezTo>
                    <a:pt x="256" y="41"/>
                    <a:pt x="256" y="41"/>
                    <a:pt x="256" y="41"/>
                  </a:cubicBezTo>
                  <a:cubicBezTo>
                    <a:pt x="256" y="41"/>
                    <a:pt x="256" y="41"/>
                    <a:pt x="256" y="41"/>
                  </a:cubicBezTo>
                  <a:cubicBezTo>
                    <a:pt x="256" y="41"/>
                    <a:pt x="257" y="41"/>
                    <a:pt x="257" y="41"/>
                  </a:cubicBezTo>
                  <a:cubicBezTo>
                    <a:pt x="257" y="41"/>
                    <a:pt x="257" y="41"/>
                    <a:pt x="257" y="41"/>
                  </a:cubicBezTo>
                  <a:cubicBezTo>
                    <a:pt x="257" y="41"/>
                    <a:pt x="257" y="41"/>
                    <a:pt x="258" y="41"/>
                  </a:cubicBezTo>
                  <a:cubicBezTo>
                    <a:pt x="258" y="41"/>
                    <a:pt x="258" y="40"/>
                    <a:pt x="258" y="40"/>
                  </a:cubicBezTo>
                  <a:cubicBezTo>
                    <a:pt x="258" y="40"/>
                    <a:pt x="258" y="40"/>
                    <a:pt x="258" y="40"/>
                  </a:cubicBezTo>
                  <a:cubicBezTo>
                    <a:pt x="258" y="40"/>
                    <a:pt x="258" y="40"/>
                    <a:pt x="258" y="40"/>
                  </a:cubicBezTo>
                  <a:cubicBezTo>
                    <a:pt x="259" y="40"/>
                    <a:pt x="259" y="40"/>
                    <a:pt x="259" y="40"/>
                  </a:cubicBezTo>
                  <a:cubicBezTo>
                    <a:pt x="259" y="40"/>
                    <a:pt x="259" y="40"/>
                    <a:pt x="259" y="40"/>
                  </a:cubicBezTo>
                  <a:cubicBezTo>
                    <a:pt x="259" y="40"/>
                    <a:pt x="260" y="40"/>
                    <a:pt x="260" y="40"/>
                  </a:cubicBezTo>
                  <a:cubicBezTo>
                    <a:pt x="260" y="40"/>
                    <a:pt x="260" y="39"/>
                    <a:pt x="260" y="39"/>
                  </a:cubicBezTo>
                  <a:cubicBezTo>
                    <a:pt x="260" y="39"/>
                    <a:pt x="260" y="39"/>
                    <a:pt x="260" y="39"/>
                  </a:cubicBezTo>
                  <a:cubicBezTo>
                    <a:pt x="260" y="39"/>
                    <a:pt x="260" y="39"/>
                    <a:pt x="260" y="39"/>
                  </a:cubicBezTo>
                  <a:cubicBezTo>
                    <a:pt x="261" y="39"/>
                    <a:pt x="261" y="39"/>
                    <a:pt x="262" y="39"/>
                  </a:cubicBezTo>
                  <a:cubicBezTo>
                    <a:pt x="262" y="38"/>
                    <a:pt x="262" y="38"/>
                    <a:pt x="262" y="38"/>
                  </a:cubicBezTo>
                  <a:cubicBezTo>
                    <a:pt x="263" y="38"/>
                    <a:pt x="263" y="38"/>
                    <a:pt x="264" y="38"/>
                  </a:cubicBezTo>
                  <a:cubicBezTo>
                    <a:pt x="264" y="38"/>
                    <a:pt x="264" y="38"/>
                    <a:pt x="264" y="38"/>
                  </a:cubicBezTo>
                  <a:cubicBezTo>
                    <a:pt x="265" y="38"/>
                    <a:pt x="265" y="38"/>
                    <a:pt x="265" y="38"/>
                  </a:cubicBezTo>
                  <a:cubicBezTo>
                    <a:pt x="265" y="38"/>
                    <a:pt x="265" y="38"/>
                    <a:pt x="265" y="38"/>
                  </a:cubicBezTo>
                  <a:cubicBezTo>
                    <a:pt x="266" y="38"/>
                    <a:pt x="266" y="38"/>
                    <a:pt x="266" y="38"/>
                  </a:cubicBezTo>
                  <a:cubicBezTo>
                    <a:pt x="266" y="37"/>
                    <a:pt x="266" y="37"/>
                    <a:pt x="266" y="37"/>
                  </a:cubicBezTo>
                  <a:cubicBezTo>
                    <a:pt x="266" y="37"/>
                    <a:pt x="267" y="37"/>
                    <a:pt x="267" y="37"/>
                  </a:cubicBezTo>
                  <a:cubicBezTo>
                    <a:pt x="267" y="37"/>
                    <a:pt x="267" y="37"/>
                    <a:pt x="267" y="37"/>
                  </a:cubicBezTo>
                  <a:cubicBezTo>
                    <a:pt x="267" y="37"/>
                    <a:pt x="268" y="37"/>
                    <a:pt x="268" y="37"/>
                  </a:cubicBezTo>
                  <a:cubicBezTo>
                    <a:pt x="268" y="36"/>
                    <a:pt x="268" y="36"/>
                    <a:pt x="268" y="36"/>
                  </a:cubicBezTo>
                  <a:cubicBezTo>
                    <a:pt x="268" y="36"/>
                    <a:pt x="269" y="36"/>
                    <a:pt x="269" y="36"/>
                  </a:cubicBezTo>
                  <a:cubicBezTo>
                    <a:pt x="269" y="35"/>
                    <a:pt x="269" y="35"/>
                    <a:pt x="270" y="35"/>
                  </a:cubicBezTo>
                  <a:cubicBezTo>
                    <a:pt x="270" y="35"/>
                    <a:pt x="270" y="35"/>
                    <a:pt x="270" y="35"/>
                  </a:cubicBezTo>
                  <a:cubicBezTo>
                    <a:pt x="271" y="34"/>
                    <a:pt x="272" y="33"/>
                    <a:pt x="273" y="32"/>
                  </a:cubicBezTo>
                  <a:cubicBezTo>
                    <a:pt x="273" y="32"/>
                    <a:pt x="273" y="32"/>
                    <a:pt x="273" y="32"/>
                  </a:cubicBezTo>
                  <a:cubicBezTo>
                    <a:pt x="274" y="31"/>
                    <a:pt x="275" y="30"/>
                    <a:pt x="276" y="29"/>
                  </a:cubicBezTo>
                  <a:cubicBezTo>
                    <a:pt x="276" y="29"/>
                    <a:pt x="276" y="29"/>
                    <a:pt x="277" y="29"/>
                  </a:cubicBezTo>
                  <a:cubicBezTo>
                    <a:pt x="277" y="29"/>
                    <a:pt x="277" y="28"/>
                    <a:pt x="277" y="28"/>
                  </a:cubicBezTo>
                  <a:cubicBezTo>
                    <a:pt x="277" y="28"/>
                    <a:pt x="278" y="28"/>
                    <a:pt x="278" y="28"/>
                  </a:cubicBezTo>
                  <a:cubicBezTo>
                    <a:pt x="278" y="28"/>
                    <a:pt x="278" y="27"/>
                    <a:pt x="279" y="27"/>
                  </a:cubicBezTo>
                  <a:cubicBezTo>
                    <a:pt x="279" y="27"/>
                    <a:pt x="280" y="27"/>
                    <a:pt x="280" y="27"/>
                  </a:cubicBezTo>
                  <a:cubicBezTo>
                    <a:pt x="280" y="26"/>
                    <a:pt x="280" y="26"/>
                    <a:pt x="280" y="26"/>
                  </a:cubicBezTo>
                  <a:cubicBezTo>
                    <a:pt x="281" y="26"/>
                    <a:pt x="281" y="26"/>
                    <a:pt x="281" y="26"/>
                  </a:cubicBezTo>
                  <a:cubicBezTo>
                    <a:pt x="281" y="26"/>
                    <a:pt x="281" y="26"/>
                    <a:pt x="281" y="26"/>
                  </a:cubicBezTo>
                  <a:cubicBezTo>
                    <a:pt x="281" y="26"/>
                    <a:pt x="282" y="26"/>
                    <a:pt x="282" y="26"/>
                  </a:cubicBezTo>
                  <a:cubicBezTo>
                    <a:pt x="282" y="26"/>
                    <a:pt x="282" y="25"/>
                    <a:pt x="282" y="25"/>
                  </a:cubicBezTo>
                  <a:cubicBezTo>
                    <a:pt x="282" y="25"/>
                    <a:pt x="282" y="25"/>
                    <a:pt x="283" y="25"/>
                  </a:cubicBezTo>
                  <a:cubicBezTo>
                    <a:pt x="283" y="25"/>
                    <a:pt x="283" y="25"/>
                    <a:pt x="283" y="25"/>
                  </a:cubicBezTo>
                  <a:cubicBezTo>
                    <a:pt x="283" y="25"/>
                    <a:pt x="283" y="25"/>
                    <a:pt x="284" y="25"/>
                  </a:cubicBezTo>
                  <a:cubicBezTo>
                    <a:pt x="284" y="25"/>
                    <a:pt x="284" y="25"/>
                    <a:pt x="284" y="25"/>
                  </a:cubicBezTo>
                  <a:cubicBezTo>
                    <a:pt x="284" y="25"/>
                    <a:pt x="285" y="24"/>
                    <a:pt x="285" y="24"/>
                  </a:cubicBezTo>
                  <a:cubicBezTo>
                    <a:pt x="285" y="24"/>
                    <a:pt x="285" y="24"/>
                    <a:pt x="285" y="24"/>
                  </a:cubicBezTo>
                  <a:cubicBezTo>
                    <a:pt x="286" y="24"/>
                    <a:pt x="286" y="24"/>
                    <a:pt x="287" y="24"/>
                  </a:cubicBezTo>
                  <a:cubicBezTo>
                    <a:pt x="287" y="24"/>
                    <a:pt x="287" y="24"/>
                    <a:pt x="287" y="24"/>
                  </a:cubicBezTo>
                  <a:cubicBezTo>
                    <a:pt x="287" y="24"/>
                    <a:pt x="287" y="24"/>
                    <a:pt x="288" y="24"/>
                  </a:cubicBezTo>
                  <a:cubicBezTo>
                    <a:pt x="288" y="23"/>
                    <a:pt x="288" y="23"/>
                    <a:pt x="288" y="23"/>
                  </a:cubicBezTo>
                  <a:cubicBezTo>
                    <a:pt x="288" y="23"/>
                    <a:pt x="289" y="23"/>
                    <a:pt x="289" y="23"/>
                  </a:cubicBezTo>
                  <a:cubicBezTo>
                    <a:pt x="289" y="23"/>
                    <a:pt x="289" y="23"/>
                    <a:pt x="289" y="23"/>
                  </a:cubicBezTo>
                  <a:cubicBezTo>
                    <a:pt x="290" y="23"/>
                    <a:pt x="290" y="23"/>
                    <a:pt x="291" y="23"/>
                  </a:cubicBezTo>
                  <a:cubicBezTo>
                    <a:pt x="291" y="23"/>
                    <a:pt x="291" y="23"/>
                    <a:pt x="291" y="23"/>
                  </a:cubicBezTo>
                  <a:cubicBezTo>
                    <a:pt x="291" y="23"/>
                    <a:pt x="292" y="23"/>
                    <a:pt x="293" y="23"/>
                  </a:cubicBezTo>
                  <a:cubicBezTo>
                    <a:pt x="293" y="22"/>
                    <a:pt x="293" y="22"/>
                    <a:pt x="293" y="22"/>
                  </a:cubicBezTo>
                  <a:cubicBezTo>
                    <a:pt x="295" y="22"/>
                    <a:pt x="297" y="22"/>
                    <a:pt x="299" y="22"/>
                  </a:cubicBezTo>
                  <a:cubicBezTo>
                    <a:pt x="299" y="22"/>
                    <a:pt x="299" y="22"/>
                    <a:pt x="299" y="21"/>
                  </a:cubicBezTo>
                  <a:cubicBezTo>
                    <a:pt x="299" y="21"/>
                    <a:pt x="300" y="21"/>
                    <a:pt x="301" y="21"/>
                  </a:cubicBezTo>
                  <a:cubicBezTo>
                    <a:pt x="301" y="22"/>
                    <a:pt x="301" y="22"/>
                    <a:pt x="301" y="22"/>
                  </a:cubicBezTo>
                  <a:cubicBezTo>
                    <a:pt x="302" y="22"/>
                    <a:pt x="303" y="22"/>
                    <a:pt x="304" y="22"/>
                  </a:cubicBezTo>
                  <a:cubicBezTo>
                    <a:pt x="304" y="22"/>
                    <a:pt x="304" y="22"/>
                    <a:pt x="304" y="22"/>
                  </a:cubicBezTo>
                  <a:cubicBezTo>
                    <a:pt x="305" y="22"/>
                    <a:pt x="306" y="22"/>
                    <a:pt x="306" y="22"/>
                  </a:cubicBezTo>
                  <a:cubicBezTo>
                    <a:pt x="306" y="22"/>
                    <a:pt x="306" y="22"/>
                    <a:pt x="306" y="23"/>
                  </a:cubicBezTo>
                  <a:cubicBezTo>
                    <a:pt x="307" y="23"/>
                    <a:pt x="307" y="23"/>
                    <a:pt x="308" y="23"/>
                  </a:cubicBezTo>
                  <a:cubicBezTo>
                    <a:pt x="308" y="23"/>
                    <a:pt x="308" y="23"/>
                    <a:pt x="308" y="23"/>
                  </a:cubicBezTo>
                  <a:cubicBezTo>
                    <a:pt x="308" y="23"/>
                    <a:pt x="309" y="23"/>
                    <a:pt x="309" y="23"/>
                  </a:cubicBezTo>
                  <a:cubicBezTo>
                    <a:pt x="309" y="23"/>
                    <a:pt x="309" y="23"/>
                    <a:pt x="309" y="23"/>
                  </a:cubicBezTo>
                  <a:cubicBezTo>
                    <a:pt x="310" y="23"/>
                    <a:pt x="311" y="23"/>
                    <a:pt x="312" y="24"/>
                  </a:cubicBezTo>
                  <a:cubicBezTo>
                    <a:pt x="312" y="24"/>
                    <a:pt x="312" y="24"/>
                    <a:pt x="312" y="24"/>
                  </a:cubicBezTo>
                  <a:cubicBezTo>
                    <a:pt x="312" y="24"/>
                    <a:pt x="312" y="24"/>
                    <a:pt x="312" y="24"/>
                  </a:cubicBezTo>
                  <a:cubicBezTo>
                    <a:pt x="312" y="24"/>
                    <a:pt x="312" y="24"/>
                    <a:pt x="312" y="24"/>
                  </a:cubicBezTo>
                  <a:cubicBezTo>
                    <a:pt x="313" y="25"/>
                    <a:pt x="314" y="25"/>
                    <a:pt x="315" y="25"/>
                  </a:cubicBezTo>
                  <a:cubicBezTo>
                    <a:pt x="316" y="26"/>
                    <a:pt x="316" y="26"/>
                    <a:pt x="316" y="26"/>
                  </a:cubicBezTo>
                  <a:cubicBezTo>
                    <a:pt x="317" y="27"/>
                    <a:pt x="317" y="28"/>
                    <a:pt x="318" y="28"/>
                  </a:cubicBezTo>
                  <a:cubicBezTo>
                    <a:pt x="318" y="28"/>
                    <a:pt x="318" y="29"/>
                    <a:pt x="318" y="29"/>
                  </a:cubicBezTo>
                  <a:cubicBezTo>
                    <a:pt x="318" y="29"/>
                    <a:pt x="319" y="29"/>
                    <a:pt x="319" y="29"/>
                  </a:cubicBezTo>
                  <a:cubicBezTo>
                    <a:pt x="319" y="29"/>
                    <a:pt x="319" y="30"/>
                    <a:pt x="319" y="30"/>
                  </a:cubicBezTo>
                  <a:cubicBezTo>
                    <a:pt x="319" y="30"/>
                    <a:pt x="319" y="30"/>
                    <a:pt x="319" y="30"/>
                  </a:cubicBezTo>
                  <a:cubicBezTo>
                    <a:pt x="319" y="30"/>
                    <a:pt x="319" y="30"/>
                    <a:pt x="319" y="31"/>
                  </a:cubicBezTo>
                  <a:cubicBezTo>
                    <a:pt x="319" y="31"/>
                    <a:pt x="319" y="31"/>
                    <a:pt x="320" y="31"/>
                  </a:cubicBezTo>
                  <a:cubicBezTo>
                    <a:pt x="320" y="31"/>
                    <a:pt x="320" y="31"/>
                    <a:pt x="320" y="31"/>
                  </a:cubicBezTo>
                  <a:cubicBezTo>
                    <a:pt x="320" y="31"/>
                    <a:pt x="320" y="31"/>
                    <a:pt x="320" y="31"/>
                  </a:cubicBezTo>
                  <a:cubicBezTo>
                    <a:pt x="320" y="32"/>
                    <a:pt x="320" y="33"/>
                    <a:pt x="321" y="33"/>
                  </a:cubicBezTo>
                  <a:cubicBezTo>
                    <a:pt x="321" y="33"/>
                    <a:pt x="321" y="34"/>
                    <a:pt x="321" y="34"/>
                  </a:cubicBezTo>
                  <a:cubicBezTo>
                    <a:pt x="321" y="34"/>
                    <a:pt x="321" y="34"/>
                    <a:pt x="321" y="34"/>
                  </a:cubicBezTo>
                  <a:cubicBezTo>
                    <a:pt x="321" y="35"/>
                    <a:pt x="323" y="36"/>
                    <a:pt x="323" y="36"/>
                  </a:cubicBezTo>
                  <a:cubicBezTo>
                    <a:pt x="324" y="36"/>
                    <a:pt x="325" y="36"/>
                    <a:pt x="326" y="36"/>
                  </a:cubicBezTo>
                  <a:cubicBezTo>
                    <a:pt x="326" y="36"/>
                    <a:pt x="326" y="36"/>
                    <a:pt x="326" y="36"/>
                  </a:cubicBezTo>
                  <a:cubicBezTo>
                    <a:pt x="326" y="36"/>
                    <a:pt x="327" y="36"/>
                    <a:pt x="327" y="37"/>
                  </a:cubicBezTo>
                  <a:cubicBezTo>
                    <a:pt x="327" y="37"/>
                    <a:pt x="327" y="37"/>
                    <a:pt x="327" y="37"/>
                  </a:cubicBezTo>
                  <a:cubicBezTo>
                    <a:pt x="327" y="37"/>
                    <a:pt x="328" y="37"/>
                    <a:pt x="328" y="37"/>
                  </a:cubicBezTo>
                  <a:cubicBezTo>
                    <a:pt x="328" y="37"/>
                    <a:pt x="328" y="37"/>
                    <a:pt x="328" y="38"/>
                  </a:cubicBezTo>
                  <a:cubicBezTo>
                    <a:pt x="329" y="38"/>
                    <a:pt x="330" y="38"/>
                    <a:pt x="331" y="38"/>
                  </a:cubicBezTo>
                  <a:cubicBezTo>
                    <a:pt x="331" y="37"/>
                    <a:pt x="331" y="37"/>
                    <a:pt x="331" y="37"/>
                  </a:cubicBezTo>
                  <a:cubicBezTo>
                    <a:pt x="332" y="37"/>
                    <a:pt x="332" y="37"/>
                    <a:pt x="332" y="37"/>
                  </a:cubicBezTo>
                  <a:cubicBezTo>
                    <a:pt x="332" y="37"/>
                    <a:pt x="332" y="37"/>
                    <a:pt x="332" y="37"/>
                  </a:cubicBezTo>
                  <a:cubicBezTo>
                    <a:pt x="333" y="37"/>
                    <a:pt x="333" y="37"/>
                    <a:pt x="333" y="37"/>
                  </a:cubicBezTo>
                  <a:cubicBezTo>
                    <a:pt x="333" y="36"/>
                    <a:pt x="333" y="36"/>
                    <a:pt x="334" y="36"/>
                  </a:cubicBezTo>
                  <a:cubicBezTo>
                    <a:pt x="334" y="36"/>
                    <a:pt x="334" y="36"/>
                    <a:pt x="334" y="36"/>
                  </a:cubicBezTo>
                  <a:cubicBezTo>
                    <a:pt x="334" y="36"/>
                    <a:pt x="334" y="36"/>
                    <a:pt x="334" y="35"/>
                  </a:cubicBezTo>
                  <a:cubicBezTo>
                    <a:pt x="335" y="35"/>
                    <a:pt x="335" y="35"/>
                    <a:pt x="336" y="35"/>
                  </a:cubicBezTo>
                  <a:cubicBezTo>
                    <a:pt x="336" y="35"/>
                    <a:pt x="336" y="35"/>
                    <a:pt x="336" y="35"/>
                  </a:cubicBezTo>
                  <a:cubicBezTo>
                    <a:pt x="336" y="35"/>
                    <a:pt x="337" y="35"/>
                    <a:pt x="337" y="35"/>
                  </a:cubicBezTo>
                  <a:cubicBezTo>
                    <a:pt x="343" y="33"/>
                    <a:pt x="350" y="36"/>
                    <a:pt x="355" y="38"/>
                  </a:cubicBezTo>
                  <a:cubicBezTo>
                    <a:pt x="358" y="39"/>
                    <a:pt x="360" y="40"/>
                    <a:pt x="363" y="40"/>
                  </a:cubicBezTo>
                  <a:cubicBezTo>
                    <a:pt x="365" y="40"/>
                    <a:pt x="366" y="41"/>
                    <a:pt x="367" y="41"/>
                  </a:cubicBezTo>
                  <a:cubicBezTo>
                    <a:pt x="368" y="41"/>
                    <a:pt x="368" y="41"/>
                    <a:pt x="368" y="41"/>
                  </a:cubicBezTo>
                  <a:cubicBezTo>
                    <a:pt x="368" y="42"/>
                    <a:pt x="369" y="42"/>
                    <a:pt x="369" y="42"/>
                  </a:cubicBezTo>
                  <a:cubicBezTo>
                    <a:pt x="369" y="42"/>
                    <a:pt x="369" y="42"/>
                    <a:pt x="369" y="42"/>
                  </a:cubicBezTo>
                  <a:cubicBezTo>
                    <a:pt x="369" y="42"/>
                    <a:pt x="369" y="42"/>
                    <a:pt x="370" y="42"/>
                  </a:cubicBezTo>
                  <a:cubicBezTo>
                    <a:pt x="370" y="42"/>
                    <a:pt x="370" y="43"/>
                    <a:pt x="370" y="43"/>
                  </a:cubicBezTo>
                  <a:cubicBezTo>
                    <a:pt x="370" y="43"/>
                    <a:pt x="371" y="43"/>
                    <a:pt x="371" y="43"/>
                  </a:cubicBezTo>
                  <a:cubicBezTo>
                    <a:pt x="371" y="44"/>
                    <a:pt x="371" y="44"/>
                    <a:pt x="372" y="44"/>
                  </a:cubicBezTo>
                  <a:cubicBezTo>
                    <a:pt x="372" y="44"/>
                    <a:pt x="372" y="44"/>
                    <a:pt x="372" y="44"/>
                  </a:cubicBezTo>
                  <a:cubicBezTo>
                    <a:pt x="373" y="45"/>
                    <a:pt x="373" y="45"/>
                    <a:pt x="373" y="46"/>
                  </a:cubicBezTo>
                  <a:cubicBezTo>
                    <a:pt x="374" y="46"/>
                    <a:pt x="374" y="46"/>
                    <a:pt x="374" y="46"/>
                  </a:cubicBezTo>
                  <a:cubicBezTo>
                    <a:pt x="375" y="46"/>
                    <a:pt x="376" y="47"/>
                    <a:pt x="376" y="48"/>
                  </a:cubicBezTo>
                  <a:cubicBezTo>
                    <a:pt x="376" y="48"/>
                    <a:pt x="377" y="48"/>
                    <a:pt x="377" y="48"/>
                  </a:cubicBezTo>
                  <a:cubicBezTo>
                    <a:pt x="378" y="49"/>
                    <a:pt x="379" y="50"/>
                    <a:pt x="379" y="51"/>
                  </a:cubicBezTo>
                  <a:cubicBezTo>
                    <a:pt x="380" y="51"/>
                    <a:pt x="380" y="51"/>
                    <a:pt x="380" y="52"/>
                  </a:cubicBezTo>
                  <a:cubicBezTo>
                    <a:pt x="380" y="52"/>
                    <a:pt x="380" y="52"/>
                    <a:pt x="380" y="52"/>
                  </a:cubicBezTo>
                  <a:cubicBezTo>
                    <a:pt x="381" y="53"/>
                    <a:pt x="382" y="54"/>
                    <a:pt x="383" y="54"/>
                  </a:cubicBezTo>
                  <a:cubicBezTo>
                    <a:pt x="383" y="55"/>
                    <a:pt x="383" y="55"/>
                    <a:pt x="383" y="55"/>
                  </a:cubicBezTo>
                  <a:cubicBezTo>
                    <a:pt x="383" y="55"/>
                    <a:pt x="384" y="56"/>
                    <a:pt x="384" y="56"/>
                  </a:cubicBezTo>
                  <a:cubicBezTo>
                    <a:pt x="384" y="56"/>
                    <a:pt x="384" y="57"/>
                    <a:pt x="385" y="57"/>
                  </a:cubicBezTo>
                  <a:cubicBezTo>
                    <a:pt x="385" y="57"/>
                    <a:pt x="385" y="57"/>
                    <a:pt x="385" y="57"/>
                  </a:cubicBezTo>
                  <a:cubicBezTo>
                    <a:pt x="385" y="58"/>
                    <a:pt x="385" y="58"/>
                    <a:pt x="385" y="58"/>
                  </a:cubicBezTo>
                  <a:cubicBezTo>
                    <a:pt x="386" y="58"/>
                    <a:pt x="386" y="58"/>
                    <a:pt x="386" y="59"/>
                  </a:cubicBezTo>
                  <a:cubicBezTo>
                    <a:pt x="386" y="59"/>
                    <a:pt x="386" y="59"/>
                    <a:pt x="386" y="60"/>
                  </a:cubicBezTo>
                  <a:cubicBezTo>
                    <a:pt x="386" y="60"/>
                    <a:pt x="387" y="60"/>
                    <a:pt x="387" y="60"/>
                  </a:cubicBezTo>
                  <a:cubicBezTo>
                    <a:pt x="387" y="60"/>
                    <a:pt x="387" y="60"/>
                    <a:pt x="387" y="60"/>
                  </a:cubicBezTo>
                  <a:cubicBezTo>
                    <a:pt x="387" y="60"/>
                    <a:pt x="387" y="61"/>
                    <a:pt x="387" y="61"/>
                  </a:cubicBezTo>
                  <a:cubicBezTo>
                    <a:pt x="388" y="61"/>
                    <a:pt x="388" y="62"/>
                    <a:pt x="388" y="62"/>
                  </a:cubicBezTo>
                  <a:cubicBezTo>
                    <a:pt x="388" y="62"/>
                    <a:pt x="388" y="62"/>
                    <a:pt x="388" y="62"/>
                  </a:cubicBezTo>
                  <a:cubicBezTo>
                    <a:pt x="389" y="63"/>
                    <a:pt x="389" y="64"/>
                    <a:pt x="389" y="64"/>
                  </a:cubicBezTo>
                  <a:cubicBezTo>
                    <a:pt x="389" y="64"/>
                    <a:pt x="389" y="64"/>
                    <a:pt x="389" y="64"/>
                  </a:cubicBezTo>
                  <a:cubicBezTo>
                    <a:pt x="389" y="65"/>
                    <a:pt x="389" y="65"/>
                    <a:pt x="389" y="65"/>
                  </a:cubicBezTo>
                  <a:cubicBezTo>
                    <a:pt x="390" y="65"/>
                    <a:pt x="390" y="65"/>
                    <a:pt x="390" y="65"/>
                  </a:cubicBezTo>
                  <a:cubicBezTo>
                    <a:pt x="390" y="65"/>
                    <a:pt x="390" y="66"/>
                    <a:pt x="390" y="66"/>
                  </a:cubicBezTo>
                  <a:cubicBezTo>
                    <a:pt x="390" y="66"/>
                    <a:pt x="390" y="66"/>
                    <a:pt x="390" y="66"/>
                  </a:cubicBezTo>
                  <a:cubicBezTo>
                    <a:pt x="390" y="67"/>
                    <a:pt x="391" y="67"/>
                    <a:pt x="391" y="68"/>
                  </a:cubicBezTo>
                  <a:cubicBezTo>
                    <a:pt x="391" y="68"/>
                    <a:pt x="391" y="68"/>
                    <a:pt x="391" y="68"/>
                  </a:cubicBezTo>
                  <a:cubicBezTo>
                    <a:pt x="392" y="70"/>
                    <a:pt x="393" y="73"/>
                    <a:pt x="393" y="75"/>
                  </a:cubicBezTo>
                  <a:cubicBezTo>
                    <a:pt x="394" y="78"/>
                    <a:pt x="393" y="82"/>
                    <a:pt x="393" y="84"/>
                  </a:cubicBezTo>
                  <a:cubicBezTo>
                    <a:pt x="393" y="85"/>
                    <a:pt x="392" y="86"/>
                    <a:pt x="392" y="87"/>
                  </a:cubicBezTo>
                  <a:cubicBezTo>
                    <a:pt x="392" y="87"/>
                    <a:pt x="392" y="87"/>
                    <a:pt x="392" y="87"/>
                  </a:cubicBezTo>
                  <a:cubicBezTo>
                    <a:pt x="392" y="87"/>
                    <a:pt x="392" y="88"/>
                    <a:pt x="392" y="89"/>
                  </a:cubicBezTo>
                  <a:cubicBezTo>
                    <a:pt x="392" y="89"/>
                    <a:pt x="392" y="89"/>
                    <a:pt x="392" y="89"/>
                  </a:cubicBezTo>
                  <a:cubicBezTo>
                    <a:pt x="391" y="91"/>
                    <a:pt x="391" y="94"/>
                    <a:pt x="391" y="97"/>
                  </a:cubicBezTo>
                  <a:cubicBezTo>
                    <a:pt x="391" y="97"/>
                    <a:pt x="391" y="97"/>
                    <a:pt x="391" y="97"/>
                  </a:cubicBezTo>
                  <a:cubicBezTo>
                    <a:pt x="391" y="97"/>
                    <a:pt x="391" y="98"/>
                    <a:pt x="391" y="98"/>
                  </a:cubicBezTo>
                  <a:cubicBezTo>
                    <a:pt x="390" y="98"/>
                    <a:pt x="390" y="98"/>
                    <a:pt x="390" y="98"/>
                  </a:cubicBezTo>
                  <a:cubicBezTo>
                    <a:pt x="390" y="99"/>
                    <a:pt x="390" y="100"/>
                    <a:pt x="389" y="101"/>
                  </a:cubicBezTo>
                  <a:cubicBezTo>
                    <a:pt x="389" y="101"/>
                    <a:pt x="389" y="101"/>
                    <a:pt x="389" y="101"/>
                  </a:cubicBezTo>
                  <a:cubicBezTo>
                    <a:pt x="389" y="102"/>
                    <a:pt x="389" y="103"/>
                    <a:pt x="388" y="103"/>
                  </a:cubicBezTo>
                  <a:cubicBezTo>
                    <a:pt x="388" y="103"/>
                    <a:pt x="388" y="103"/>
                    <a:pt x="388" y="103"/>
                  </a:cubicBezTo>
                  <a:cubicBezTo>
                    <a:pt x="388" y="104"/>
                    <a:pt x="388" y="104"/>
                    <a:pt x="388" y="105"/>
                  </a:cubicBezTo>
                  <a:cubicBezTo>
                    <a:pt x="388" y="105"/>
                    <a:pt x="387" y="105"/>
                    <a:pt x="387" y="105"/>
                  </a:cubicBezTo>
                  <a:cubicBezTo>
                    <a:pt x="387" y="105"/>
                    <a:pt x="387" y="106"/>
                    <a:pt x="387" y="106"/>
                  </a:cubicBezTo>
                  <a:cubicBezTo>
                    <a:pt x="387" y="106"/>
                    <a:pt x="387" y="106"/>
                    <a:pt x="386" y="106"/>
                  </a:cubicBezTo>
                  <a:cubicBezTo>
                    <a:pt x="386" y="106"/>
                    <a:pt x="386" y="107"/>
                    <a:pt x="386" y="107"/>
                  </a:cubicBezTo>
                  <a:cubicBezTo>
                    <a:pt x="385" y="108"/>
                    <a:pt x="385" y="108"/>
                    <a:pt x="384" y="109"/>
                  </a:cubicBezTo>
                  <a:cubicBezTo>
                    <a:pt x="384" y="109"/>
                    <a:pt x="384" y="109"/>
                    <a:pt x="384" y="110"/>
                  </a:cubicBezTo>
                  <a:cubicBezTo>
                    <a:pt x="384" y="110"/>
                    <a:pt x="383" y="110"/>
                    <a:pt x="383" y="110"/>
                  </a:cubicBezTo>
                  <a:cubicBezTo>
                    <a:pt x="383" y="110"/>
                    <a:pt x="383" y="111"/>
                    <a:pt x="383" y="111"/>
                  </a:cubicBezTo>
                  <a:cubicBezTo>
                    <a:pt x="382" y="111"/>
                    <a:pt x="382" y="111"/>
                    <a:pt x="382" y="111"/>
                  </a:cubicBezTo>
                  <a:cubicBezTo>
                    <a:pt x="381" y="112"/>
                    <a:pt x="380" y="113"/>
                    <a:pt x="380" y="113"/>
                  </a:cubicBezTo>
                  <a:cubicBezTo>
                    <a:pt x="379" y="113"/>
                    <a:pt x="379" y="113"/>
                    <a:pt x="379" y="113"/>
                  </a:cubicBezTo>
                  <a:cubicBezTo>
                    <a:pt x="379" y="114"/>
                    <a:pt x="378" y="115"/>
                    <a:pt x="378" y="115"/>
                  </a:cubicBezTo>
                  <a:cubicBezTo>
                    <a:pt x="377" y="115"/>
                    <a:pt x="377" y="115"/>
                    <a:pt x="377" y="115"/>
                  </a:cubicBezTo>
                  <a:cubicBezTo>
                    <a:pt x="377" y="116"/>
                    <a:pt x="376" y="116"/>
                    <a:pt x="376" y="116"/>
                  </a:cubicBezTo>
                  <a:cubicBezTo>
                    <a:pt x="376" y="116"/>
                    <a:pt x="376" y="116"/>
                    <a:pt x="376" y="116"/>
                  </a:cubicBezTo>
                  <a:cubicBezTo>
                    <a:pt x="375" y="117"/>
                    <a:pt x="375" y="117"/>
                    <a:pt x="375" y="117"/>
                  </a:cubicBezTo>
                  <a:cubicBezTo>
                    <a:pt x="375" y="117"/>
                    <a:pt x="374" y="117"/>
                    <a:pt x="374" y="117"/>
                  </a:cubicBezTo>
                  <a:cubicBezTo>
                    <a:pt x="374" y="118"/>
                    <a:pt x="374" y="118"/>
                    <a:pt x="374" y="118"/>
                  </a:cubicBezTo>
                  <a:cubicBezTo>
                    <a:pt x="374" y="118"/>
                    <a:pt x="373" y="118"/>
                    <a:pt x="373" y="118"/>
                  </a:cubicBezTo>
                  <a:cubicBezTo>
                    <a:pt x="373" y="118"/>
                    <a:pt x="373" y="119"/>
                    <a:pt x="372" y="119"/>
                  </a:cubicBezTo>
                  <a:cubicBezTo>
                    <a:pt x="372" y="119"/>
                    <a:pt x="372" y="119"/>
                    <a:pt x="372" y="119"/>
                  </a:cubicBezTo>
                  <a:cubicBezTo>
                    <a:pt x="372" y="119"/>
                    <a:pt x="371" y="120"/>
                    <a:pt x="371" y="120"/>
                  </a:cubicBezTo>
                  <a:cubicBezTo>
                    <a:pt x="371" y="120"/>
                    <a:pt x="371" y="120"/>
                    <a:pt x="371" y="120"/>
                  </a:cubicBezTo>
                  <a:cubicBezTo>
                    <a:pt x="370" y="120"/>
                    <a:pt x="370" y="120"/>
                    <a:pt x="370" y="121"/>
                  </a:cubicBezTo>
                  <a:cubicBezTo>
                    <a:pt x="370" y="121"/>
                    <a:pt x="369" y="121"/>
                    <a:pt x="369" y="121"/>
                  </a:cubicBezTo>
                  <a:cubicBezTo>
                    <a:pt x="369" y="121"/>
                    <a:pt x="369" y="121"/>
                    <a:pt x="369" y="122"/>
                  </a:cubicBezTo>
                  <a:cubicBezTo>
                    <a:pt x="368" y="122"/>
                    <a:pt x="368" y="122"/>
                    <a:pt x="368" y="122"/>
                  </a:cubicBezTo>
                  <a:cubicBezTo>
                    <a:pt x="367" y="122"/>
                    <a:pt x="367" y="123"/>
                    <a:pt x="367" y="123"/>
                  </a:cubicBezTo>
                  <a:cubicBezTo>
                    <a:pt x="363" y="126"/>
                    <a:pt x="360" y="129"/>
                    <a:pt x="359" y="134"/>
                  </a:cubicBezTo>
                  <a:cubicBezTo>
                    <a:pt x="358" y="135"/>
                    <a:pt x="359" y="139"/>
                    <a:pt x="359" y="139"/>
                  </a:cubicBezTo>
                  <a:cubicBezTo>
                    <a:pt x="360" y="139"/>
                    <a:pt x="360" y="139"/>
                    <a:pt x="360" y="139"/>
                  </a:cubicBezTo>
                  <a:cubicBezTo>
                    <a:pt x="360" y="140"/>
                    <a:pt x="360" y="140"/>
                    <a:pt x="360" y="140"/>
                  </a:cubicBezTo>
                  <a:cubicBezTo>
                    <a:pt x="360" y="140"/>
                    <a:pt x="360" y="140"/>
                    <a:pt x="360" y="140"/>
                  </a:cubicBezTo>
                  <a:cubicBezTo>
                    <a:pt x="360" y="141"/>
                    <a:pt x="360" y="141"/>
                    <a:pt x="360" y="142"/>
                  </a:cubicBezTo>
                  <a:cubicBezTo>
                    <a:pt x="361" y="142"/>
                    <a:pt x="361" y="142"/>
                    <a:pt x="361" y="142"/>
                  </a:cubicBezTo>
                  <a:cubicBezTo>
                    <a:pt x="361" y="142"/>
                    <a:pt x="361" y="142"/>
                    <a:pt x="361" y="143"/>
                  </a:cubicBezTo>
                  <a:cubicBezTo>
                    <a:pt x="361" y="143"/>
                    <a:pt x="361" y="143"/>
                    <a:pt x="361" y="143"/>
                  </a:cubicBezTo>
                  <a:cubicBezTo>
                    <a:pt x="361" y="143"/>
                    <a:pt x="361" y="144"/>
                    <a:pt x="362" y="144"/>
                  </a:cubicBezTo>
                  <a:cubicBezTo>
                    <a:pt x="362" y="144"/>
                    <a:pt x="362" y="144"/>
                    <a:pt x="362" y="144"/>
                  </a:cubicBezTo>
                  <a:cubicBezTo>
                    <a:pt x="362" y="145"/>
                    <a:pt x="362" y="145"/>
                    <a:pt x="362" y="145"/>
                  </a:cubicBezTo>
                  <a:cubicBezTo>
                    <a:pt x="362" y="145"/>
                    <a:pt x="362" y="145"/>
                    <a:pt x="362" y="145"/>
                  </a:cubicBezTo>
                  <a:cubicBezTo>
                    <a:pt x="362" y="146"/>
                    <a:pt x="362" y="146"/>
                    <a:pt x="362" y="146"/>
                  </a:cubicBezTo>
                  <a:cubicBezTo>
                    <a:pt x="362" y="146"/>
                    <a:pt x="362" y="146"/>
                    <a:pt x="363" y="146"/>
                  </a:cubicBezTo>
                  <a:cubicBezTo>
                    <a:pt x="363" y="147"/>
                    <a:pt x="363" y="147"/>
                    <a:pt x="363" y="148"/>
                  </a:cubicBezTo>
                  <a:cubicBezTo>
                    <a:pt x="363" y="148"/>
                    <a:pt x="363" y="148"/>
                    <a:pt x="363" y="148"/>
                  </a:cubicBezTo>
                  <a:cubicBezTo>
                    <a:pt x="363" y="149"/>
                    <a:pt x="363" y="149"/>
                    <a:pt x="363" y="149"/>
                  </a:cubicBezTo>
                  <a:cubicBezTo>
                    <a:pt x="364" y="151"/>
                    <a:pt x="364" y="153"/>
                    <a:pt x="364" y="155"/>
                  </a:cubicBezTo>
                  <a:cubicBezTo>
                    <a:pt x="364" y="157"/>
                    <a:pt x="363" y="159"/>
                    <a:pt x="362" y="160"/>
                  </a:cubicBezTo>
                  <a:cubicBezTo>
                    <a:pt x="362" y="160"/>
                    <a:pt x="361" y="160"/>
                    <a:pt x="361" y="160"/>
                  </a:cubicBezTo>
                  <a:cubicBezTo>
                    <a:pt x="361" y="161"/>
                    <a:pt x="361" y="161"/>
                    <a:pt x="361" y="161"/>
                  </a:cubicBezTo>
                  <a:cubicBezTo>
                    <a:pt x="361" y="161"/>
                    <a:pt x="361" y="161"/>
                    <a:pt x="360" y="161"/>
                  </a:cubicBezTo>
                  <a:cubicBezTo>
                    <a:pt x="360" y="162"/>
                    <a:pt x="360" y="162"/>
                    <a:pt x="360" y="162"/>
                  </a:cubicBezTo>
                  <a:cubicBezTo>
                    <a:pt x="360" y="162"/>
                    <a:pt x="360" y="162"/>
                    <a:pt x="360" y="162"/>
                  </a:cubicBezTo>
                  <a:cubicBezTo>
                    <a:pt x="360" y="163"/>
                    <a:pt x="360" y="163"/>
                    <a:pt x="360" y="163"/>
                  </a:cubicBezTo>
                  <a:cubicBezTo>
                    <a:pt x="360" y="163"/>
                    <a:pt x="359" y="163"/>
                    <a:pt x="359" y="163"/>
                  </a:cubicBezTo>
                  <a:cubicBezTo>
                    <a:pt x="359" y="164"/>
                    <a:pt x="359" y="164"/>
                    <a:pt x="359" y="164"/>
                  </a:cubicBezTo>
                  <a:cubicBezTo>
                    <a:pt x="359" y="164"/>
                    <a:pt x="359" y="164"/>
                    <a:pt x="358" y="165"/>
                  </a:cubicBezTo>
                  <a:cubicBezTo>
                    <a:pt x="358" y="165"/>
                    <a:pt x="358" y="165"/>
                    <a:pt x="358" y="165"/>
                  </a:cubicBezTo>
                  <a:cubicBezTo>
                    <a:pt x="358" y="165"/>
                    <a:pt x="358" y="165"/>
                    <a:pt x="358" y="166"/>
                  </a:cubicBezTo>
                  <a:cubicBezTo>
                    <a:pt x="357" y="166"/>
                    <a:pt x="357" y="167"/>
                    <a:pt x="357" y="168"/>
                  </a:cubicBezTo>
                  <a:cubicBezTo>
                    <a:pt x="357" y="168"/>
                    <a:pt x="357" y="168"/>
                    <a:pt x="357" y="168"/>
                  </a:cubicBezTo>
                  <a:cubicBezTo>
                    <a:pt x="357" y="169"/>
                    <a:pt x="357" y="170"/>
                    <a:pt x="357" y="171"/>
                  </a:cubicBezTo>
                  <a:cubicBezTo>
                    <a:pt x="357" y="171"/>
                    <a:pt x="356" y="171"/>
                    <a:pt x="356" y="171"/>
                  </a:cubicBezTo>
                  <a:cubicBezTo>
                    <a:pt x="356" y="172"/>
                    <a:pt x="356" y="172"/>
                    <a:pt x="356" y="173"/>
                  </a:cubicBezTo>
                  <a:cubicBezTo>
                    <a:pt x="356" y="173"/>
                    <a:pt x="355" y="173"/>
                    <a:pt x="355" y="174"/>
                  </a:cubicBezTo>
                  <a:cubicBezTo>
                    <a:pt x="355" y="174"/>
                    <a:pt x="355" y="174"/>
                    <a:pt x="355" y="174"/>
                  </a:cubicBezTo>
                  <a:cubicBezTo>
                    <a:pt x="355" y="174"/>
                    <a:pt x="354" y="175"/>
                    <a:pt x="354" y="175"/>
                  </a:cubicBezTo>
                  <a:cubicBezTo>
                    <a:pt x="354" y="176"/>
                    <a:pt x="354" y="178"/>
                    <a:pt x="355" y="178"/>
                  </a:cubicBezTo>
                  <a:cubicBezTo>
                    <a:pt x="355" y="179"/>
                    <a:pt x="355" y="181"/>
                    <a:pt x="355" y="182"/>
                  </a:cubicBezTo>
                  <a:cubicBezTo>
                    <a:pt x="355" y="182"/>
                    <a:pt x="355" y="182"/>
                    <a:pt x="355" y="182"/>
                  </a:cubicBezTo>
                  <a:cubicBezTo>
                    <a:pt x="355" y="182"/>
                    <a:pt x="355" y="183"/>
                    <a:pt x="355" y="183"/>
                  </a:cubicBezTo>
                  <a:cubicBezTo>
                    <a:pt x="356" y="185"/>
                    <a:pt x="356" y="187"/>
                    <a:pt x="357" y="189"/>
                  </a:cubicBezTo>
                  <a:cubicBezTo>
                    <a:pt x="357" y="189"/>
                    <a:pt x="357" y="190"/>
                    <a:pt x="357" y="190"/>
                  </a:cubicBezTo>
                  <a:cubicBezTo>
                    <a:pt x="357" y="190"/>
                    <a:pt x="357" y="190"/>
                    <a:pt x="357" y="190"/>
                  </a:cubicBezTo>
                  <a:cubicBezTo>
                    <a:pt x="357" y="190"/>
                    <a:pt x="357" y="191"/>
                    <a:pt x="357" y="191"/>
                  </a:cubicBezTo>
                  <a:cubicBezTo>
                    <a:pt x="357" y="191"/>
                    <a:pt x="358" y="191"/>
                    <a:pt x="358" y="191"/>
                  </a:cubicBezTo>
                  <a:cubicBezTo>
                    <a:pt x="358" y="192"/>
                    <a:pt x="358" y="192"/>
                    <a:pt x="358" y="193"/>
                  </a:cubicBezTo>
                  <a:cubicBezTo>
                    <a:pt x="358" y="193"/>
                    <a:pt x="358" y="193"/>
                    <a:pt x="358" y="193"/>
                  </a:cubicBezTo>
                  <a:cubicBezTo>
                    <a:pt x="358" y="193"/>
                    <a:pt x="358" y="194"/>
                    <a:pt x="358" y="195"/>
                  </a:cubicBezTo>
                  <a:cubicBezTo>
                    <a:pt x="358" y="195"/>
                    <a:pt x="358" y="195"/>
                    <a:pt x="358" y="195"/>
                  </a:cubicBezTo>
                  <a:cubicBezTo>
                    <a:pt x="358" y="195"/>
                    <a:pt x="358" y="196"/>
                    <a:pt x="358" y="197"/>
                  </a:cubicBezTo>
                  <a:cubicBezTo>
                    <a:pt x="358" y="197"/>
                    <a:pt x="359" y="197"/>
                    <a:pt x="359" y="197"/>
                  </a:cubicBezTo>
                  <a:cubicBezTo>
                    <a:pt x="359" y="198"/>
                    <a:pt x="359" y="199"/>
                    <a:pt x="359" y="200"/>
                  </a:cubicBezTo>
                  <a:cubicBezTo>
                    <a:pt x="359" y="200"/>
                    <a:pt x="359" y="200"/>
                    <a:pt x="359" y="200"/>
                  </a:cubicBezTo>
                  <a:cubicBezTo>
                    <a:pt x="359" y="202"/>
                    <a:pt x="359" y="203"/>
                    <a:pt x="359" y="204"/>
                  </a:cubicBezTo>
                  <a:cubicBezTo>
                    <a:pt x="359" y="204"/>
                    <a:pt x="359" y="204"/>
                    <a:pt x="359" y="204"/>
                  </a:cubicBezTo>
                  <a:cubicBezTo>
                    <a:pt x="360" y="207"/>
                    <a:pt x="360" y="209"/>
                    <a:pt x="360" y="211"/>
                  </a:cubicBezTo>
                  <a:cubicBezTo>
                    <a:pt x="362" y="216"/>
                    <a:pt x="365" y="220"/>
                    <a:pt x="369" y="223"/>
                  </a:cubicBezTo>
                  <a:cubicBezTo>
                    <a:pt x="370" y="224"/>
                    <a:pt x="371" y="225"/>
                    <a:pt x="372" y="226"/>
                  </a:cubicBezTo>
                  <a:cubicBezTo>
                    <a:pt x="372" y="226"/>
                    <a:pt x="372" y="226"/>
                    <a:pt x="372" y="226"/>
                  </a:cubicBezTo>
                  <a:cubicBezTo>
                    <a:pt x="372" y="226"/>
                    <a:pt x="373" y="227"/>
                    <a:pt x="373" y="227"/>
                  </a:cubicBezTo>
                  <a:cubicBezTo>
                    <a:pt x="373" y="227"/>
                    <a:pt x="373" y="227"/>
                    <a:pt x="373" y="227"/>
                  </a:cubicBezTo>
                  <a:cubicBezTo>
                    <a:pt x="375" y="228"/>
                    <a:pt x="376" y="230"/>
                    <a:pt x="378" y="232"/>
                  </a:cubicBezTo>
                  <a:cubicBezTo>
                    <a:pt x="378" y="232"/>
                    <a:pt x="378" y="232"/>
                    <a:pt x="379" y="232"/>
                  </a:cubicBezTo>
                  <a:cubicBezTo>
                    <a:pt x="380" y="233"/>
                    <a:pt x="381" y="234"/>
                    <a:pt x="383" y="236"/>
                  </a:cubicBezTo>
                  <a:cubicBezTo>
                    <a:pt x="383" y="236"/>
                    <a:pt x="383" y="236"/>
                    <a:pt x="383" y="236"/>
                  </a:cubicBezTo>
                  <a:cubicBezTo>
                    <a:pt x="384" y="237"/>
                    <a:pt x="385" y="238"/>
                    <a:pt x="386" y="239"/>
                  </a:cubicBezTo>
                  <a:cubicBezTo>
                    <a:pt x="386" y="239"/>
                    <a:pt x="386" y="239"/>
                    <a:pt x="387" y="239"/>
                  </a:cubicBezTo>
                  <a:cubicBezTo>
                    <a:pt x="388" y="240"/>
                    <a:pt x="388" y="241"/>
                    <a:pt x="389" y="242"/>
                  </a:cubicBezTo>
                  <a:cubicBezTo>
                    <a:pt x="389" y="242"/>
                    <a:pt x="390" y="242"/>
                    <a:pt x="390" y="242"/>
                  </a:cubicBezTo>
                  <a:cubicBezTo>
                    <a:pt x="390" y="243"/>
                    <a:pt x="391" y="243"/>
                    <a:pt x="392" y="244"/>
                  </a:cubicBezTo>
                  <a:cubicBezTo>
                    <a:pt x="392" y="244"/>
                    <a:pt x="392" y="244"/>
                    <a:pt x="392" y="244"/>
                  </a:cubicBezTo>
                  <a:cubicBezTo>
                    <a:pt x="393" y="244"/>
                    <a:pt x="393" y="245"/>
                    <a:pt x="394" y="246"/>
                  </a:cubicBezTo>
                  <a:cubicBezTo>
                    <a:pt x="394" y="246"/>
                    <a:pt x="394" y="246"/>
                    <a:pt x="394" y="246"/>
                  </a:cubicBezTo>
                  <a:cubicBezTo>
                    <a:pt x="395" y="246"/>
                    <a:pt x="395" y="246"/>
                    <a:pt x="395" y="246"/>
                  </a:cubicBezTo>
                  <a:cubicBezTo>
                    <a:pt x="395" y="246"/>
                    <a:pt x="395" y="246"/>
                    <a:pt x="395" y="246"/>
                  </a:cubicBezTo>
                  <a:cubicBezTo>
                    <a:pt x="395" y="247"/>
                    <a:pt x="395" y="247"/>
                    <a:pt x="395" y="247"/>
                  </a:cubicBezTo>
                  <a:cubicBezTo>
                    <a:pt x="396" y="247"/>
                    <a:pt x="396" y="247"/>
                    <a:pt x="396" y="247"/>
                  </a:cubicBezTo>
                  <a:cubicBezTo>
                    <a:pt x="396" y="248"/>
                    <a:pt x="397" y="248"/>
                    <a:pt x="397" y="248"/>
                  </a:cubicBezTo>
                  <a:cubicBezTo>
                    <a:pt x="397" y="248"/>
                    <a:pt x="398" y="248"/>
                    <a:pt x="398" y="248"/>
                  </a:cubicBezTo>
                  <a:cubicBezTo>
                    <a:pt x="398" y="249"/>
                    <a:pt x="399" y="249"/>
                    <a:pt x="399" y="250"/>
                  </a:cubicBezTo>
                  <a:cubicBezTo>
                    <a:pt x="399" y="250"/>
                    <a:pt x="399" y="250"/>
                    <a:pt x="400" y="250"/>
                  </a:cubicBezTo>
                  <a:cubicBezTo>
                    <a:pt x="400" y="250"/>
                    <a:pt x="400" y="251"/>
                    <a:pt x="400" y="251"/>
                  </a:cubicBezTo>
                  <a:cubicBezTo>
                    <a:pt x="401" y="251"/>
                    <a:pt x="401" y="251"/>
                    <a:pt x="401" y="251"/>
                  </a:cubicBezTo>
                  <a:cubicBezTo>
                    <a:pt x="402" y="251"/>
                    <a:pt x="402" y="252"/>
                    <a:pt x="402" y="252"/>
                  </a:cubicBezTo>
                  <a:cubicBezTo>
                    <a:pt x="402" y="252"/>
                    <a:pt x="402" y="252"/>
                    <a:pt x="402" y="252"/>
                  </a:cubicBezTo>
                  <a:cubicBezTo>
                    <a:pt x="403" y="252"/>
                    <a:pt x="403" y="252"/>
                    <a:pt x="403" y="253"/>
                  </a:cubicBezTo>
                  <a:cubicBezTo>
                    <a:pt x="403" y="253"/>
                    <a:pt x="403" y="253"/>
                    <a:pt x="403" y="253"/>
                  </a:cubicBezTo>
                  <a:cubicBezTo>
                    <a:pt x="404" y="253"/>
                    <a:pt x="404" y="253"/>
                    <a:pt x="404" y="254"/>
                  </a:cubicBezTo>
                  <a:cubicBezTo>
                    <a:pt x="404" y="254"/>
                    <a:pt x="405" y="254"/>
                    <a:pt x="405" y="254"/>
                  </a:cubicBezTo>
                  <a:cubicBezTo>
                    <a:pt x="405" y="254"/>
                    <a:pt x="405" y="254"/>
                    <a:pt x="405" y="254"/>
                  </a:cubicBezTo>
                  <a:cubicBezTo>
                    <a:pt x="405" y="254"/>
                    <a:pt x="406" y="254"/>
                    <a:pt x="406" y="254"/>
                  </a:cubicBezTo>
                  <a:cubicBezTo>
                    <a:pt x="406" y="255"/>
                    <a:pt x="406" y="255"/>
                    <a:pt x="406" y="255"/>
                  </a:cubicBezTo>
                  <a:cubicBezTo>
                    <a:pt x="407" y="255"/>
                    <a:pt x="407" y="255"/>
                    <a:pt x="407" y="255"/>
                  </a:cubicBezTo>
                  <a:cubicBezTo>
                    <a:pt x="407" y="256"/>
                    <a:pt x="407" y="256"/>
                    <a:pt x="407" y="256"/>
                  </a:cubicBezTo>
                  <a:cubicBezTo>
                    <a:pt x="408" y="256"/>
                    <a:pt x="408" y="256"/>
                    <a:pt x="409" y="256"/>
                  </a:cubicBezTo>
                  <a:cubicBezTo>
                    <a:pt x="409" y="256"/>
                    <a:pt x="409" y="257"/>
                    <a:pt x="409" y="257"/>
                  </a:cubicBezTo>
                  <a:cubicBezTo>
                    <a:pt x="409" y="257"/>
                    <a:pt x="410" y="257"/>
                    <a:pt x="410" y="257"/>
                  </a:cubicBezTo>
                  <a:cubicBezTo>
                    <a:pt x="410" y="257"/>
                    <a:pt x="410" y="257"/>
                    <a:pt x="410" y="258"/>
                  </a:cubicBezTo>
                  <a:cubicBezTo>
                    <a:pt x="411" y="258"/>
                    <a:pt x="412" y="258"/>
                    <a:pt x="412" y="258"/>
                  </a:cubicBezTo>
                  <a:cubicBezTo>
                    <a:pt x="412" y="258"/>
                    <a:pt x="412" y="259"/>
                    <a:pt x="413" y="259"/>
                  </a:cubicBezTo>
                  <a:cubicBezTo>
                    <a:pt x="413" y="259"/>
                    <a:pt x="414" y="259"/>
                    <a:pt x="414" y="259"/>
                  </a:cubicBezTo>
                  <a:cubicBezTo>
                    <a:pt x="414" y="259"/>
                    <a:pt x="414" y="260"/>
                    <a:pt x="414" y="260"/>
                  </a:cubicBezTo>
                  <a:cubicBezTo>
                    <a:pt x="414" y="260"/>
                    <a:pt x="414" y="260"/>
                    <a:pt x="415" y="260"/>
                  </a:cubicBezTo>
                  <a:cubicBezTo>
                    <a:pt x="415" y="260"/>
                    <a:pt x="415" y="260"/>
                    <a:pt x="415" y="260"/>
                  </a:cubicBezTo>
                  <a:cubicBezTo>
                    <a:pt x="415" y="260"/>
                    <a:pt x="416" y="260"/>
                    <a:pt x="417" y="261"/>
                  </a:cubicBezTo>
                  <a:cubicBezTo>
                    <a:pt x="417" y="261"/>
                    <a:pt x="417" y="261"/>
                    <a:pt x="417" y="261"/>
                  </a:cubicBezTo>
                  <a:cubicBezTo>
                    <a:pt x="417" y="261"/>
                    <a:pt x="417" y="261"/>
                    <a:pt x="418" y="261"/>
                  </a:cubicBezTo>
                  <a:cubicBezTo>
                    <a:pt x="418" y="261"/>
                    <a:pt x="418" y="261"/>
                    <a:pt x="418" y="261"/>
                  </a:cubicBezTo>
                  <a:cubicBezTo>
                    <a:pt x="418" y="262"/>
                    <a:pt x="419" y="262"/>
                    <a:pt x="419" y="262"/>
                  </a:cubicBezTo>
                  <a:cubicBezTo>
                    <a:pt x="419" y="262"/>
                    <a:pt x="419" y="262"/>
                    <a:pt x="419" y="262"/>
                  </a:cubicBezTo>
                  <a:cubicBezTo>
                    <a:pt x="420" y="262"/>
                    <a:pt x="420" y="262"/>
                    <a:pt x="420" y="262"/>
                  </a:cubicBezTo>
                  <a:cubicBezTo>
                    <a:pt x="420" y="262"/>
                    <a:pt x="420" y="262"/>
                    <a:pt x="420" y="262"/>
                  </a:cubicBezTo>
                  <a:cubicBezTo>
                    <a:pt x="421" y="262"/>
                    <a:pt x="421" y="262"/>
                    <a:pt x="421" y="262"/>
                  </a:cubicBezTo>
                  <a:cubicBezTo>
                    <a:pt x="421" y="263"/>
                    <a:pt x="421" y="263"/>
                    <a:pt x="421" y="263"/>
                  </a:cubicBezTo>
                  <a:cubicBezTo>
                    <a:pt x="421" y="263"/>
                    <a:pt x="422" y="263"/>
                    <a:pt x="422" y="263"/>
                  </a:cubicBezTo>
                  <a:cubicBezTo>
                    <a:pt x="422" y="263"/>
                    <a:pt x="422" y="263"/>
                    <a:pt x="422" y="263"/>
                  </a:cubicBezTo>
                  <a:cubicBezTo>
                    <a:pt x="422" y="263"/>
                    <a:pt x="423" y="263"/>
                    <a:pt x="423" y="263"/>
                  </a:cubicBezTo>
                  <a:cubicBezTo>
                    <a:pt x="423" y="263"/>
                    <a:pt x="423" y="263"/>
                    <a:pt x="423" y="263"/>
                  </a:cubicBezTo>
                  <a:cubicBezTo>
                    <a:pt x="423" y="263"/>
                    <a:pt x="424" y="263"/>
                    <a:pt x="424" y="263"/>
                  </a:cubicBezTo>
                  <a:cubicBezTo>
                    <a:pt x="424" y="264"/>
                    <a:pt x="424" y="264"/>
                    <a:pt x="424" y="264"/>
                  </a:cubicBezTo>
                  <a:cubicBezTo>
                    <a:pt x="425" y="264"/>
                    <a:pt x="425" y="264"/>
                    <a:pt x="426" y="264"/>
                  </a:cubicBezTo>
                  <a:cubicBezTo>
                    <a:pt x="426" y="264"/>
                    <a:pt x="426" y="264"/>
                    <a:pt x="426" y="264"/>
                  </a:cubicBezTo>
                  <a:cubicBezTo>
                    <a:pt x="426" y="264"/>
                    <a:pt x="426" y="264"/>
                    <a:pt x="427" y="264"/>
                  </a:cubicBezTo>
                  <a:cubicBezTo>
                    <a:pt x="427" y="264"/>
                    <a:pt x="427" y="264"/>
                    <a:pt x="427" y="265"/>
                  </a:cubicBezTo>
                  <a:cubicBezTo>
                    <a:pt x="428" y="265"/>
                    <a:pt x="428" y="265"/>
                    <a:pt x="429" y="265"/>
                  </a:cubicBezTo>
                  <a:cubicBezTo>
                    <a:pt x="429" y="265"/>
                    <a:pt x="429" y="265"/>
                    <a:pt x="429" y="265"/>
                  </a:cubicBezTo>
                  <a:cubicBezTo>
                    <a:pt x="430" y="265"/>
                    <a:pt x="431" y="265"/>
                    <a:pt x="431" y="265"/>
                  </a:cubicBezTo>
                  <a:cubicBezTo>
                    <a:pt x="431" y="265"/>
                    <a:pt x="431" y="265"/>
                    <a:pt x="431" y="265"/>
                  </a:cubicBezTo>
                  <a:cubicBezTo>
                    <a:pt x="432" y="265"/>
                    <a:pt x="433" y="265"/>
                    <a:pt x="434" y="265"/>
                  </a:cubicBezTo>
                  <a:cubicBezTo>
                    <a:pt x="434" y="265"/>
                    <a:pt x="434" y="265"/>
                    <a:pt x="434" y="265"/>
                  </a:cubicBezTo>
                  <a:cubicBezTo>
                    <a:pt x="435" y="265"/>
                    <a:pt x="437" y="265"/>
                    <a:pt x="438" y="265"/>
                  </a:cubicBezTo>
                  <a:cubicBezTo>
                    <a:pt x="438" y="265"/>
                    <a:pt x="438" y="265"/>
                    <a:pt x="438" y="265"/>
                  </a:cubicBezTo>
                  <a:cubicBezTo>
                    <a:pt x="440" y="265"/>
                    <a:pt x="443" y="265"/>
                    <a:pt x="445" y="265"/>
                  </a:cubicBezTo>
                  <a:cubicBezTo>
                    <a:pt x="445" y="265"/>
                    <a:pt x="445" y="265"/>
                    <a:pt x="445" y="265"/>
                  </a:cubicBezTo>
                  <a:cubicBezTo>
                    <a:pt x="445" y="265"/>
                    <a:pt x="446" y="265"/>
                    <a:pt x="446" y="265"/>
                  </a:cubicBezTo>
                  <a:cubicBezTo>
                    <a:pt x="446" y="265"/>
                    <a:pt x="446" y="265"/>
                    <a:pt x="446" y="266"/>
                  </a:cubicBezTo>
                  <a:cubicBezTo>
                    <a:pt x="446" y="266"/>
                    <a:pt x="447" y="266"/>
                    <a:pt x="447" y="266"/>
                  </a:cubicBezTo>
                  <a:cubicBezTo>
                    <a:pt x="447" y="266"/>
                    <a:pt x="447" y="266"/>
                    <a:pt x="447" y="266"/>
                  </a:cubicBezTo>
                  <a:cubicBezTo>
                    <a:pt x="448" y="266"/>
                    <a:pt x="448" y="267"/>
                    <a:pt x="449" y="267"/>
                  </a:cubicBezTo>
                  <a:cubicBezTo>
                    <a:pt x="449" y="267"/>
                    <a:pt x="449" y="267"/>
                    <a:pt x="449" y="267"/>
                  </a:cubicBezTo>
                  <a:cubicBezTo>
                    <a:pt x="449" y="267"/>
                    <a:pt x="450" y="267"/>
                    <a:pt x="451" y="268"/>
                  </a:cubicBezTo>
                  <a:cubicBezTo>
                    <a:pt x="451" y="268"/>
                    <a:pt x="451" y="268"/>
                    <a:pt x="451" y="268"/>
                  </a:cubicBezTo>
                  <a:cubicBezTo>
                    <a:pt x="451" y="268"/>
                    <a:pt x="451" y="268"/>
                    <a:pt x="452" y="268"/>
                  </a:cubicBezTo>
                  <a:cubicBezTo>
                    <a:pt x="452" y="268"/>
                    <a:pt x="452" y="268"/>
                    <a:pt x="452" y="268"/>
                  </a:cubicBezTo>
                  <a:cubicBezTo>
                    <a:pt x="452" y="268"/>
                    <a:pt x="452" y="268"/>
                    <a:pt x="452" y="268"/>
                  </a:cubicBezTo>
                  <a:cubicBezTo>
                    <a:pt x="452" y="268"/>
                    <a:pt x="452" y="269"/>
                    <a:pt x="452" y="269"/>
                  </a:cubicBezTo>
                  <a:cubicBezTo>
                    <a:pt x="453" y="269"/>
                    <a:pt x="453" y="269"/>
                    <a:pt x="453" y="269"/>
                  </a:cubicBezTo>
                  <a:cubicBezTo>
                    <a:pt x="453" y="269"/>
                    <a:pt x="453" y="269"/>
                    <a:pt x="453" y="269"/>
                  </a:cubicBezTo>
                  <a:cubicBezTo>
                    <a:pt x="454" y="269"/>
                    <a:pt x="454" y="269"/>
                    <a:pt x="454" y="269"/>
                  </a:cubicBezTo>
                  <a:cubicBezTo>
                    <a:pt x="454" y="269"/>
                    <a:pt x="454" y="269"/>
                    <a:pt x="454" y="269"/>
                  </a:cubicBezTo>
                  <a:cubicBezTo>
                    <a:pt x="454" y="269"/>
                    <a:pt x="455" y="269"/>
                    <a:pt x="455" y="269"/>
                  </a:cubicBezTo>
                  <a:cubicBezTo>
                    <a:pt x="455" y="270"/>
                    <a:pt x="455" y="270"/>
                    <a:pt x="455" y="270"/>
                  </a:cubicBezTo>
                  <a:cubicBezTo>
                    <a:pt x="456" y="270"/>
                    <a:pt x="456" y="270"/>
                    <a:pt x="457" y="270"/>
                  </a:cubicBezTo>
                  <a:cubicBezTo>
                    <a:pt x="457" y="271"/>
                    <a:pt x="457" y="271"/>
                    <a:pt x="457" y="271"/>
                  </a:cubicBezTo>
                  <a:cubicBezTo>
                    <a:pt x="458" y="271"/>
                    <a:pt x="458" y="271"/>
                    <a:pt x="458" y="271"/>
                  </a:cubicBezTo>
                  <a:cubicBezTo>
                    <a:pt x="458" y="272"/>
                    <a:pt x="459" y="272"/>
                    <a:pt x="459" y="273"/>
                  </a:cubicBezTo>
                  <a:cubicBezTo>
                    <a:pt x="459" y="273"/>
                    <a:pt x="460" y="273"/>
                    <a:pt x="460" y="273"/>
                  </a:cubicBezTo>
                  <a:cubicBezTo>
                    <a:pt x="460" y="273"/>
                    <a:pt x="460" y="273"/>
                    <a:pt x="460" y="274"/>
                  </a:cubicBezTo>
                  <a:cubicBezTo>
                    <a:pt x="461" y="276"/>
                    <a:pt x="462" y="279"/>
                    <a:pt x="464" y="281"/>
                  </a:cubicBezTo>
                  <a:cubicBezTo>
                    <a:pt x="465" y="282"/>
                    <a:pt x="466" y="281"/>
                    <a:pt x="467" y="281"/>
                  </a:cubicBezTo>
                  <a:cubicBezTo>
                    <a:pt x="468" y="281"/>
                    <a:pt x="471" y="281"/>
                    <a:pt x="471" y="281"/>
                  </a:cubicBezTo>
                  <a:cubicBezTo>
                    <a:pt x="471" y="281"/>
                    <a:pt x="471" y="281"/>
                    <a:pt x="471" y="281"/>
                  </a:cubicBezTo>
                  <a:cubicBezTo>
                    <a:pt x="471" y="281"/>
                    <a:pt x="471" y="281"/>
                    <a:pt x="472" y="281"/>
                  </a:cubicBezTo>
                  <a:cubicBezTo>
                    <a:pt x="472" y="281"/>
                    <a:pt x="472" y="281"/>
                    <a:pt x="472" y="280"/>
                  </a:cubicBezTo>
                  <a:cubicBezTo>
                    <a:pt x="473" y="280"/>
                    <a:pt x="473" y="280"/>
                    <a:pt x="473" y="280"/>
                  </a:cubicBezTo>
                  <a:cubicBezTo>
                    <a:pt x="473" y="280"/>
                    <a:pt x="473" y="280"/>
                    <a:pt x="473" y="280"/>
                  </a:cubicBezTo>
                  <a:cubicBezTo>
                    <a:pt x="474" y="279"/>
                    <a:pt x="474" y="279"/>
                    <a:pt x="475" y="279"/>
                  </a:cubicBezTo>
                  <a:cubicBezTo>
                    <a:pt x="475" y="279"/>
                    <a:pt x="475" y="279"/>
                    <a:pt x="475" y="279"/>
                  </a:cubicBezTo>
                  <a:cubicBezTo>
                    <a:pt x="475" y="279"/>
                    <a:pt x="476" y="279"/>
                    <a:pt x="476" y="279"/>
                  </a:cubicBezTo>
                  <a:cubicBezTo>
                    <a:pt x="476" y="279"/>
                    <a:pt x="476" y="279"/>
                    <a:pt x="476" y="279"/>
                  </a:cubicBezTo>
                  <a:cubicBezTo>
                    <a:pt x="476" y="279"/>
                    <a:pt x="476" y="279"/>
                    <a:pt x="477" y="279"/>
                  </a:cubicBezTo>
                  <a:cubicBezTo>
                    <a:pt x="477" y="278"/>
                    <a:pt x="477" y="278"/>
                    <a:pt x="477" y="278"/>
                  </a:cubicBezTo>
                  <a:cubicBezTo>
                    <a:pt x="477" y="278"/>
                    <a:pt x="478" y="278"/>
                    <a:pt x="479" y="278"/>
                  </a:cubicBezTo>
                  <a:cubicBezTo>
                    <a:pt x="479" y="278"/>
                    <a:pt x="479" y="278"/>
                    <a:pt x="479" y="277"/>
                  </a:cubicBezTo>
                  <a:cubicBezTo>
                    <a:pt x="479" y="277"/>
                    <a:pt x="480" y="277"/>
                    <a:pt x="480" y="277"/>
                  </a:cubicBezTo>
                  <a:cubicBezTo>
                    <a:pt x="480" y="277"/>
                    <a:pt x="480" y="277"/>
                    <a:pt x="480" y="277"/>
                  </a:cubicBezTo>
                  <a:cubicBezTo>
                    <a:pt x="486" y="276"/>
                    <a:pt x="490" y="281"/>
                    <a:pt x="491" y="284"/>
                  </a:cubicBezTo>
                  <a:cubicBezTo>
                    <a:pt x="491" y="284"/>
                    <a:pt x="491" y="285"/>
                    <a:pt x="491" y="285"/>
                  </a:cubicBezTo>
                  <a:cubicBezTo>
                    <a:pt x="491" y="285"/>
                    <a:pt x="492" y="285"/>
                    <a:pt x="492" y="285"/>
                  </a:cubicBezTo>
                  <a:cubicBezTo>
                    <a:pt x="492" y="285"/>
                    <a:pt x="492" y="286"/>
                    <a:pt x="492" y="286"/>
                  </a:cubicBezTo>
                  <a:cubicBezTo>
                    <a:pt x="492" y="286"/>
                    <a:pt x="492" y="286"/>
                    <a:pt x="492" y="286"/>
                  </a:cubicBezTo>
                  <a:cubicBezTo>
                    <a:pt x="492" y="286"/>
                    <a:pt x="492" y="287"/>
                    <a:pt x="492" y="287"/>
                  </a:cubicBezTo>
                  <a:cubicBezTo>
                    <a:pt x="492" y="287"/>
                    <a:pt x="492" y="287"/>
                    <a:pt x="492" y="287"/>
                  </a:cubicBezTo>
                  <a:cubicBezTo>
                    <a:pt x="492" y="288"/>
                    <a:pt x="492" y="288"/>
                    <a:pt x="492" y="288"/>
                  </a:cubicBezTo>
                  <a:cubicBezTo>
                    <a:pt x="492" y="288"/>
                    <a:pt x="493" y="288"/>
                    <a:pt x="493" y="288"/>
                  </a:cubicBezTo>
                  <a:cubicBezTo>
                    <a:pt x="493" y="289"/>
                    <a:pt x="493" y="289"/>
                    <a:pt x="493" y="290"/>
                  </a:cubicBezTo>
                  <a:cubicBezTo>
                    <a:pt x="493" y="290"/>
                    <a:pt x="493" y="290"/>
                    <a:pt x="493" y="290"/>
                  </a:cubicBezTo>
                  <a:cubicBezTo>
                    <a:pt x="493" y="290"/>
                    <a:pt x="493" y="291"/>
                    <a:pt x="493" y="291"/>
                  </a:cubicBezTo>
                  <a:cubicBezTo>
                    <a:pt x="493" y="291"/>
                    <a:pt x="493" y="291"/>
                    <a:pt x="493" y="291"/>
                  </a:cubicBezTo>
                  <a:cubicBezTo>
                    <a:pt x="493" y="292"/>
                    <a:pt x="493" y="292"/>
                    <a:pt x="493" y="293"/>
                  </a:cubicBezTo>
                  <a:cubicBezTo>
                    <a:pt x="494" y="294"/>
                    <a:pt x="495" y="296"/>
                    <a:pt x="494" y="297"/>
                  </a:cubicBezTo>
                  <a:cubicBezTo>
                    <a:pt x="494" y="297"/>
                    <a:pt x="494" y="297"/>
                    <a:pt x="494" y="297"/>
                  </a:cubicBezTo>
                  <a:cubicBezTo>
                    <a:pt x="494" y="298"/>
                    <a:pt x="494" y="298"/>
                    <a:pt x="494" y="298"/>
                  </a:cubicBezTo>
                  <a:cubicBezTo>
                    <a:pt x="494" y="298"/>
                    <a:pt x="493" y="298"/>
                    <a:pt x="493" y="298"/>
                  </a:cubicBezTo>
                  <a:cubicBezTo>
                    <a:pt x="493" y="298"/>
                    <a:pt x="493" y="299"/>
                    <a:pt x="493" y="299"/>
                  </a:cubicBezTo>
                  <a:cubicBezTo>
                    <a:pt x="493" y="299"/>
                    <a:pt x="493" y="299"/>
                    <a:pt x="493" y="299"/>
                  </a:cubicBezTo>
                  <a:cubicBezTo>
                    <a:pt x="493" y="300"/>
                    <a:pt x="493" y="301"/>
                    <a:pt x="492" y="301"/>
                  </a:cubicBezTo>
                  <a:cubicBezTo>
                    <a:pt x="492" y="301"/>
                    <a:pt x="492" y="301"/>
                    <a:pt x="492" y="301"/>
                  </a:cubicBezTo>
                  <a:cubicBezTo>
                    <a:pt x="492" y="301"/>
                    <a:pt x="492" y="302"/>
                    <a:pt x="492" y="302"/>
                  </a:cubicBezTo>
                  <a:cubicBezTo>
                    <a:pt x="492" y="302"/>
                    <a:pt x="492" y="302"/>
                    <a:pt x="492" y="302"/>
                  </a:cubicBezTo>
                  <a:cubicBezTo>
                    <a:pt x="491" y="303"/>
                    <a:pt x="491" y="303"/>
                    <a:pt x="491" y="304"/>
                  </a:cubicBezTo>
                  <a:cubicBezTo>
                    <a:pt x="491" y="304"/>
                    <a:pt x="490" y="304"/>
                    <a:pt x="490" y="304"/>
                  </a:cubicBezTo>
                  <a:cubicBezTo>
                    <a:pt x="490" y="305"/>
                    <a:pt x="490" y="306"/>
                    <a:pt x="490" y="307"/>
                  </a:cubicBezTo>
                  <a:cubicBezTo>
                    <a:pt x="489" y="307"/>
                    <a:pt x="489" y="307"/>
                    <a:pt x="489" y="307"/>
                  </a:cubicBezTo>
                  <a:cubicBezTo>
                    <a:pt x="489" y="307"/>
                    <a:pt x="489" y="307"/>
                    <a:pt x="489" y="308"/>
                  </a:cubicBezTo>
                  <a:cubicBezTo>
                    <a:pt x="489" y="308"/>
                    <a:pt x="489" y="308"/>
                    <a:pt x="488" y="308"/>
                  </a:cubicBezTo>
                  <a:cubicBezTo>
                    <a:pt x="488" y="308"/>
                    <a:pt x="488" y="308"/>
                    <a:pt x="488" y="308"/>
                  </a:cubicBezTo>
                  <a:cubicBezTo>
                    <a:pt x="488" y="308"/>
                    <a:pt x="488" y="308"/>
                    <a:pt x="488" y="309"/>
                  </a:cubicBezTo>
                  <a:cubicBezTo>
                    <a:pt x="488" y="309"/>
                    <a:pt x="488" y="310"/>
                    <a:pt x="487" y="310"/>
                  </a:cubicBezTo>
                  <a:cubicBezTo>
                    <a:pt x="487" y="310"/>
                    <a:pt x="487" y="310"/>
                    <a:pt x="487" y="310"/>
                  </a:cubicBezTo>
                  <a:cubicBezTo>
                    <a:pt x="487" y="311"/>
                    <a:pt x="487" y="311"/>
                    <a:pt x="487" y="311"/>
                  </a:cubicBezTo>
                  <a:cubicBezTo>
                    <a:pt x="487" y="311"/>
                    <a:pt x="486" y="311"/>
                    <a:pt x="486" y="311"/>
                  </a:cubicBezTo>
                  <a:cubicBezTo>
                    <a:pt x="486" y="311"/>
                    <a:pt x="486" y="312"/>
                    <a:pt x="486" y="312"/>
                  </a:cubicBezTo>
                  <a:cubicBezTo>
                    <a:pt x="486" y="312"/>
                    <a:pt x="486" y="312"/>
                    <a:pt x="486" y="312"/>
                  </a:cubicBezTo>
                  <a:cubicBezTo>
                    <a:pt x="486" y="312"/>
                    <a:pt x="486" y="313"/>
                    <a:pt x="486" y="313"/>
                  </a:cubicBezTo>
                  <a:cubicBezTo>
                    <a:pt x="485" y="313"/>
                    <a:pt x="485" y="313"/>
                    <a:pt x="485" y="313"/>
                  </a:cubicBezTo>
                  <a:cubicBezTo>
                    <a:pt x="485" y="314"/>
                    <a:pt x="485" y="314"/>
                    <a:pt x="485" y="315"/>
                  </a:cubicBezTo>
                  <a:cubicBezTo>
                    <a:pt x="485" y="315"/>
                    <a:pt x="484" y="315"/>
                    <a:pt x="484" y="315"/>
                  </a:cubicBezTo>
                  <a:cubicBezTo>
                    <a:pt x="484" y="315"/>
                    <a:pt x="484" y="315"/>
                    <a:pt x="484" y="316"/>
                  </a:cubicBezTo>
                  <a:cubicBezTo>
                    <a:pt x="484" y="316"/>
                    <a:pt x="483" y="316"/>
                    <a:pt x="483" y="316"/>
                  </a:cubicBezTo>
                  <a:cubicBezTo>
                    <a:pt x="483" y="316"/>
                    <a:pt x="483" y="317"/>
                    <a:pt x="483" y="317"/>
                  </a:cubicBezTo>
                  <a:cubicBezTo>
                    <a:pt x="483" y="317"/>
                    <a:pt x="482" y="318"/>
                    <a:pt x="482" y="318"/>
                  </a:cubicBezTo>
                  <a:cubicBezTo>
                    <a:pt x="482" y="318"/>
                    <a:pt x="482" y="319"/>
                    <a:pt x="482" y="319"/>
                  </a:cubicBezTo>
                  <a:cubicBezTo>
                    <a:pt x="482" y="319"/>
                    <a:pt x="481" y="319"/>
                    <a:pt x="481" y="319"/>
                  </a:cubicBezTo>
                  <a:cubicBezTo>
                    <a:pt x="481" y="320"/>
                    <a:pt x="481" y="320"/>
                    <a:pt x="481" y="320"/>
                  </a:cubicBezTo>
                  <a:cubicBezTo>
                    <a:pt x="481" y="320"/>
                    <a:pt x="481" y="320"/>
                    <a:pt x="480" y="320"/>
                  </a:cubicBezTo>
                  <a:cubicBezTo>
                    <a:pt x="480" y="321"/>
                    <a:pt x="480" y="322"/>
                    <a:pt x="480" y="323"/>
                  </a:cubicBezTo>
                  <a:cubicBezTo>
                    <a:pt x="479" y="323"/>
                    <a:pt x="479" y="323"/>
                    <a:pt x="479" y="323"/>
                  </a:cubicBezTo>
                  <a:cubicBezTo>
                    <a:pt x="479" y="323"/>
                    <a:pt x="479" y="324"/>
                    <a:pt x="479" y="324"/>
                  </a:cubicBezTo>
                  <a:cubicBezTo>
                    <a:pt x="479" y="324"/>
                    <a:pt x="478" y="324"/>
                    <a:pt x="478" y="324"/>
                  </a:cubicBezTo>
                  <a:cubicBezTo>
                    <a:pt x="478" y="325"/>
                    <a:pt x="478" y="325"/>
                    <a:pt x="478" y="325"/>
                  </a:cubicBezTo>
                  <a:cubicBezTo>
                    <a:pt x="478" y="325"/>
                    <a:pt x="478" y="325"/>
                    <a:pt x="478" y="325"/>
                  </a:cubicBezTo>
                  <a:cubicBezTo>
                    <a:pt x="478" y="326"/>
                    <a:pt x="478" y="326"/>
                    <a:pt x="478" y="326"/>
                  </a:cubicBezTo>
                  <a:cubicBezTo>
                    <a:pt x="478" y="326"/>
                    <a:pt x="477" y="326"/>
                    <a:pt x="477" y="326"/>
                  </a:cubicBezTo>
                  <a:cubicBezTo>
                    <a:pt x="477" y="326"/>
                    <a:pt x="477" y="327"/>
                    <a:pt x="477" y="327"/>
                  </a:cubicBezTo>
                  <a:cubicBezTo>
                    <a:pt x="477" y="327"/>
                    <a:pt x="477" y="327"/>
                    <a:pt x="477" y="327"/>
                  </a:cubicBezTo>
                  <a:cubicBezTo>
                    <a:pt x="477" y="327"/>
                    <a:pt x="477" y="327"/>
                    <a:pt x="477" y="327"/>
                  </a:cubicBezTo>
                  <a:cubicBezTo>
                    <a:pt x="477" y="327"/>
                    <a:pt x="477" y="327"/>
                    <a:pt x="477" y="327"/>
                  </a:cubicBezTo>
                  <a:cubicBezTo>
                    <a:pt x="477" y="328"/>
                    <a:pt x="477" y="328"/>
                    <a:pt x="477" y="328"/>
                  </a:cubicBezTo>
                  <a:cubicBezTo>
                    <a:pt x="476" y="328"/>
                    <a:pt x="476" y="328"/>
                    <a:pt x="476" y="328"/>
                  </a:cubicBezTo>
                  <a:cubicBezTo>
                    <a:pt x="476" y="328"/>
                    <a:pt x="476" y="329"/>
                    <a:pt x="476" y="329"/>
                  </a:cubicBezTo>
                  <a:cubicBezTo>
                    <a:pt x="476" y="329"/>
                    <a:pt x="476" y="329"/>
                    <a:pt x="476" y="329"/>
                  </a:cubicBezTo>
                  <a:cubicBezTo>
                    <a:pt x="475" y="330"/>
                    <a:pt x="475" y="331"/>
                    <a:pt x="474" y="333"/>
                  </a:cubicBezTo>
                  <a:cubicBezTo>
                    <a:pt x="475" y="333"/>
                    <a:pt x="475" y="333"/>
                    <a:pt x="475" y="333"/>
                  </a:cubicBezTo>
                  <a:cubicBezTo>
                    <a:pt x="475" y="335"/>
                    <a:pt x="478" y="335"/>
                    <a:pt x="478" y="337"/>
                  </a:cubicBezTo>
                  <a:cubicBezTo>
                    <a:pt x="477" y="338"/>
                    <a:pt x="475" y="338"/>
                    <a:pt x="473" y="338"/>
                  </a:cubicBezTo>
                  <a:cubicBezTo>
                    <a:pt x="473" y="338"/>
                    <a:pt x="473" y="338"/>
                    <a:pt x="472" y="338"/>
                  </a:cubicBezTo>
                  <a:cubicBezTo>
                    <a:pt x="472" y="339"/>
                    <a:pt x="472" y="339"/>
                    <a:pt x="472" y="340"/>
                  </a:cubicBezTo>
                  <a:cubicBezTo>
                    <a:pt x="472" y="340"/>
                    <a:pt x="472" y="340"/>
                    <a:pt x="472" y="340"/>
                  </a:cubicBezTo>
                  <a:cubicBezTo>
                    <a:pt x="472" y="340"/>
                    <a:pt x="472" y="341"/>
                    <a:pt x="472" y="342"/>
                  </a:cubicBezTo>
                  <a:cubicBezTo>
                    <a:pt x="472" y="342"/>
                    <a:pt x="471" y="342"/>
                    <a:pt x="471" y="342"/>
                  </a:cubicBezTo>
                  <a:cubicBezTo>
                    <a:pt x="471" y="343"/>
                    <a:pt x="471" y="344"/>
                    <a:pt x="471" y="345"/>
                  </a:cubicBezTo>
                  <a:cubicBezTo>
                    <a:pt x="471" y="345"/>
                    <a:pt x="471" y="345"/>
                    <a:pt x="471" y="345"/>
                  </a:cubicBezTo>
                  <a:cubicBezTo>
                    <a:pt x="471" y="345"/>
                    <a:pt x="471" y="345"/>
                    <a:pt x="471" y="346"/>
                  </a:cubicBezTo>
                  <a:cubicBezTo>
                    <a:pt x="471" y="346"/>
                    <a:pt x="470" y="346"/>
                    <a:pt x="470" y="346"/>
                  </a:cubicBezTo>
                  <a:cubicBezTo>
                    <a:pt x="469" y="347"/>
                    <a:pt x="469" y="347"/>
                    <a:pt x="469" y="347"/>
                  </a:cubicBezTo>
                  <a:cubicBezTo>
                    <a:pt x="469" y="347"/>
                    <a:pt x="468" y="347"/>
                    <a:pt x="468" y="347"/>
                  </a:cubicBezTo>
                  <a:cubicBezTo>
                    <a:pt x="468" y="348"/>
                    <a:pt x="468" y="348"/>
                    <a:pt x="467" y="348"/>
                  </a:cubicBezTo>
                  <a:cubicBezTo>
                    <a:pt x="467" y="348"/>
                    <a:pt x="467" y="348"/>
                    <a:pt x="466" y="348"/>
                  </a:cubicBezTo>
                  <a:cubicBezTo>
                    <a:pt x="466" y="349"/>
                    <a:pt x="466" y="349"/>
                    <a:pt x="466" y="349"/>
                  </a:cubicBezTo>
                  <a:cubicBezTo>
                    <a:pt x="466" y="349"/>
                    <a:pt x="465" y="349"/>
                    <a:pt x="465" y="349"/>
                  </a:cubicBezTo>
                  <a:cubicBezTo>
                    <a:pt x="465" y="349"/>
                    <a:pt x="465" y="349"/>
                    <a:pt x="465" y="350"/>
                  </a:cubicBezTo>
                  <a:cubicBezTo>
                    <a:pt x="464" y="350"/>
                    <a:pt x="464" y="350"/>
                    <a:pt x="464" y="350"/>
                  </a:cubicBezTo>
                  <a:cubicBezTo>
                    <a:pt x="464" y="350"/>
                    <a:pt x="464" y="350"/>
                    <a:pt x="464" y="350"/>
                  </a:cubicBezTo>
                  <a:cubicBezTo>
                    <a:pt x="463" y="350"/>
                    <a:pt x="463" y="350"/>
                    <a:pt x="462" y="350"/>
                  </a:cubicBezTo>
                  <a:cubicBezTo>
                    <a:pt x="462" y="350"/>
                    <a:pt x="462" y="350"/>
                    <a:pt x="462" y="351"/>
                  </a:cubicBezTo>
                  <a:cubicBezTo>
                    <a:pt x="462" y="351"/>
                    <a:pt x="461" y="351"/>
                    <a:pt x="461" y="351"/>
                  </a:cubicBezTo>
                  <a:cubicBezTo>
                    <a:pt x="461" y="351"/>
                    <a:pt x="461" y="351"/>
                    <a:pt x="460" y="352"/>
                  </a:cubicBezTo>
                  <a:cubicBezTo>
                    <a:pt x="460" y="352"/>
                    <a:pt x="460" y="352"/>
                    <a:pt x="460" y="352"/>
                  </a:cubicBezTo>
                  <a:cubicBezTo>
                    <a:pt x="460" y="352"/>
                    <a:pt x="460" y="352"/>
                    <a:pt x="459" y="352"/>
                  </a:cubicBezTo>
                  <a:cubicBezTo>
                    <a:pt x="459" y="352"/>
                    <a:pt x="459" y="352"/>
                    <a:pt x="459" y="352"/>
                  </a:cubicBezTo>
                  <a:cubicBezTo>
                    <a:pt x="459" y="353"/>
                    <a:pt x="458" y="353"/>
                    <a:pt x="458" y="353"/>
                  </a:cubicBezTo>
                  <a:cubicBezTo>
                    <a:pt x="458" y="353"/>
                    <a:pt x="458" y="353"/>
                    <a:pt x="457" y="353"/>
                  </a:cubicBezTo>
                  <a:cubicBezTo>
                    <a:pt x="457" y="354"/>
                    <a:pt x="457" y="354"/>
                    <a:pt x="457" y="354"/>
                  </a:cubicBezTo>
                  <a:cubicBezTo>
                    <a:pt x="457" y="354"/>
                    <a:pt x="457" y="354"/>
                    <a:pt x="457" y="354"/>
                  </a:cubicBezTo>
                  <a:cubicBezTo>
                    <a:pt x="455" y="356"/>
                    <a:pt x="455" y="360"/>
                    <a:pt x="453" y="362"/>
                  </a:cubicBezTo>
                  <a:cubicBezTo>
                    <a:pt x="453" y="362"/>
                    <a:pt x="453" y="362"/>
                    <a:pt x="453" y="362"/>
                  </a:cubicBezTo>
                  <a:cubicBezTo>
                    <a:pt x="453" y="362"/>
                    <a:pt x="453" y="362"/>
                    <a:pt x="452" y="362"/>
                  </a:cubicBezTo>
                  <a:cubicBezTo>
                    <a:pt x="452" y="362"/>
                    <a:pt x="452" y="362"/>
                    <a:pt x="452" y="362"/>
                  </a:cubicBezTo>
                  <a:cubicBezTo>
                    <a:pt x="452" y="363"/>
                    <a:pt x="452" y="363"/>
                    <a:pt x="452" y="363"/>
                  </a:cubicBezTo>
                  <a:cubicBezTo>
                    <a:pt x="452" y="363"/>
                    <a:pt x="451" y="363"/>
                    <a:pt x="451" y="363"/>
                  </a:cubicBezTo>
                  <a:cubicBezTo>
                    <a:pt x="451" y="363"/>
                    <a:pt x="451" y="363"/>
                    <a:pt x="451" y="363"/>
                  </a:cubicBezTo>
                  <a:cubicBezTo>
                    <a:pt x="451" y="363"/>
                    <a:pt x="451" y="363"/>
                    <a:pt x="450" y="363"/>
                  </a:cubicBezTo>
                  <a:cubicBezTo>
                    <a:pt x="450" y="363"/>
                    <a:pt x="450" y="363"/>
                    <a:pt x="450" y="364"/>
                  </a:cubicBezTo>
                  <a:cubicBezTo>
                    <a:pt x="450" y="364"/>
                    <a:pt x="450" y="364"/>
                    <a:pt x="450" y="364"/>
                  </a:cubicBezTo>
                  <a:cubicBezTo>
                    <a:pt x="450" y="364"/>
                    <a:pt x="450" y="364"/>
                    <a:pt x="450" y="364"/>
                  </a:cubicBezTo>
                  <a:cubicBezTo>
                    <a:pt x="449" y="364"/>
                    <a:pt x="449" y="364"/>
                    <a:pt x="449" y="364"/>
                  </a:cubicBezTo>
                  <a:cubicBezTo>
                    <a:pt x="449" y="364"/>
                    <a:pt x="449" y="364"/>
                    <a:pt x="449" y="365"/>
                  </a:cubicBezTo>
                  <a:cubicBezTo>
                    <a:pt x="448" y="365"/>
                    <a:pt x="448" y="365"/>
                    <a:pt x="448" y="365"/>
                  </a:cubicBezTo>
                  <a:cubicBezTo>
                    <a:pt x="448" y="365"/>
                    <a:pt x="448" y="365"/>
                    <a:pt x="448" y="365"/>
                  </a:cubicBezTo>
                  <a:cubicBezTo>
                    <a:pt x="447" y="365"/>
                    <a:pt x="447" y="365"/>
                    <a:pt x="447" y="365"/>
                  </a:cubicBezTo>
                  <a:cubicBezTo>
                    <a:pt x="445" y="364"/>
                    <a:pt x="443" y="363"/>
                    <a:pt x="442" y="362"/>
                  </a:cubicBezTo>
                  <a:cubicBezTo>
                    <a:pt x="442" y="362"/>
                    <a:pt x="441" y="362"/>
                    <a:pt x="441" y="362"/>
                  </a:cubicBezTo>
                  <a:cubicBezTo>
                    <a:pt x="441" y="362"/>
                    <a:pt x="441" y="362"/>
                    <a:pt x="441" y="361"/>
                  </a:cubicBezTo>
                  <a:cubicBezTo>
                    <a:pt x="441" y="361"/>
                    <a:pt x="440" y="361"/>
                    <a:pt x="440" y="361"/>
                  </a:cubicBezTo>
                  <a:cubicBezTo>
                    <a:pt x="440" y="361"/>
                    <a:pt x="440" y="361"/>
                    <a:pt x="440" y="361"/>
                  </a:cubicBezTo>
                  <a:cubicBezTo>
                    <a:pt x="440" y="361"/>
                    <a:pt x="439" y="361"/>
                    <a:pt x="439" y="361"/>
                  </a:cubicBezTo>
                  <a:cubicBezTo>
                    <a:pt x="439" y="360"/>
                    <a:pt x="439" y="360"/>
                    <a:pt x="439" y="360"/>
                  </a:cubicBezTo>
                  <a:cubicBezTo>
                    <a:pt x="439" y="360"/>
                    <a:pt x="438" y="360"/>
                    <a:pt x="438" y="360"/>
                  </a:cubicBezTo>
                  <a:cubicBezTo>
                    <a:pt x="438" y="360"/>
                    <a:pt x="438" y="360"/>
                    <a:pt x="438" y="359"/>
                  </a:cubicBezTo>
                  <a:cubicBezTo>
                    <a:pt x="438" y="359"/>
                    <a:pt x="437" y="359"/>
                    <a:pt x="437" y="359"/>
                  </a:cubicBezTo>
                  <a:cubicBezTo>
                    <a:pt x="437" y="359"/>
                    <a:pt x="437" y="359"/>
                    <a:pt x="437" y="359"/>
                  </a:cubicBezTo>
                  <a:cubicBezTo>
                    <a:pt x="437" y="359"/>
                    <a:pt x="436" y="359"/>
                    <a:pt x="436" y="359"/>
                  </a:cubicBezTo>
                  <a:cubicBezTo>
                    <a:pt x="436" y="358"/>
                    <a:pt x="436" y="358"/>
                    <a:pt x="436" y="358"/>
                  </a:cubicBezTo>
                  <a:cubicBezTo>
                    <a:pt x="435" y="358"/>
                    <a:pt x="435" y="358"/>
                    <a:pt x="435" y="358"/>
                  </a:cubicBezTo>
                  <a:cubicBezTo>
                    <a:pt x="435" y="358"/>
                    <a:pt x="434" y="357"/>
                    <a:pt x="434" y="357"/>
                  </a:cubicBezTo>
                  <a:cubicBezTo>
                    <a:pt x="434" y="357"/>
                    <a:pt x="433" y="357"/>
                    <a:pt x="433" y="357"/>
                  </a:cubicBezTo>
                  <a:cubicBezTo>
                    <a:pt x="433" y="356"/>
                    <a:pt x="432" y="356"/>
                    <a:pt x="432" y="355"/>
                  </a:cubicBezTo>
                  <a:cubicBezTo>
                    <a:pt x="432" y="355"/>
                    <a:pt x="431" y="355"/>
                    <a:pt x="431" y="355"/>
                  </a:cubicBezTo>
                  <a:cubicBezTo>
                    <a:pt x="431" y="355"/>
                    <a:pt x="431" y="355"/>
                    <a:pt x="430" y="354"/>
                  </a:cubicBezTo>
                  <a:cubicBezTo>
                    <a:pt x="430" y="354"/>
                    <a:pt x="430" y="354"/>
                    <a:pt x="430" y="354"/>
                  </a:cubicBezTo>
                  <a:cubicBezTo>
                    <a:pt x="430" y="354"/>
                    <a:pt x="429" y="354"/>
                    <a:pt x="429" y="354"/>
                  </a:cubicBezTo>
                  <a:cubicBezTo>
                    <a:pt x="429" y="354"/>
                    <a:pt x="429" y="354"/>
                    <a:pt x="429" y="354"/>
                  </a:cubicBezTo>
                  <a:cubicBezTo>
                    <a:pt x="427" y="353"/>
                    <a:pt x="426" y="352"/>
                    <a:pt x="424" y="352"/>
                  </a:cubicBezTo>
                  <a:cubicBezTo>
                    <a:pt x="424" y="352"/>
                    <a:pt x="423" y="353"/>
                    <a:pt x="423" y="353"/>
                  </a:cubicBezTo>
                  <a:cubicBezTo>
                    <a:pt x="423" y="353"/>
                    <a:pt x="423" y="353"/>
                    <a:pt x="423" y="354"/>
                  </a:cubicBezTo>
                  <a:cubicBezTo>
                    <a:pt x="423" y="354"/>
                    <a:pt x="423" y="354"/>
                    <a:pt x="423" y="354"/>
                  </a:cubicBezTo>
                  <a:cubicBezTo>
                    <a:pt x="422" y="355"/>
                    <a:pt x="423" y="356"/>
                    <a:pt x="420" y="355"/>
                  </a:cubicBezTo>
                  <a:cubicBezTo>
                    <a:pt x="420" y="355"/>
                    <a:pt x="420" y="355"/>
                    <a:pt x="420" y="355"/>
                  </a:cubicBezTo>
                  <a:cubicBezTo>
                    <a:pt x="420" y="354"/>
                    <a:pt x="419" y="354"/>
                    <a:pt x="419" y="354"/>
                  </a:cubicBezTo>
                  <a:cubicBezTo>
                    <a:pt x="419" y="353"/>
                    <a:pt x="419" y="353"/>
                    <a:pt x="419" y="353"/>
                  </a:cubicBezTo>
                  <a:cubicBezTo>
                    <a:pt x="418" y="352"/>
                    <a:pt x="417" y="351"/>
                    <a:pt x="416" y="350"/>
                  </a:cubicBezTo>
                  <a:cubicBezTo>
                    <a:pt x="416" y="350"/>
                    <a:pt x="416" y="350"/>
                    <a:pt x="416" y="350"/>
                  </a:cubicBezTo>
                  <a:cubicBezTo>
                    <a:pt x="415" y="349"/>
                    <a:pt x="414" y="348"/>
                    <a:pt x="413" y="347"/>
                  </a:cubicBezTo>
                  <a:cubicBezTo>
                    <a:pt x="413" y="347"/>
                    <a:pt x="413" y="347"/>
                    <a:pt x="413" y="346"/>
                  </a:cubicBezTo>
                  <a:cubicBezTo>
                    <a:pt x="412" y="345"/>
                    <a:pt x="411" y="345"/>
                    <a:pt x="410" y="344"/>
                  </a:cubicBezTo>
                  <a:cubicBezTo>
                    <a:pt x="410" y="343"/>
                    <a:pt x="410" y="343"/>
                    <a:pt x="410" y="343"/>
                  </a:cubicBezTo>
                  <a:cubicBezTo>
                    <a:pt x="409" y="342"/>
                    <a:pt x="408" y="341"/>
                    <a:pt x="407" y="340"/>
                  </a:cubicBezTo>
                  <a:cubicBezTo>
                    <a:pt x="407" y="340"/>
                    <a:pt x="407" y="340"/>
                    <a:pt x="407" y="339"/>
                  </a:cubicBezTo>
                  <a:cubicBezTo>
                    <a:pt x="406" y="339"/>
                    <a:pt x="405" y="338"/>
                    <a:pt x="404" y="337"/>
                  </a:cubicBezTo>
                  <a:cubicBezTo>
                    <a:pt x="404" y="337"/>
                    <a:pt x="404" y="336"/>
                    <a:pt x="404" y="336"/>
                  </a:cubicBezTo>
                  <a:cubicBezTo>
                    <a:pt x="403" y="335"/>
                    <a:pt x="402" y="334"/>
                    <a:pt x="401" y="333"/>
                  </a:cubicBezTo>
                  <a:cubicBezTo>
                    <a:pt x="401" y="333"/>
                    <a:pt x="401" y="333"/>
                    <a:pt x="401" y="333"/>
                  </a:cubicBezTo>
                  <a:cubicBezTo>
                    <a:pt x="400" y="332"/>
                    <a:pt x="399" y="331"/>
                    <a:pt x="398" y="331"/>
                  </a:cubicBezTo>
                  <a:cubicBezTo>
                    <a:pt x="398" y="330"/>
                    <a:pt x="398" y="330"/>
                    <a:pt x="398" y="330"/>
                  </a:cubicBezTo>
                  <a:cubicBezTo>
                    <a:pt x="397" y="330"/>
                    <a:pt x="397" y="330"/>
                    <a:pt x="396" y="330"/>
                  </a:cubicBezTo>
                  <a:cubicBezTo>
                    <a:pt x="396" y="329"/>
                    <a:pt x="396" y="329"/>
                    <a:pt x="396" y="329"/>
                  </a:cubicBezTo>
                  <a:cubicBezTo>
                    <a:pt x="396" y="329"/>
                    <a:pt x="395" y="329"/>
                    <a:pt x="395" y="329"/>
                  </a:cubicBezTo>
                  <a:cubicBezTo>
                    <a:pt x="395" y="329"/>
                    <a:pt x="395" y="329"/>
                    <a:pt x="395" y="329"/>
                  </a:cubicBezTo>
                  <a:cubicBezTo>
                    <a:pt x="395" y="329"/>
                    <a:pt x="395" y="329"/>
                    <a:pt x="394" y="329"/>
                  </a:cubicBezTo>
                  <a:cubicBezTo>
                    <a:pt x="394" y="329"/>
                    <a:pt x="394" y="329"/>
                    <a:pt x="394" y="329"/>
                  </a:cubicBezTo>
                  <a:cubicBezTo>
                    <a:pt x="394" y="328"/>
                    <a:pt x="393" y="328"/>
                    <a:pt x="392" y="328"/>
                  </a:cubicBezTo>
                  <a:cubicBezTo>
                    <a:pt x="392" y="328"/>
                    <a:pt x="392" y="328"/>
                    <a:pt x="392" y="328"/>
                  </a:cubicBezTo>
                  <a:cubicBezTo>
                    <a:pt x="392" y="328"/>
                    <a:pt x="391" y="328"/>
                    <a:pt x="390" y="327"/>
                  </a:cubicBezTo>
                  <a:cubicBezTo>
                    <a:pt x="390" y="327"/>
                    <a:pt x="390" y="327"/>
                    <a:pt x="390" y="327"/>
                  </a:cubicBezTo>
                  <a:cubicBezTo>
                    <a:pt x="390" y="327"/>
                    <a:pt x="390" y="327"/>
                    <a:pt x="389" y="327"/>
                  </a:cubicBezTo>
                  <a:cubicBezTo>
                    <a:pt x="389" y="327"/>
                    <a:pt x="389" y="327"/>
                    <a:pt x="389" y="327"/>
                  </a:cubicBezTo>
                  <a:cubicBezTo>
                    <a:pt x="389" y="327"/>
                    <a:pt x="388" y="327"/>
                    <a:pt x="387" y="326"/>
                  </a:cubicBezTo>
                  <a:cubicBezTo>
                    <a:pt x="387" y="326"/>
                    <a:pt x="387" y="326"/>
                    <a:pt x="387" y="326"/>
                  </a:cubicBezTo>
                  <a:cubicBezTo>
                    <a:pt x="387" y="326"/>
                    <a:pt x="386" y="326"/>
                    <a:pt x="385" y="326"/>
                  </a:cubicBezTo>
                  <a:cubicBezTo>
                    <a:pt x="385" y="326"/>
                    <a:pt x="385" y="326"/>
                    <a:pt x="385" y="325"/>
                  </a:cubicBezTo>
                  <a:cubicBezTo>
                    <a:pt x="385" y="325"/>
                    <a:pt x="385" y="325"/>
                    <a:pt x="385" y="325"/>
                  </a:cubicBezTo>
                  <a:cubicBezTo>
                    <a:pt x="385" y="325"/>
                    <a:pt x="385" y="325"/>
                    <a:pt x="385" y="325"/>
                  </a:cubicBezTo>
                  <a:cubicBezTo>
                    <a:pt x="384" y="325"/>
                    <a:pt x="383" y="325"/>
                    <a:pt x="383" y="325"/>
                  </a:cubicBezTo>
                  <a:cubicBezTo>
                    <a:pt x="383" y="325"/>
                    <a:pt x="383" y="324"/>
                    <a:pt x="383" y="324"/>
                  </a:cubicBezTo>
                  <a:cubicBezTo>
                    <a:pt x="382" y="324"/>
                    <a:pt x="382" y="324"/>
                    <a:pt x="382" y="324"/>
                  </a:cubicBezTo>
                  <a:cubicBezTo>
                    <a:pt x="382" y="324"/>
                    <a:pt x="382" y="324"/>
                    <a:pt x="382" y="324"/>
                  </a:cubicBezTo>
                  <a:cubicBezTo>
                    <a:pt x="381" y="324"/>
                    <a:pt x="380" y="324"/>
                    <a:pt x="380" y="324"/>
                  </a:cubicBezTo>
                  <a:cubicBezTo>
                    <a:pt x="380" y="324"/>
                    <a:pt x="380" y="323"/>
                    <a:pt x="380" y="323"/>
                  </a:cubicBezTo>
                  <a:cubicBezTo>
                    <a:pt x="379" y="323"/>
                    <a:pt x="379" y="323"/>
                    <a:pt x="379" y="323"/>
                  </a:cubicBezTo>
                  <a:cubicBezTo>
                    <a:pt x="379" y="323"/>
                    <a:pt x="379" y="323"/>
                    <a:pt x="379" y="323"/>
                  </a:cubicBezTo>
                  <a:cubicBezTo>
                    <a:pt x="378" y="323"/>
                    <a:pt x="378" y="323"/>
                    <a:pt x="377" y="323"/>
                  </a:cubicBezTo>
                  <a:cubicBezTo>
                    <a:pt x="377" y="322"/>
                    <a:pt x="377" y="322"/>
                    <a:pt x="377" y="322"/>
                  </a:cubicBezTo>
                  <a:cubicBezTo>
                    <a:pt x="377" y="322"/>
                    <a:pt x="376" y="322"/>
                    <a:pt x="376" y="322"/>
                  </a:cubicBezTo>
                  <a:cubicBezTo>
                    <a:pt x="376" y="322"/>
                    <a:pt x="376" y="322"/>
                    <a:pt x="376" y="322"/>
                  </a:cubicBezTo>
                  <a:cubicBezTo>
                    <a:pt x="376" y="322"/>
                    <a:pt x="375" y="322"/>
                    <a:pt x="374" y="322"/>
                  </a:cubicBezTo>
                  <a:cubicBezTo>
                    <a:pt x="367" y="318"/>
                    <a:pt x="358" y="316"/>
                    <a:pt x="351" y="312"/>
                  </a:cubicBezTo>
                  <a:cubicBezTo>
                    <a:pt x="350" y="312"/>
                    <a:pt x="350" y="312"/>
                    <a:pt x="349" y="312"/>
                  </a:cubicBezTo>
                  <a:cubicBezTo>
                    <a:pt x="349" y="312"/>
                    <a:pt x="349" y="312"/>
                    <a:pt x="349" y="312"/>
                  </a:cubicBezTo>
                  <a:cubicBezTo>
                    <a:pt x="349" y="312"/>
                    <a:pt x="348" y="312"/>
                    <a:pt x="348" y="312"/>
                  </a:cubicBezTo>
                  <a:cubicBezTo>
                    <a:pt x="348" y="312"/>
                    <a:pt x="348" y="312"/>
                    <a:pt x="348" y="311"/>
                  </a:cubicBezTo>
                  <a:cubicBezTo>
                    <a:pt x="348" y="311"/>
                    <a:pt x="347" y="311"/>
                    <a:pt x="347" y="311"/>
                  </a:cubicBezTo>
                  <a:cubicBezTo>
                    <a:pt x="347" y="311"/>
                    <a:pt x="347" y="311"/>
                    <a:pt x="347" y="311"/>
                  </a:cubicBezTo>
                  <a:cubicBezTo>
                    <a:pt x="346" y="311"/>
                    <a:pt x="346" y="311"/>
                    <a:pt x="345" y="311"/>
                  </a:cubicBezTo>
                  <a:cubicBezTo>
                    <a:pt x="345" y="311"/>
                    <a:pt x="345" y="310"/>
                    <a:pt x="345" y="310"/>
                  </a:cubicBezTo>
                  <a:cubicBezTo>
                    <a:pt x="345" y="310"/>
                    <a:pt x="344" y="310"/>
                    <a:pt x="344" y="310"/>
                  </a:cubicBezTo>
                  <a:cubicBezTo>
                    <a:pt x="344" y="310"/>
                    <a:pt x="344" y="310"/>
                    <a:pt x="344" y="310"/>
                  </a:cubicBezTo>
                  <a:cubicBezTo>
                    <a:pt x="344" y="310"/>
                    <a:pt x="344" y="310"/>
                    <a:pt x="343" y="310"/>
                  </a:cubicBezTo>
                  <a:cubicBezTo>
                    <a:pt x="343" y="310"/>
                    <a:pt x="343" y="310"/>
                    <a:pt x="343" y="310"/>
                  </a:cubicBezTo>
                  <a:cubicBezTo>
                    <a:pt x="342" y="309"/>
                    <a:pt x="341" y="309"/>
                    <a:pt x="340" y="309"/>
                  </a:cubicBezTo>
                  <a:cubicBezTo>
                    <a:pt x="340" y="309"/>
                    <a:pt x="340" y="309"/>
                    <a:pt x="340" y="309"/>
                  </a:cubicBezTo>
                  <a:cubicBezTo>
                    <a:pt x="340" y="309"/>
                    <a:pt x="340" y="309"/>
                    <a:pt x="339" y="309"/>
                  </a:cubicBezTo>
                  <a:cubicBezTo>
                    <a:pt x="339" y="308"/>
                    <a:pt x="339" y="308"/>
                    <a:pt x="339" y="308"/>
                  </a:cubicBezTo>
                  <a:cubicBezTo>
                    <a:pt x="338" y="308"/>
                    <a:pt x="337" y="308"/>
                    <a:pt x="336" y="308"/>
                  </a:cubicBezTo>
                  <a:cubicBezTo>
                    <a:pt x="336" y="307"/>
                    <a:pt x="336" y="307"/>
                    <a:pt x="336" y="307"/>
                  </a:cubicBezTo>
                  <a:cubicBezTo>
                    <a:pt x="336" y="307"/>
                    <a:pt x="336" y="307"/>
                    <a:pt x="336" y="307"/>
                  </a:cubicBezTo>
                  <a:cubicBezTo>
                    <a:pt x="336" y="307"/>
                    <a:pt x="336" y="307"/>
                    <a:pt x="336" y="307"/>
                  </a:cubicBezTo>
                  <a:cubicBezTo>
                    <a:pt x="335" y="307"/>
                    <a:pt x="334" y="306"/>
                    <a:pt x="332" y="306"/>
                  </a:cubicBezTo>
                  <a:cubicBezTo>
                    <a:pt x="332" y="306"/>
                    <a:pt x="332" y="306"/>
                    <a:pt x="332" y="306"/>
                  </a:cubicBezTo>
                  <a:cubicBezTo>
                    <a:pt x="332" y="306"/>
                    <a:pt x="332" y="306"/>
                    <a:pt x="332" y="306"/>
                  </a:cubicBezTo>
                  <a:cubicBezTo>
                    <a:pt x="332" y="306"/>
                    <a:pt x="332" y="306"/>
                    <a:pt x="332" y="305"/>
                  </a:cubicBezTo>
                  <a:cubicBezTo>
                    <a:pt x="331" y="305"/>
                    <a:pt x="330" y="305"/>
                    <a:pt x="329" y="305"/>
                  </a:cubicBezTo>
                  <a:cubicBezTo>
                    <a:pt x="329" y="305"/>
                    <a:pt x="329" y="305"/>
                    <a:pt x="329" y="304"/>
                  </a:cubicBezTo>
                  <a:cubicBezTo>
                    <a:pt x="328" y="304"/>
                    <a:pt x="328" y="304"/>
                    <a:pt x="328" y="304"/>
                  </a:cubicBezTo>
                  <a:cubicBezTo>
                    <a:pt x="328" y="304"/>
                    <a:pt x="328" y="304"/>
                    <a:pt x="328" y="304"/>
                  </a:cubicBezTo>
                  <a:cubicBezTo>
                    <a:pt x="327" y="304"/>
                    <a:pt x="326" y="304"/>
                    <a:pt x="325" y="303"/>
                  </a:cubicBezTo>
                  <a:cubicBezTo>
                    <a:pt x="325" y="303"/>
                    <a:pt x="325" y="303"/>
                    <a:pt x="325" y="303"/>
                  </a:cubicBezTo>
                  <a:cubicBezTo>
                    <a:pt x="325" y="303"/>
                    <a:pt x="324" y="303"/>
                    <a:pt x="324" y="303"/>
                  </a:cubicBezTo>
                  <a:cubicBezTo>
                    <a:pt x="324" y="303"/>
                    <a:pt x="324" y="303"/>
                    <a:pt x="324" y="303"/>
                  </a:cubicBezTo>
                  <a:cubicBezTo>
                    <a:pt x="324" y="303"/>
                    <a:pt x="323" y="303"/>
                    <a:pt x="323" y="303"/>
                  </a:cubicBezTo>
                  <a:cubicBezTo>
                    <a:pt x="323" y="303"/>
                    <a:pt x="323" y="302"/>
                    <a:pt x="323" y="302"/>
                  </a:cubicBezTo>
                  <a:cubicBezTo>
                    <a:pt x="321" y="302"/>
                    <a:pt x="320" y="303"/>
                    <a:pt x="318" y="303"/>
                  </a:cubicBezTo>
                  <a:cubicBezTo>
                    <a:pt x="313" y="303"/>
                    <a:pt x="308" y="303"/>
                    <a:pt x="303" y="303"/>
                  </a:cubicBezTo>
                  <a:cubicBezTo>
                    <a:pt x="296" y="303"/>
                    <a:pt x="289" y="303"/>
                    <a:pt x="282" y="303"/>
                  </a:cubicBezTo>
                  <a:cubicBezTo>
                    <a:pt x="276" y="301"/>
                    <a:pt x="270" y="299"/>
                    <a:pt x="263" y="297"/>
                  </a:cubicBezTo>
                  <a:cubicBezTo>
                    <a:pt x="262" y="297"/>
                    <a:pt x="261" y="297"/>
                    <a:pt x="260" y="296"/>
                  </a:cubicBezTo>
                  <a:cubicBezTo>
                    <a:pt x="260" y="296"/>
                    <a:pt x="260" y="296"/>
                    <a:pt x="260" y="296"/>
                  </a:cubicBezTo>
                  <a:cubicBezTo>
                    <a:pt x="259" y="296"/>
                    <a:pt x="259" y="296"/>
                    <a:pt x="259" y="296"/>
                  </a:cubicBezTo>
                  <a:cubicBezTo>
                    <a:pt x="259" y="296"/>
                    <a:pt x="259" y="296"/>
                    <a:pt x="259" y="296"/>
                  </a:cubicBezTo>
                  <a:cubicBezTo>
                    <a:pt x="258" y="296"/>
                    <a:pt x="258" y="296"/>
                    <a:pt x="258" y="296"/>
                  </a:cubicBezTo>
                  <a:cubicBezTo>
                    <a:pt x="258" y="296"/>
                    <a:pt x="258" y="295"/>
                    <a:pt x="258" y="295"/>
                  </a:cubicBezTo>
                  <a:cubicBezTo>
                    <a:pt x="257" y="295"/>
                    <a:pt x="257" y="295"/>
                    <a:pt x="257" y="295"/>
                  </a:cubicBezTo>
                  <a:cubicBezTo>
                    <a:pt x="257" y="295"/>
                    <a:pt x="257" y="295"/>
                    <a:pt x="257" y="295"/>
                  </a:cubicBezTo>
                  <a:cubicBezTo>
                    <a:pt x="256" y="295"/>
                    <a:pt x="256" y="295"/>
                    <a:pt x="256" y="295"/>
                  </a:cubicBezTo>
                  <a:cubicBezTo>
                    <a:pt x="256" y="295"/>
                    <a:pt x="256" y="295"/>
                    <a:pt x="256" y="295"/>
                  </a:cubicBezTo>
                  <a:cubicBezTo>
                    <a:pt x="255" y="295"/>
                    <a:pt x="255" y="295"/>
                    <a:pt x="254" y="295"/>
                  </a:cubicBezTo>
                  <a:cubicBezTo>
                    <a:pt x="254" y="294"/>
                    <a:pt x="254" y="294"/>
                    <a:pt x="254" y="294"/>
                  </a:cubicBezTo>
                  <a:cubicBezTo>
                    <a:pt x="254" y="294"/>
                    <a:pt x="254" y="294"/>
                    <a:pt x="253" y="294"/>
                  </a:cubicBezTo>
                  <a:cubicBezTo>
                    <a:pt x="253" y="294"/>
                    <a:pt x="253" y="294"/>
                    <a:pt x="253" y="294"/>
                  </a:cubicBezTo>
                  <a:cubicBezTo>
                    <a:pt x="252" y="294"/>
                    <a:pt x="252" y="294"/>
                    <a:pt x="251" y="294"/>
                  </a:cubicBezTo>
                  <a:cubicBezTo>
                    <a:pt x="251" y="293"/>
                    <a:pt x="251" y="293"/>
                    <a:pt x="251" y="293"/>
                  </a:cubicBezTo>
                  <a:cubicBezTo>
                    <a:pt x="251" y="293"/>
                    <a:pt x="251" y="293"/>
                    <a:pt x="251" y="293"/>
                  </a:cubicBezTo>
                  <a:cubicBezTo>
                    <a:pt x="251" y="293"/>
                    <a:pt x="251" y="293"/>
                    <a:pt x="251" y="293"/>
                  </a:cubicBezTo>
                  <a:cubicBezTo>
                    <a:pt x="251" y="293"/>
                    <a:pt x="251" y="293"/>
                    <a:pt x="252" y="293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3" y="292"/>
                    <a:pt x="253" y="292"/>
                    <a:pt x="253" y="291"/>
                  </a:cubicBezTo>
                  <a:cubicBezTo>
                    <a:pt x="253" y="291"/>
                    <a:pt x="254" y="291"/>
                    <a:pt x="254" y="291"/>
                  </a:cubicBezTo>
                  <a:cubicBezTo>
                    <a:pt x="254" y="291"/>
                    <a:pt x="254" y="291"/>
                    <a:pt x="254" y="290"/>
                  </a:cubicBezTo>
                  <a:cubicBezTo>
                    <a:pt x="255" y="290"/>
                    <a:pt x="256" y="290"/>
                    <a:pt x="257" y="290"/>
                  </a:cubicBezTo>
                  <a:cubicBezTo>
                    <a:pt x="257" y="289"/>
                    <a:pt x="257" y="289"/>
                    <a:pt x="257" y="289"/>
                  </a:cubicBezTo>
                  <a:cubicBezTo>
                    <a:pt x="257" y="289"/>
                    <a:pt x="257" y="289"/>
                    <a:pt x="258" y="289"/>
                  </a:cubicBezTo>
                  <a:cubicBezTo>
                    <a:pt x="258" y="289"/>
                    <a:pt x="258" y="289"/>
                    <a:pt x="258" y="289"/>
                  </a:cubicBezTo>
                  <a:cubicBezTo>
                    <a:pt x="258" y="289"/>
                    <a:pt x="258" y="288"/>
                    <a:pt x="259" y="288"/>
                  </a:cubicBezTo>
                  <a:cubicBezTo>
                    <a:pt x="259" y="288"/>
                    <a:pt x="259" y="288"/>
                    <a:pt x="259" y="288"/>
                  </a:cubicBezTo>
                  <a:cubicBezTo>
                    <a:pt x="259" y="288"/>
                    <a:pt x="259" y="288"/>
                    <a:pt x="259" y="288"/>
                  </a:cubicBezTo>
                  <a:cubicBezTo>
                    <a:pt x="259" y="288"/>
                    <a:pt x="259" y="287"/>
                    <a:pt x="259" y="287"/>
                  </a:cubicBezTo>
                  <a:cubicBezTo>
                    <a:pt x="259" y="287"/>
                    <a:pt x="259" y="287"/>
                    <a:pt x="259" y="287"/>
                  </a:cubicBezTo>
                  <a:cubicBezTo>
                    <a:pt x="259" y="287"/>
                    <a:pt x="259" y="287"/>
                    <a:pt x="259" y="287"/>
                  </a:cubicBezTo>
                  <a:cubicBezTo>
                    <a:pt x="260" y="287"/>
                    <a:pt x="260" y="287"/>
                    <a:pt x="260" y="287"/>
                  </a:cubicBezTo>
                  <a:cubicBezTo>
                    <a:pt x="260" y="286"/>
                    <a:pt x="260" y="286"/>
                    <a:pt x="260" y="286"/>
                  </a:cubicBezTo>
                  <a:cubicBezTo>
                    <a:pt x="260" y="286"/>
                    <a:pt x="260" y="286"/>
                    <a:pt x="260" y="286"/>
                  </a:cubicBezTo>
                  <a:cubicBezTo>
                    <a:pt x="260" y="286"/>
                    <a:pt x="260" y="285"/>
                    <a:pt x="260" y="285"/>
                  </a:cubicBezTo>
                  <a:cubicBezTo>
                    <a:pt x="260" y="285"/>
                    <a:pt x="260" y="285"/>
                    <a:pt x="260" y="285"/>
                  </a:cubicBezTo>
                  <a:cubicBezTo>
                    <a:pt x="260" y="285"/>
                    <a:pt x="260" y="285"/>
                    <a:pt x="260" y="284"/>
                  </a:cubicBezTo>
                  <a:cubicBezTo>
                    <a:pt x="261" y="284"/>
                    <a:pt x="261" y="284"/>
                    <a:pt x="261" y="284"/>
                  </a:cubicBezTo>
                  <a:cubicBezTo>
                    <a:pt x="261" y="284"/>
                    <a:pt x="261" y="284"/>
                    <a:pt x="261" y="284"/>
                  </a:cubicBezTo>
                  <a:cubicBezTo>
                    <a:pt x="261" y="284"/>
                    <a:pt x="261" y="284"/>
                    <a:pt x="261" y="284"/>
                  </a:cubicBezTo>
                  <a:cubicBezTo>
                    <a:pt x="261" y="284"/>
                    <a:pt x="261" y="283"/>
                    <a:pt x="261" y="283"/>
                  </a:cubicBezTo>
                  <a:cubicBezTo>
                    <a:pt x="261" y="283"/>
                    <a:pt x="261" y="283"/>
                    <a:pt x="261" y="283"/>
                  </a:cubicBezTo>
                  <a:cubicBezTo>
                    <a:pt x="262" y="282"/>
                    <a:pt x="262" y="282"/>
                    <a:pt x="262" y="281"/>
                  </a:cubicBezTo>
                  <a:cubicBezTo>
                    <a:pt x="262" y="281"/>
                    <a:pt x="262" y="281"/>
                    <a:pt x="263" y="281"/>
                  </a:cubicBezTo>
                  <a:cubicBezTo>
                    <a:pt x="263" y="281"/>
                    <a:pt x="263" y="280"/>
                    <a:pt x="263" y="280"/>
                  </a:cubicBezTo>
                  <a:cubicBezTo>
                    <a:pt x="263" y="280"/>
                    <a:pt x="263" y="280"/>
                    <a:pt x="263" y="280"/>
                  </a:cubicBezTo>
                  <a:cubicBezTo>
                    <a:pt x="263" y="279"/>
                    <a:pt x="263" y="279"/>
                    <a:pt x="263" y="279"/>
                  </a:cubicBezTo>
                  <a:cubicBezTo>
                    <a:pt x="263" y="279"/>
                    <a:pt x="263" y="279"/>
                    <a:pt x="264" y="279"/>
                  </a:cubicBezTo>
                  <a:cubicBezTo>
                    <a:pt x="264" y="278"/>
                    <a:pt x="264" y="278"/>
                    <a:pt x="264" y="278"/>
                  </a:cubicBezTo>
                  <a:cubicBezTo>
                    <a:pt x="264" y="278"/>
                    <a:pt x="264" y="278"/>
                    <a:pt x="264" y="278"/>
                  </a:cubicBezTo>
                  <a:cubicBezTo>
                    <a:pt x="264" y="278"/>
                    <a:pt x="264" y="277"/>
                    <a:pt x="264" y="277"/>
                  </a:cubicBezTo>
                  <a:cubicBezTo>
                    <a:pt x="264" y="277"/>
                    <a:pt x="264" y="277"/>
                    <a:pt x="264" y="277"/>
                  </a:cubicBezTo>
                  <a:cubicBezTo>
                    <a:pt x="264" y="277"/>
                    <a:pt x="264" y="277"/>
                    <a:pt x="264" y="276"/>
                  </a:cubicBezTo>
                  <a:cubicBezTo>
                    <a:pt x="264" y="276"/>
                    <a:pt x="265" y="276"/>
                    <a:pt x="265" y="276"/>
                  </a:cubicBezTo>
                  <a:cubicBezTo>
                    <a:pt x="265" y="276"/>
                    <a:pt x="265" y="276"/>
                    <a:pt x="265" y="276"/>
                  </a:cubicBezTo>
                  <a:cubicBezTo>
                    <a:pt x="265" y="276"/>
                    <a:pt x="265" y="276"/>
                    <a:pt x="265" y="276"/>
                  </a:cubicBezTo>
                  <a:cubicBezTo>
                    <a:pt x="265" y="275"/>
                    <a:pt x="265" y="274"/>
                    <a:pt x="266" y="274"/>
                  </a:cubicBezTo>
                  <a:cubicBezTo>
                    <a:pt x="266" y="274"/>
                    <a:pt x="266" y="274"/>
                    <a:pt x="266" y="274"/>
                  </a:cubicBezTo>
                  <a:cubicBezTo>
                    <a:pt x="266" y="273"/>
                    <a:pt x="266" y="273"/>
                    <a:pt x="266" y="273"/>
                  </a:cubicBezTo>
                  <a:cubicBezTo>
                    <a:pt x="266" y="273"/>
                    <a:pt x="266" y="273"/>
                    <a:pt x="266" y="273"/>
                  </a:cubicBezTo>
                  <a:cubicBezTo>
                    <a:pt x="266" y="272"/>
                    <a:pt x="266" y="272"/>
                    <a:pt x="266" y="272"/>
                  </a:cubicBezTo>
                  <a:cubicBezTo>
                    <a:pt x="267" y="272"/>
                    <a:pt x="267" y="272"/>
                    <a:pt x="267" y="272"/>
                  </a:cubicBezTo>
                  <a:cubicBezTo>
                    <a:pt x="267" y="271"/>
                    <a:pt x="267" y="270"/>
                    <a:pt x="267" y="270"/>
                  </a:cubicBezTo>
                  <a:cubicBezTo>
                    <a:pt x="268" y="270"/>
                    <a:pt x="268" y="270"/>
                    <a:pt x="268" y="270"/>
                  </a:cubicBezTo>
                  <a:cubicBezTo>
                    <a:pt x="268" y="269"/>
                    <a:pt x="268" y="268"/>
                    <a:pt x="268" y="268"/>
                  </a:cubicBezTo>
                  <a:cubicBezTo>
                    <a:pt x="269" y="268"/>
                    <a:pt x="269" y="268"/>
                    <a:pt x="269" y="268"/>
                  </a:cubicBezTo>
                  <a:cubicBezTo>
                    <a:pt x="269" y="268"/>
                    <a:pt x="269" y="267"/>
                    <a:pt x="269" y="267"/>
                  </a:cubicBezTo>
                  <a:cubicBezTo>
                    <a:pt x="269" y="267"/>
                    <a:pt x="269" y="267"/>
                    <a:pt x="268" y="267"/>
                  </a:cubicBezTo>
                  <a:cubicBezTo>
                    <a:pt x="268" y="267"/>
                    <a:pt x="268" y="266"/>
                    <a:pt x="268" y="266"/>
                  </a:cubicBezTo>
                  <a:cubicBezTo>
                    <a:pt x="268" y="266"/>
                    <a:pt x="268" y="266"/>
                    <a:pt x="268" y="266"/>
                  </a:cubicBezTo>
                  <a:cubicBezTo>
                    <a:pt x="268" y="266"/>
                    <a:pt x="268" y="265"/>
                    <a:pt x="268" y="265"/>
                  </a:cubicBezTo>
                  <a:cubicBezTo>
                    <a:pt x="268" y="265"/>
                    <a:pt x="268" y="265"/>
                    <a:pt x="268" y="265"/>
                  </a:cubicBezTo>
                  <a:cubicBezTo>
                    <a:pt x="268" y="265"/>
                    <a:pt x="268" y="264"/>
                    <a:pt x="268" y="264"/>
                  </a:cubicBezTo>
                  <a:cubicBezTo>
                    <a:pt x="268" y="264"/>
                    <a:pt x="268" y="264"/>
                    <a:pt x="267" y="264"/>
                  </a:cubicBezTo>
                  <a:cubicBezTo>
                    <a:pt x="267" y="263"/>
                    <a:pt x="267" y="263"/>
                    <a:pt x="267" y="262"/>
                  </a:cubicBezTo>
                  <a:cubicBezTo>
                    <a:pt x="267" y="262"/>
                    <a:pt x="267" y="262"/>
                    <a:pt x="267" y="262"/>
                  </a:cubicBezTo>
                  <a:cubicBezTo>
                    <a:pt x="267" y="262"/>
                    <a:pt x="267" y="261"/>
                    <a:pt x="267" y="260"/>
                  </a:cubicBezTo>
                  <a:cubicBezTo>
                    <a:pt x="267" y="260"/>
                    <a:pt x="267" y="260"/>
                    <a:pt x="266" y="260"/>
                  </a:cubicBezTo>
                  <a:cubicBezTo>
                    <a:pt x="266" y="260"/>
                    <a:pt x="266" y="259"/>
                    <a:pt x="266" y="259"/>
                  </a:cubicBezTo>
                  <a:cubicBezTo>
                    <a:pt x="266" y="259"/>
                    <a:pt x="266" y="259"/>
                    <a:pt x="266" y="259"/>
                  </a:cubicBezTo>
                  <a:cubicBezTo>
                    <a:pt x="266" y="258"/>
                    <a:pt x="266" y="257"/>
                    <a:pt x="266" y="256"/>
                  </a:cubicBezTo>
                  <a:cubicBezTo>
                    <a:pt x="266" y="256"/>
                    <a:pt x="265" y="256"/>
                    <a:pt x="265" y="256"/>
                  </a:cubicBezTo>
                  <a:cubicBezTo>
                    <a:pt x="265" y="256"/>
                    <a:pt x="265" y="255"/>
                    <a:pt x="265" y="254"/>
                  </a:cubicBezTo>
                  <a:cubicBezTo>
                    <a:pt x="265" y="254"/>
                    <a:pt x="265" y="254"/>
                    <a:pt x="265" y="254"/>
                  </a:cubicBezTo>
                  <a:cubicBezTo>
                    <a:pt x="265" y="254"/>
                    <a:pt x="265" y="253"/>
                    <a:pt x="265" y="253"/>
                  </a:cubicBezTo>
                  <a:cubicBezTo>
                    <a:pt x="265" y="253"/>
                    <a:pt x="264" y="253"/>
                    <a:pt x="264" y="253"/>
                  </a:cubicBezTo>
                  <a:cubicBezTo>
                    <a:pt x="264" y="252"/>
                    <a:pt x="264" y="251"/>
                    <a:pt x="264" y="251"/>
                  </a:cubicBezTo>
                  <a:cubicBezTo>
                    <a:pt x="260" y="247"/>
                    <a:pt x="257" y="244"/>
                    <a:pt x="253" y="240"/>
                  </a:cubicBezTo>
                  <a:cubicBezTo>
                    <a:pt x="252" y="239"/>
                    <a:pt x="253" y="237"/>
                    <a:pt x="252" y="235"/>
                  </a:cubicBezTo>
                  <a:cubicBezTo>
                    <a:pt x="252" y="235"/>
                    <a:pt x="252" y="235"/>
                    <a:pt x="252" y="235"/>
                  </a:cubicBezTo>
                  <a:cubicBezTo>
                    <a:pt x="252" y="234"/>
                    <a:pt x="252" y="234"/>
                    <a:pt x="252" y="233"/>
                  </a:cubicBezTo>
                  <a:cubicBezTo>
                    <a:pt x="252" y="233"/>
                    <a:pt x="252" y="233"/>
                    <a:pt x="252" y="233"/>
                  </a:cubicBezTo>
                  <a:cubicBezTo>
                    <a:pt x="252" y="232"/>
                    <a:pt x="252" y="232"/>
                    <a:pt x="252" y="231"/>
                  </a:cubicBezTo>
                  <a:cubicBezTo>
                    <a:pt x="252" y="231"/>
                    <a:pt x="251" y="231"/>
                    <a:pt x="251" y="231"/>
                  </a:cubicBezTo>
                  <a:cubicBezTo>
                    <a:pt x="251" y="230"/>
                    <a:pt x="251" y="230"/>
                    <a:pt x="251" y="229"/>
                  </a:cubicBezTo>
                  <a:cubicBezTo>
                    <a:pt x="251" y="227"/>
                    <a:pt x="250" y="225"/>
                    <a:pt x="250" y="223"/>
                  </a:cubicBezTo>
                  <a:cubicBezTo>
                    <a:pt x="254" y="223"/>
                    <a:pt x="258" y="223"/>
                    <a:pt x="261" y="223"/>
                  </a:cubicBezTo>
                  <a:cubicBezTo>
                    <a:pt x="261" y="222"/>
                    <a:pt x="261" y="222"/>
                    <a:pt x="261" y="222"/>
                  </a:cubicBezTo>
                  <a:cubicBezTo>
                    <a:pt x="262" y="222"/>
                    <a:pt x="263" y="222"/>
                    <a:pt x="264" y="222"/>
                  </a:cubicBezTo>
                  <a:cubicBezTo>
                    <a:pt x="264" y="221"/>
                    <a:pt x="264" y="221"/>
                    <a:pt x="264" y="221"/>
                  </a:cubicBezTo>
                  <a:cubicBezTo>
                    <a:pt x="264" y="221"/>
                    <a:pt x="264" y="221"/>
                    <a:pt x="264" y="221"/>
                  </a:cubicBezTo>
                  <a:cubicBezTo>
                    <a:pt x="264" y="221"/>
                    <a:pt x="264" y="221"/>
                    <a:pt x="264" y="221"/>
                  </a:cubicBezTo>
                  <a:cubicBezTo>
                    <a:pt x="265" y="221"/>
                    <a:pt x="265" y="221"/>
                    <a:pt x="265" y="221"/>
                  </a:cubicBezTo>
                  <a:cubicBezTo>
                    <a:pt x="265" y="221"/>
                    <a:pt x="265" y="221"/>
                    <a:pt x="265" y="220"/>
                  </a:cubicBezTo>
                  <a:cubicBezTo>
                    <a:pt x="265" y="220"/>
                    <a:pt x="265" y="220"/>
                    <a:pt x="266" y="220"/>
                  </a:cubicBezTo>
                  <a:cubicBezTo>
                    <a:pt x="266" y="220"/>
                    <a:pt x="266" y="220"/>
                    <a:pt x="266" y="220"/>
                  </a:cubicBezTo>
                  <a:cubicBezTo>
                    <a:pt x="266" y="220"/>
                    <a:pt x="266" y="220"/>
                    <a:pt x="267" y="220"/>
                  </a:cubicBezTo>
                  <a:cubicBezTo>
                    <a:pt x="267" y="220"/>
                    <a:pt x="267" y="220"/>
                    <a:pt x="267" y="220"/>
                  </a:cubicBezTo>
                  <a:cubicBezTo>
                    <a:pt x="267" y="220"/>
                    <a:pt x="267" y="220"/>
                    <a:pt x="267" y="220"/>
                  </a:cubicBezTo>
                  <a:cubicBezTo>
                    <a:pt x="267" y="220"/>
                    <a:pt x="267" y="220"/>
                    <a:pt x="267" y="219"/>
                  </a:cubicBezTo>
                  <a:cubicBezTo>
                    <a:pt x="268" y="219"/>
                    <a:pt x="268" y="219"/>
                    <a:pt x="268" y="219"/>
                  </a:cubicBezTo>
                  <a:cubicBezTo>
                    <a:pt x="268" y="219"/>
                    <a:pt x="268" y="219"/>
                    <a:pt x="268" y="219"/>
                  </a:cubicBezTo>
                  <a:cubicBezTo>
                    <a:pt x="268" y="219"/>
                    <a:pt x="269" y="219"/>
                    <a:pt x="269" y="219"/>
                  </a:cubicBezTo>
                  <a:cubicBezTo>
                    <a:pt x="269" y="219"/>
                    <a:pt x="269" y="219"/>
                    <a:pt x="269" y="219"/>
                  </a:cubicBezTo>
                  <a:cubicBezTo>
                    <a:pt x="270" y="218"/>
                    <a:pt x="270" y="218"/>
                    <a:pt x="271" y="218"/>
                  </a:cubicBezTo>
                  <a:cubicBezTo>
                    <a:pt x="271" y="218"/>
                    <a:pt x="271" y="218"/>
                    <a:pt x="271" y="218"/>
                  </a:cubicBezTo>
                  <a:cubicBezTo>
                    <a:pt x="271" y="218"/>
                    <a:pt x="272" y="218"/>
                    <a:pt x="272" y="218"/>
                  </a:cubicBezTo>
                  <a:cubicBezTo>
                    <a:pt x="272" y="218"/>
                    <a:pt x="272" y="217"/>
                    <a:pt x="272" y="217"/>
                  </a:cubicBezTo>
                  <a:cubicBezTo>
                    <a:pt x="272" y="217"/>
                    <a:pt x="272" y="217"/>
                    <a:pt x="273" y="217"/>
                  </a:cubicBezTo>
                  <a:cubicBezTo>
                    <a:pt x="274" y="217"/>
                    <a:pt x="274" y="216"/>
                    <a:pt x="275" y="216"/>
                  </a:cubicBezTo>
                  <a:cubicBezTo>
                    <a:pt x="275" y="215"/>
                    <a:pt x="275" y="214"/>
                    <a:pt x="274" y="213"/>
                  </a:cubicBezTo>
                  <a:cubicBezTo>
                    <a:pt x="274" y="213"/>
                    <a:pt x="274" y="213"/>
                    <a:pt x="274" y="213"/>
                  </a:cubicBezTo>
                  <a:cubicBezTo>
                    <a:pt x="274" y="212"/>
                    <a:pt x="274" y="212"/>
                    <a:pt x="274" y="212"/>
                  </a:cubicBezTo>
                  <a:cubicBezTo>
                    <a:pt x="274" y="212"/>
                    <a:pt x="274" y="212"/>
                    <a:pt x="274" y="212"/>
                  </a:cubicBezTo>
                  <a:cubicBezTo>
                    <a:pt x="274" y="211"/>
                    <a:pt x="274" y="211"/>
                    <a:pt x="274" y="211"/>
                  </a:cubicBezTo>
                  <a:cubicBezTo>
                    <a:pt x="274" y="211"/>
                    <a:pt x="274" y="211"/>
                    <a:pt x="273" y="211"/>
                  </a:cubicBezTo>
                  <a:cubicBezTo>
                    <a:pt x="273" y="210"/>
                    <a:pt x="273" y="210"/>
                    <a:pt x="273" y="209"/>
                  </a:cubicBezTo>
                  <a:cubicBezTo>
                    <a:pt x="273" y="209"/>
                    <a:pt x="272" y="209"/>
                    <a:pt x="272" y="209"/>
                  </a:cubicBezTo>
                  <a:cubicBezTo>
                    <a:pt x="272" y="209"/>
                    <a:pt x="272" y="208"/>
                    <a:pt x="272" y="208"/>
                  </a:cubicBezTo>
                  <a:cubicBezTo>
                    <a:pt x="272" y="208"/>
                    <a:pt x="272" y="208"/>
                    <a:pt x="272" y="208"/>
                  </a:cubicBezTo>
                  <a:cubicBezTo>
                    <a:pt x="272" y="208"/>
                    <a:pt x="272" y="207"/>
                    <a:pt x="272" y="207"/>
                  </a:cubicBezTo>
                  <a:cubicBezTo>
                    <a:pt x="272" y="207"/>
                    <a:pt x="272" y="207"/>
                    <a:pt x="272" y="207"/>
                  </a:cubicBezTo>
                  <a:cubicBezTo>
                    <a:pt x="271" y="206"/>
                    <a:pt x="271" y="206"/>
                    <a:pt x="271" y="205"/>
                  </a:cubicBezTo>
                  <a:cubicBezTo>
                    <a:pt x="271" y="205"/>
                    <a:pt x="271" y="205"/>
                    <a:pt x="271" y="205"/>
                  </a:cubicBezTo>
                  <a:cubicBezTo>
                    <a:pt x="271" y="205"/>
                    <a:pt x="271" y="204"/>
                    <a:pt x="271" y="204"/>
                  </a:cubicBezTo>
                  <a:cubicBezTo>
                    <a:pt x="270" y="204"/>
                    <a:pt x="270" y="204"/>
                    <a:pt x="270" y="204"/>
                  </a:cubicBezTo>
                  <a:cubicBezTo>
                    <a:pt x="270" y="204"/>
                    <a:pt x="270" y="204"/>
                    <a:pt x="270" y="203"/>
                  </a:cubicBezTo>
                  <a:cubicBezTo>
                    <a:pt x="270" y="203"/>
                    <a:pt x="270" y="203"/>
                    <a:pt x="270" y="203"/>
                  </a:cubicBezTo>
                  <a:cubicBezTo>
                    <a:pt x="270" y="202"/>
                    <a:pt x="269" y="201"/>
                    <a:pt x="269" y="200"/>
                  </a:cubicBezTo>
                  <a:cubicBezTo>
                    <a:pt x="269" y="200"/>
                    <a:pt x="269" y="200"/>
                    <a:pt x="268" y="200"/>
                  </a:cubicBezTo>
                  <a:cubicBezTo>
                    <a:pt x="268" y="200"/>
                    <a:pt x="268" y="199"/>
                    <a:pt x="268" y="199"/>
                  </a:cubicBezTo>
                  <a:cubicBezTo>
                    <a:pt x="268" y="199"/>
                    <a:pt x="268" y="199"/>
                    <a:pt x="268" y="199"/>
                  </a:cubicBezTo>
                  <a:cubicBezTo>
                    <a:pt x="267" y="198"/>
                    <a:pt x="266" y="194"/>
                    <a:pt x="266" y="194"/>
                  </a:cubicBezTo>
                  <a:cubicBezTo>
                    <a:pt x="265" y="194"/>
                    <a:pt x="265" y="194"/>
                    <a:pt x="264" y="194"/>
                  </a:cubicBezTo>
                  <a:cubicBezTo>
                    <a:pt x="264" y="194"/>
                    <a:pt x="264" y="194"/>
                    <a:pt x="264" y="194"/>
                  </a:cubicBezTo>
                  <a:cubicBezTo>
                    <a:pt x="264" y="194"/>
                    <a:pt x="263" y="194"/>
                    <a:pt x="262" y="195"/>
                  </a:cubicBezTo>
                  <a:cubicBezTo>
                    <a:pt x="262" y="195"/>
                    <a:pt x="262" y="195"/>
                    <a:pt x="262" y="195"/>
                  </a:cubicBezTo>
                  <a:cubicBezTo>
                    <a:pt x="262" y="195"/>
                    <a:pt x="261" y="195"/>
                    <a:pt x="261" y="195"/>
                  </a:cubicBezTo>
                  <a:cubicBezTo>
                    <a:pt x="261" y="195"/>
                    <a:pt x="261" y="195"/>
                    <a:pt x="261" y="195"/>
                  </a:cubicBezTo>
                  <a:cubicBezTo>
                    <a:pt x="260" y="195"/>
                    <a:pt x="260" y="195"/>
                    <a:pt x="260" y="195"/>
                  </a:cubicBezTo>
                  <a:cubicBezTo>
                    <a:pt x="260" y="195"/>
                    <a:pt x="260" y="196"/>
                    <a:pt x="260" y="196"/>
                  </a:cubicBezTo>
                  <a:cubicBezTo>
                    <a:pt x="259" y="196"/>
                    <a:pt x="259" y="196"/>
                    <a:pt x="259" y="196"/>
                  </a:cubicBezTo>
                  <a:cubicBezTo>
                    <a:pt x="259" y="196"/>
                    <a:pt x="259" y="196"/>
                    <a:pt x="259" y="196"/>
                  </a:cubicBezTo>
                  <a:cubicBezTo>
                    <a:pt x="258" y="196"/>
                    <a:pt x="258" y="196"/>
                    <a:pt x="257" y="196"/>
                  </a:cubicBezTo>
                  <a:cubicBezTo>
                    <a:pt x="257" y="196"/>
                    <a:pt x="257" y="196"/>
                    <a:pt x="257" y="196"/>
                  </a:cubicBezTo>
                  <a:cubicBezTo>
                    <a:pt x="257" y="196"/>
                    <a:pt x="257" y="196"/>
                    <a:pt x="256" y="196"/>
                  </a:cubicBezTo>
                  <a:cubicBezTo>
                    <a:pt x="256" y="196"/>
                    <a:pt x="256" y="197"/>
                    <a:pt x="256" y="197"/>
                  </a:cubicBezTo>
                  <a:cubicBezTo>
                    <a:pt x="256" y="197"/>
                    <a:pt x="256" y="197"/>
                    <a:pt x="255" y="197"/>
                  </a:cubicBezTo>
                  <a:cubicBezTo>
                    <a:pt x="255" y="197"/>
                    <a:pt x="255" y="197"/>
                    <a:pt x="255" y="197"/>
                  </a:cubicBezTo>
                  <a:cubicBezTo>
                    <a:pt x="254" y="197"/>
                    <a:pt x="253" y="198"/>
                    <a:pt x="252" y="198"/>
                  </a:cubicBezTo>
                  <a:cubicBezTo>
                    <a:pt x="252" y="198"/>
                    <a:pt x="252" y="198"/>
                    <a:pt x="252" y="198"/>
                  </a:cubicBezTo>
                  <a:cubicBezTo>
                    <a:pt x="251" y="198"/>
                    <a:pt x="251" y="198"/>
                    <a:pt x="250" y="198"/>
                  </a:cubicBezTo>
                  <a:cubicBezTo>
                    <a:pt x="250" y="198"/>
                    <a:pt x="250" y="198"/>
                    <a:pt x="250" y="198"/>
                  </a:cubicBezTo>
                  <a:cubicBezTo>
                    <a:pt x="249" y="199"/>
                    <a:pt x="247" y="199"/>
                    <a:pt x="246" y="199"/>
                  </a:cubicBezTo>
                  <a:cubicBezTo>
                    <a:pt x="245" y="199"/>
                    <a:pt x="245" y="198"/>
                    <a:pt x="244" y="197"/>
                  </a:cubicBezTo>
                  <a:cubicBezTo>
                    <a:pt x="244" y="197"/>
                    <a:pt x="244" y="197"/>
                    <a:pt x="243" y="197"/>
                  </a:cubicBezTo>
                  <a:cubicBezTo>
                    <a:pt x="243" y="196"/>
                    <a:pt x="243" y="196"/>
                    <a:pt x="243" y="196"/>
                  </a:cubicBezTo>
                  <a:cubicBezTo>
                    <a:pt x="242" y="195"/>
                    <a:pt x="242" y="195"/>
                    <a:pt x="241" y="194"/>
                  </a:cubicBezTo>
                  <a:cubicBezTo>
                    <a:pt x="241" y="194"/>
                    <a:pt x="241" y="194"/>
                    <a:pt x="241" y="194"/>
                  </a:cubicBezTo>
                  <a:cubicBezTo>
                    <a:pt x="241" y="193"/>
                    <a:pt x="240" y="193"/>
                    <a:pt x="239" y="192"/>
                  </a:cubicBezTo>
                  <a:cubicBezTo>
                    <a:pt x="239" y="192"/>
                    <a:pt x="239" y="192"/>
                    <a:pt x="239" y="191"/>
                  </a:cubicBezTo>
                  <a:cubicBezTo>
                    <a:pt x="239" y="191"/>
                    <a:pt x="238" y="190"/>
                    <a:pt x="237" y="190"/>
                  </a:cubicBezTo>
                  <a:cubicBezTo>
                    <a:pt x="237" y="189"/>
                    <a:pt x="237" y="189"/>
                    <a:pt x="237" y="189"/>
                  </a:cubicBezTo>
                  <a:cubicBezTo>
                    <a:pt x="237" y="189"/>
                    <a:pt x="237" y="189"/>
                    <a:pt x="237" y="189"/>
                  </a:cubicBezTo>
                  <a:cubicBezTo>
                    <a:pt x="237" y="189"/>
                    <a:pt x="237" y="188"/>
                    <a:pt x="237" y="188"/>
                  </a:cubicBezTo>
                  <a:cubicBezTo>
                    <a:pt x="236" y="188"/>
                    <a:pt x="236" y="188"/>
                    <a:pt x="236" y="188"/>
                  </a:cubicBezTo>
                  <a:cubicBezTo>
                    <a:pt x="236" y="187"/>
                    <a:pt x="236" y="187"/>
                    <a:pt x="236" y="186"/>
                  </a:cubicBezTo>
                  <a:cubicBezTo>
                    <a:pt x="236" y="186"/>
                    <a:pt x="236" y="186"/>
                    <a:pt x="236" y="186"/>
                  </a:cubicBezTo>
                  <a:cubicBezTo>
                    <a:pt x="236" y="186"/>
                    <a:pt x="236" y="185"/>
                    <a:pt x="236" y="184"/>
                  </a:cubicBezTo>
                  <a:cubicBezTo>
                    <a:pt x="236" y="184"/>
                    <a:pt x="237" y="184"/>
                    <a:pt x="237" y="184"/>
                  </a:cubicBezTo>
                  <a:cubicBezTo>
                    <a:pt x="237" y="184"/>
                    <a:pt x="237" y="184"/>
                    <a:pt x="237" y="183"/>
                  </a:cubicBezTo>
                  <a:cubicBezTo>
                    <a:pt x="237" y="183"/>
                    <a:pt x="237" y="183"/>
                    <a:pt x="237" y="183"/>
                  </a:cubicBezTo>
                  <a:cubicBezTo>
                    <a:pt x="237" y="183"/>
                    <a:pt x="237" y="183"/>
                    <a:pt x="237" y="182"/>
                  </a:cubicBezTo>
                  <a:cubicBezTo>
                    <a:pt x="237" y="182"/>
                    <a:pt x="237" y="182"/>
                    <a:pt x="237" y="182"/>
                  </a:cubicBezTo>
                  <a:cubicBezTo>
                    <a:pt x="237" y="182"/>
                    <a:pt x="237" y="182"/>
                    <a:pt x="237" y="181"/>
                  </a:cubicBezTo>
                  <a:cubicBezTo>
                    <a:pt x="237" y="181"/>
                    <a:pt x="238" y="181"/>
                    <a:pt x="238" y="181"/>
                  </a:cubicBezTo>
                  <a:cubicBezTo>
                    <a:pt x="238" y="181"/>
                    <a:pt x="238" y="181"/>
                    <a:pt x="238" y="181"/>
                  </a:cubicBezTo>
                  <a:cubicBezTo>
                    <a:pt x="238" y="181"/>
                    <a:pt x="238" y="181"/>
                    <a:pt x="238" y="181"/>
                  </a:cubicBezTo>
                  <a:cubicBezTo>
                    <a:pt x="238" y="180"/>
                    <a:pt x="239" y="179"/>
                    <a:pt x="239" y="177"/>
                  </a:cubicBezTo>
                  <a:cubicBezTo>
                    <a:pt x="239" y="177"/>
                    <a:pt x="239" y="177"/>
                    <a:pt x="239" y="177"/>
                  </a:cubicBezTo>
                  <a:cubicBezTo>
                    <a:pt x="239" y="177"/>
                    <a:pt x="239" y="177"/>
                    <a:pt x="239" y="177"/>
                  </a:cubicBezTo>
                  <a:cubicBezTo>
                    <a:pt x="239" y="177"/>
                    <a:pt x="239" y="177"/>
                    <a:pt x="239" y="177"/>
                  </a:cubicBezTo>
                  <a:cubicBezTo>
                    <a:pt x="240" y="176"/>
                    <a:pt x="240" y="175"/>
                    <a:pt x="240" y="174"/>
                  </a:cubicBezTo>
                  <a:cubicBezTo>
                    <a:pt x="240" y="174"/>
                    <a:pt x="240" y="174"/>
                    <a:pt x="241" y="174"/>
                  </a:cubicBezTo>
                  <a:cubicBezTo>
                    <a:pt x="241" y="173"/>
                    <a:pt x="241" y="173"/>
                    <a:pt x="241" y="173"/>
                  </a:cubicBezTo>
                  <a:cubicBezTo>
                    <a:pt x="241" y="173"/>
                    <a:pt x="241" y="173"/>
                    <a:pt x="241" y="173"/>
                  </a:cubicBezTo>
                  <a:cubicBezTo>
                    <a:pt x="241" y="172"/>
                    <a:pt x="241" y="171"/>
                    <a:pt x="242" y="170"/>
                  </a:cubicBezTo>
                  <a:cubicBezTo>
                    <a:pt x="242" y="170"/>
                    <a:pt x="242" y="170"/>
                    <a:pt x="242" y="170"/>
                  </a:cubicBezTo>
                  <a:cubicBezTo>
                    <a:pt x="242" y="170"/>
                    <a:pt x="242" y="169"/>
                    <a:pt x="242" y="169"/>
                  </a:cubicBezTo>
                  <a:cubicBezTo>
                    <a:pt x="242" y="169"/>
                    <a:pt x="242" y="169"/>
                    <a:pt x="242" y="169"/>
                  </a:cubicBezTo>
                  <a:cubicBezTo>
                    <a:pt x="243" y="168"/>
                    <a:pt x="243" y="166"/>
                    <a:pt x="243" y="165"/>
                  </a:cubicBezTo>
                  <a:cubicBezTo>
                    <a:pt x="243" y="165"/>
                    <a:pt x="242" y="164"/>
                    <a:pt x="242" y="163"/>
                  </a:cubicBezTo>
                  <a:cubicBezTo>
                    <a:pt x="242" y="163"/>
                    <a:pt x="242" y="163"/>
                    <a:pt x="242" y="162"/>
                  </a:cubicBezTo>
                  <a:cubicBezTo>
                    <a:pt x="241" y="162"/>
                    <a:pt x="241" y="162"/>
                    <a:pt x="241" y="162"/>
                  </a:cubicBezTo>
                  <a:cubicBezTo>
                    <a:pt x="241" y="162"/>
                    <a:pt x="241" y="162"/>
                    <a:pt x="241" y="161"/>
                  </a:cubicBezTo>
                  <a:cubicBezTo>
                    <a:pt x="241" y="161"/>
                    <a:pt x="241" y="161"/>
                    <a:pt x="241" y="161"/>
                  </a:cubicBezTo>
                  <a:cubicBezTo>
                    <a:pt x="241" y="161"/>
                    <a:pt x="241" y="161"/>
                    <a:pt x="241" y="161"/>
                  </a:cubicBezTo>
                  <a:cubicBezTo>
                    <a:pt x="240" y="161"/>
                    <a:pt x="240" y="161"/>
                    <a:pt x="240" y="161"/>
                  </a:cubicBezTo>
                  <a:cubicBezTo>
                    <a:pt x="240" y="160"/>
                    <a:pt x="240" y="160"/>
                    <a:pt x="240" y="160"/>
                  </a:cubicBezTo>
                  <a:cubicBezTo>
                    <a:pt x="240" y="159"/>
                    <a:pt x="239" y="159"/>
                    <a:pt x="239" y="159"/>
                  </a:cubicBezTo>
                  <a:cubicBezTo>
                    <a:pt x="239" y="159"/>
                    <a:pt x="239" y="158"/>
                    <a:pt x="239" y="158"/>
                  </a:cubicBezTo>
                  <a:cubicBezTo>
                    <a:pt x="239" y="158"/>
                    <a:pt x="238" y="158"/>
                    <a:pt x="238" y="158"/>
                  </a:cubicBezTo>
                  <a:cubicBezTo>
                    <a:pt x="238" y="157"/>
                    <a:pt x="238" y="157"/>
                    <a:pt x="238" y="156"/>
                  </a:cubicBezTo>
                  <a:cubicBezTo>
                    <a:pt x="237" y="156"/>
                    <a:pt x="237" y="156"/>
                    <a:pt x="237" y="156"/>
                  </a:cubicBezTo>
                  <a:cubicBezTo>
                    <a:pt x="237" y="156"/>
                    <a:pt x="237" y="155"/>
                    <a:pt x="237" y="155"/>
                  </a:cubicBezTo>
                  <a:cubicBezTo>
                    <a:pt x="237" y="155"/>
                    <a:pt x="237" y="155"/>
                    <a:pt x="236" y="155"/>
                  </a:cubicBezTo>
                  <a:cubicBezTo>
                    <a:pt x="236" y="154"/>
                    <a:pt x="236" y="154"/>
                    <a:pt x="236" y="153"/>
                  </a:cubicBezTo>
                  <a:cubicBezTo>
                    <a:pt x="236" y="153"/>
                    <a:pt x="235" y="153"/>
                    <a:pt x="235" y="153"/>
                  </a:cubicBezTo>
                  <a:cubicBezTo>
                    <a:pt x="235" y="153"/>
                    <a:pt x="235" y="152"/>
                    <a:pt x="235" y="152"/>
                  </a:cubicBezTo>
                  <a:cubicBezTo>
                    <a:pt x="235" y="152"/>
                    <a:pt x="235" y="152"/>
                    <a:pt x="235" y="152"/>
                  </a:cubicBezTo>
                  <a:cubicBezTo>
                    <a:pt x="234" y="151"/>
                    <a:pt x="234" y="151"/>
                    <a:pt x="234" y="151"/>
                  </a:cubicBezTo>
                  <a:cubicBezTo>
                    <a:pt x="234" y="150"/>
                    <a:pt x="234" y="150"/>
                    <a:pt x="234" y="150"/>
                  </a:cubicBezTo>
                  <a:cubicBezTo>
                    <a:pt x="234" y="150"/>
                    <a:pt x="234" y="150"/>
                    <a:pt x="234" y="149"/>
                  </a:cubicBezTo>
                  <a:cubicBezTo>
                    <a:pt x="233" y="149"/>
                    <a:pt x="233" y="149"/>
                    <a:pt x="233" y="149"/>
                  </a:cubicBezTo>
                  <a:cubicBezTo>
                    <a:pt x="233" y="149"/>
                    <a:pt x="233" y="149"/>
                    <a:pt x="233" y="149"/>
                  </a:cubicBezTo>
                  <a:cubicBezTo>
                    <a:pt x="233" y="149"/>
                    <a:pt x="233" y="149"/>
                    <a:pt x="232" y="148"/>
                  </a:cubicBezTo>
                  <a:cubicBezTo>
                    <a:pt x="232" y="148"/>
                    <a:pt x="232" y="147"/>
                    <a:pt x="232" y="147"/>
                  </a:cubicBezTo>
                  <a:cubicBezTo>
                    <a:pt x="232" y="147"/>
                    <a:pt x="232" y="147"/>
                    <a:pt x="232" y="147"/>
                  </a:cubicBezTo>
                  <a:cubicBezTo>
                    <a:pt x="232" y="147"/>
                    <a:pt x="232" y="146"/>
                    <a:pt x="231" y="146"/>
                  </a:cubicBezTo>
                  <a:cubicBezTo>
                    <a:pt x="231" y="146"/>
                    <a:pt x="231" y="146"/>
                    <a:pt x="231" y="146"/>
                  </a:cubicBezTo>
                  <a:cubicBezTo>
                    <a:pt x="231" y="145"/>
                    <a:pt x="230" y="145"/>
                    <a:pt x="230" y="144"/>
                  </a:cubicBezTo>
                  <a:cubicBezTo>
                    <a:pt x="230" y="144"/>
                    <a:pt x="230" y="144"/>
                    <a:pt x="230" y="144"/>
                  </a:cubicBezTo>
                  <a:cubicBezTo>
                    <a:pt x="230" y="144"/>
                    <a:pt x="230" y="143"/>
                    <a:pt x="230" y="143"/>
                  </a:cubicBezTo>
                  <a:cubicBezTo>
                    <a:pt x="230" y="143"/>
                    <a:pt x="229" y="143"/>
                    <a:pt x="229" y="143"/>
                  </a:cubicBezTo>
                  <a:cubicBezTo>
                    <a:pt x="229" y="143"/>
                    <a:pt x="229" y="143"/>
                    <a:pt x="229" y="142"/>
                  </a:cubicBezTo>
                  <a:cubicBezTo>
                    <a:pt x="229" y="142"/>
                    <a:pt x="229" y="142"/>
                    <a:pt x="229" y="142"/>
                  </a:cubicBezTo>
                  <a:cubicBezTo>
                    <a:pt x="229" y="142"/>
                    <a:pt x="229" y="142"/>
                    <a:pt x="229" y="141"/>
                  </a:cubicBezTo>
                  <a:cubicBezTo>
                    <a:pt x="228" y="141"/>
                    <a:pt x="228" y="141"/>
                    <a:pt x="228" y="141"/>
                  </a:cubicBezTo>
                  <a:cubicBezTo>
                    <a:pt x="228" y="141"/>
                    <a:pt x="228" y="140"/>
                    <a:pt x="228" y="140"/>
                  </a:cubicBezTo>
                  <a:cubicBezTo>
                    <a:pt x="227" y="140"/>
                    <a:pt x="227" y="140"/>
                    <a:pt x="227" y="140"/>
                  </a:cubicBezTo>
                  <a:cubicBezTo>
                    <a:pt x="226" y="139"/>
                    <a:pt x="224" y="140"/>
                    <a:pt x="222" y="139"/>
                  </a:cubicBezTo>
                  <a:cubicBezTo>
                    <a:pt x="222" y="139"/>
                    <a:pt x="222" y="139"/>
                    <a:pt x="222" y="139"/>
                  </a:cubicBezTo>
                  <a:cubicBezTo>
                    <a:pt x="222" y="139"/>
                    <a:pt x="221" y="139"/>
                    <a:pt x="220" y="139"/>
                  </a:cubicBezTo>
                  <a:cubicBezTo>
                    <a:pt x="218" y="138"/>
                    <a:pt x="215" y="138"/>
                    <a:pt x="214" y="138"/>
                  </a:cubicBezTo>
                  <a:cubicBezTo>
                    <a:pt x="213" y="138"/>
                    <a:pt x="212" y="138"/>
                    <a:pt x="211" y="138"/>
                  </a:cubicBezTo>
                  <a:cubicBezTo>
                    <a:pt x="209" y="137"/>
                    <a:pt x="206" y="136"/>
                    <a:pt x="202" y="136"/>
                  </a:cubicBezTo>
                  <a:cubicBezTo>
                    <a:pt x="201" y="138"/>
                    <a:pt x="201" y="140"/>
                    <a:pt x="200" y="141"/>
                  </a:cubicBezTo>
                  <a:cubicBezTo>
                    <a:pt x="199" y="142"/>
                    <a:pt x="199" y="142"/>
                    <a:pt x="199" y="142"/>
                  </a:cubicBezTo>
                  <a:cubicBezTo>
                    <a:pt x="199" y="142"/>
                    <a:pt x="199" y="143"/>
                    <a:pt x="199" y="143"/>
                  </a:cubicBezTo>
                  <a:cubicBezTo>
                    <a:pt x="198" y="143"/>
                    <a:pt x="198" y="143"/>
                    <a:pt x="198" y="144"/>
                  </a:cubicBezTo>
                  <a:cubicBezTo>
                    <a:pt x="198" y="144"/>
                    <a:pt x="198" y="144"/>
                    <a:pt x="197" y="145"/>
                  </a:cubicBezTo>
                  <a:cubicBezTo>
                    <a:pt x="197" y="145"/>
                    <a:pt x="197" y="145"/>
                    <a:pt x="197" y="145"/>
                  </a:cubicBezTo>
                  <a:cubicBezTo>
                    <a:pt x="197" y="146"/>
                    <a:pt x="197" y="146"/>
                    <a:pt x="196" y="147"/>
                  </a:cubicBezTo>
                  <a:cubicBezTo>
                    <a:pt x="196" y="147"/>
                    <a:pt x="196" y="147"/>
                    <a:pt x="196" y="147"/>
                  </a:cubicBezTo>
                  <a:cubicBezTo>
                    <a:pt x="196" y="147"/>
                    <a:pt x="196" y="147"/>
                    <a:pt x="196" y="148"/>
                  </a:cubicBezTo>
                  <a:cubicBezTo>
                    <a:pt x="196" y="148"/>
                    <a:pt x="195" y="148"/>
                    <a:pt x="195" y="148"/>
                  </a:cubicBezTo>
                  <a:cubicBezTo>
                    <a:pt x="195" y="149"/>
                    <a:pt x="195" y="149"/>
                    <a:pt x="195" y="149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94" y="150"/>
                    <a:pt x="194" y="151"/>
                    <a:pt x="194" y="151"/>
                  </a:cubicBezTo>
                  <a:cubicBezTo>
                    <a:pt x="193" y="151"/>
                    <a:pt x="193" y="151"/>
                    <a:pt x="193" y="152"/>
                  </a:cubicBezTo>
                  <a:cubicBezTo>
                    <a:pt x="193" y="152"/>
                    <a:pt x="193" y="153"/>
                    <a:pt x="193" y="153"/>
                  </a:cubicBezTo>
                  <a:cubicBezTo>
                    <a:pt x="192" y="153"/>
                    <a:pt x="192" y="153"/>
                    <a:pt x="192" y="153"/>
                  </a:cubicBezTo>
                  <a:cubicBezTo>
                    <a:pt x="189" y="161"/>
                    <a:pt x="187" y="169"/>
                    <a:pt x="184" y="177"/>
                  </a:cubicBezTo>
                  <a:cubicBezTo>
                    <a:pt x="183" y="177"/>
                    <a:pt x="183" y="176"/>
                    <a:pt x="182" y="176"/>
                  </a:cubicBezTo>
                  <a:cubicBezTo>
                    <a:pt x="182" y="175"/>
                    <a:pt x="182" y="175"/>
                    <a:pt x="181" y="175"/>
                  </a:cubicBezTo>
                  <a:cubicBezTo>
                    <a:pt x="181" y="175"/>
                    <a:pt x="181" y="175"/>
                    <a:pt x="181" y="175"/>
                  </a:cubicBezTo>
                  <a:cubicBezTo>
                    <a:pt x="181" y="175"/>
                    <a:pt x="180" y="175"/>
                    <a:pt x="180" y="174"/>
                  </a:cubicBezTo>
                  <a:cubicBezTo>
                    <a:pt x="180" y="174"/>
                    <a:pt x="180" y="174"/>
                    <a:pt x="180" y="174"/>
                  </a:cubicBezTo>
                  <a:cubicBezTo>
                    <a:pt x="180" y="174"/>
                    <a:pt x="179" y="174"/>
                    <a:pt x="179" y="174"/>
                  </a:cubicBezTo>
                  <a:cubicBezTo>
                    <a:pt x="179" y="174"/>
                    <a:pt x="179" y="174"/>
                    <a:pt x="179" y="174"/>
                  </a:cubicBezTo>
                  <a:cubicBezTo>
                    <a:pt x="178" y="173"/>
                    <a:pt x="178" y="173"/>
                    <a:pt x="178" y="173"/>
                  </a:cubicBezTo>
                  <a:cubicBezTo>
                    <a:pt x="178" y="173"/>
                    <a:pt x="178" y="173"/>
                    <a:pt x="178" y="173"/>
                  </a:cubicBezTo>
                  <a:cubicBezTo>
                    <a:pt x="177" y="173"/>
                    <a:pt x="177" y="172"/>
                    <a:pt x="177" y="172"/>
                  </a:cubicBezTo>
                  <a:cubicBezTo>
                    <a:pt x="177" y="172"/>
                    <a:pt x="177" y="172"/>
                    <a:pt x="177" y="172"/>
                  </a:cubicBezTo>
                  <a:cubicBezTo>
                    <a:pt x="176" y="172"/>
                    <a:pt x="176" y="172"/>
                    <a:pt x="176" y="172"/>
                  </a:cubicBezTo>
                  <a:cubicBezTo>
                    <a:pt x="176" y="171"/>
                    <a:pt x="175" y="171"/>
                    <a:pt x="175" y="171"/>
                  </a:cubicBezTo>
                  <a:cubicBezTo>
                    <a:pt x="175" y="171"/>
                    <a:pt x="175" y="171"/>
                    <a:pt x="174" y="170"/>
                  </a:cubicBezTo>
                  <a:cubicBezTo>
                    <a:pt x="174" y="170"/>
                    <a:pt x="174" y="170"/>
                    <a:pt x="174" y="170"/>
                  </a:cubicBezTo>
                  <a:cubicBezTo>
                    <a:pt x="174" y="170"/>
                    <a:pt x="173" y="170"/>
                    <a:pt x="173" y="170"/>
                  </a:cubicBezTo>
                  <a:cubicBezTo>
                    <a:pt x="173" y="170"/>
                    <a:pt x="173" y="170"/>
                    <a:pt x="173" y="170"/>
                  </a:cubicBezTo>
                  <a:cubicBezTo>
                    <a:pt x="173" y="170"/>
                    <a:pt x="172" y="169"/>
                    <a:pt x="172" y="169"/>
                  </a:cubicBezTo>
                  <a:cubicBezTo>
                    <a:pt x="172" y="169"/>
                    <a:pt x="172" y="169"/>
                    <a:pt x="172" y="169"/>
                  </a:cubicBezTo>
                  <a:cubicBezTo>
                    <a:pt x="172" y="169"/>
                    <a:pt x="172" y="169"/>
                    <a:pt x="172" y="169"/>
                  </a:cubicBezTo>
                  <a:cubicBezTo>
                    <a:pt x="171" y="169"/>
                    <a:pt x="171" y="168"/>
                    <a:pt x="171" y="168"/>
                  </a:cubicBezTo>
                  <a:cubicBezTo>
                    <a:pt x="170" y="168"/>
                    <a:pt x="170" y="168"/>
                    <a:pt x="170" y="168"/>
                  </a:cubicBezTo>
                  <a:cubicBezTo>
                    <a:pt x="170" y="168"/>
                    <a:pt x="170" y="168"/>
                    <a:pt x="170" y="168"/>
                  </a:cubicBezTo>
                  <a:cubicBezTo>
                    <a:pt x="169" y="167"/>
                    <a:pt x="169" y="167"/>
                    <a:pt x="169" y="167"/>
                  </a:cubicBezTo>
                  <a:cubicBezTo>
                    <a:pt x="169" y="167"/>
                    <a:pt x="169" y="167"/>
                    <a:pt x="168" y="167"/>
                  </a:cubicBezTo>
                  <a:cubicBezTo>
                    <a:pt x="168" y="167"/>
                    <a:pt x="168" y="166"/>
                    <a:pt x="168" y="166"/>
                  </a:cubicBezTo>
                  <a:cubicBezTo>
                    <a:pt x="168" y="166"/>
                    <a:pt x="168" y="166"/>
                    <a:pt x="167" y="166"/>
                  </a:cubicBezTo>
                  <a:cubicBezTo>
                    <a:pt x="167" y="166"/>
                    <a:pt x="167" y="166"/>
                    <a:pt x="167" y="166"/>
                  </a:cubicBezTo>
                  <a:cubicBezTo>
                    <a:pt x="167" y="165"/>
                    <a:pt x="166" y="165"/>
                    <a:pt x="166" y="165"/>
                  </a:cubicBezTo>
                  <a:cubicBezTo>
                    <a:pt x="166" y="165"/>
                    <a:pt x="165" y="165"/>
                    <a:pt x="165" y="165"/>
                  </a:cubicBezTo>
                  <a:cubicBezTo>
                    <a:pt x="165" y="165"/>
                    <a:pt x="165" y="165"/>
                    <a:pt x="165" y="165"/>
                  </a:cubicBezTo>
                  <a:cubicBezTo>
                    <a:pt x="165" y="164"/>
                    <a:pt x="164" y="164"/>
                    <a:pt x="164" y="164"/>
                  </a:cubicBezTo>
                  <a:cubicBezTo>
                    <a:pt x="164" y="164"/>
                    <a:pt x="164" y="164"/>
                    <a:pt x="164" y="164"/>
                  </a:cubicBezTo>
                  <a:cubicBezTo>
                    <a:pt x="163" y="164"/>
                    <a:pt x="163" y="163"/>
                    <a:pt x="163" y="163"/>
                  </a:cubicBezTo>
                  <a:cubicBezTo>
                    <a:pt x="163" y="163"/>
                    <a:pt x="163" y="163"/>
                    <a:pt x="163" y="163"/>
                  </a:cubicBezTo>
                  <a:cubicBezTo>
                    <a:pt x="162" y="163"/>
                    <a:pt x="162" y="163"/>
                    <a:pt x="162" y="162"/>
                  </a:cubicBezTo>
                  <a:cubicBezTo>
                    <a:pt x="162" y="162"/>
                    <a:pt x="161" y="162"/>
                    <a:pt x="161" y="162"/>
                  </a:cubicBezTo>
                  <a:cubicBezTo>
                    <a:pt x="161" y="162"/>
                    <a:pt x="161" y="162"/>
                    <a:pt x="161" y="162"/>
                  </a:cubicBezTo>
                  <a:cubicBezTo>
                    <a:pt x="161" y="162"/>
                    <a:pt x="161" y="162"/>
                    <a:pt x="160" y="162"/>
                  </a:cubicBezTo>
                  <a:cubicBezTo>
                    <a:pt x="160" y="162"/>
                    <a:pt x="160" y="162"/>
                    <a:pt x="160" y="162"/>
                  </a:cubicBezTo>
                  <a:cubicBezTo>
                    <a:pt x="160" y="162"/>
                    <a:pt x="160" y="162"/>
                    <a:pt x="159" y="162"/>
                  </a:cubicBezTo>
                  <a:cubicBezTo>
                    <a:pt x="159" y="162"/>
                    <a:pt x="159" y="161"/>
                    <a:pt x="159" y="161"/>
                  </a:cubicBezTo>
                  <a:cubicBezTo>
                    <a:pt x="159" y="161"/>
                    <a:pt x="159" y="161"/>
                    <a:pt x="158" y="161"/>
                  </a:cubicBezTo>
                  <a:cubicBezTo>
                    <a:pt x="158" y="161"/>
                    <a:pt x="158" y="161"/>
                    <a:pt x="158" y="161"/>
                  </a:cubicBezTo>
                  <a:cubicBezTo>
                    <a:pt x="158" y="161"/>
                    <a:pt x="158" y="161"/>
                    <a:pt x="157" y="161"/>
                  </a:cubicBezTo>
                  <a:cubicBezTo>
                    <a:pt x="157" y="161"/>
                    <a:pt x="157" y="161"/>
                    <a:pt x="157" y="161"/>
                  </a:cubicBezTo>
                  <a:cubicBezTo>
                    <a:pt x="157" y="161"/>
                    <a:pt x="156" y="160"/>
                    <a:pt x="155" y="160"/>
                  </a:cubicBezTo>
                  <a:cubicBezTo>
                    <a:pt x="150" y="158"/>
                    <a:pt x="144" y="156"/>
                    <a:pt x="139" y="154"/>
                  </a:cubicBezTo>
                  <a:cubicBezTo>
                    <a:pt x="138" y="154"/>
                    <a:pt x="137" y="154"/>
                    <a:pt x="137" y="154"/>
                  </a:cubicBezTo>
                  <a:cubicBezTo>
                    <a:pt x="137" y="154"/>
                    <a:pt x="137" y="153"/>
                    <a:pt x="137" y="153"/>
                  </a:cubicBezTo>
                  <a:cubicBezTo>
                    <a:pt x="136" y="153"/>
                    <a:pt x="136" y="153"/>
                    <a:pt x="136" y="153"/>
                  </a:cubicBezTo>
                  <a:cubicBezTo>
                    <a:pt x="136" y="153"/>
                    <a:pt x="136" y="153"/>
                    <a:pt x="136" y="153"/>
                  </a:cubicBezTo>
                  <a:cubicBezTo>
                    <a:pt x="135" y="153"/>
                    <a:pt x="135" y="153"/>
                    <a:pt x="135" y="153"/>
                  </a:cubicBezTo>
                  <a:cubicBezTo>
                    <a:pt x="135" y="153"/>
                    <a:pt x="135" y="153"/>
                    <a:pt x="135" y="153"/>
                  </a:cubicBezTo>
                  <a:cubicBezTo>
                    <a:pt x="134" y="153"/>
                    <a:pt x="134" y="153"/>
                    <a:pt x="133" y="153"/>
                  </a:cubicBezTo>
                  <a:cubicBezTo>
                    <a:pt x="133" y="153"/>
                    <a:pt x="133" y="152"/>
                    <a:pt x="133" y="152"/>
                  </a:cubicBezTo>
                  <a:cubicBezTo>
                    <a:pt x="133" y="152"/>
                    <a:pt x="133" y="152"/>
                    <a:pt x="133" y="152"/>
                  </a:cubicBezTo>
                  <a:cubicBezTo>
                    <a:pt x="133" y="152"/>
                    <a:pt x="133" y="152"/>
                    <a:pt x="133" y="152"/>
                  </a:cubicBezTo>
                  <a:cubicBezTo>
                    <a:pt x="132" y="152"/>
                    <a:pt x="132" y="152"/>
                    <a:pt x="132" y="152"/>
                  </a:cubicBezTo>
                  <a:cubicBezTo>
                    <a:pt x="127" y="147"/>
                    <a:pt x="122" y="141"/>
                    <a:pt x="118" y="136"/>
                  </a:cubicBezTo>
                  <a:cubicBezTo>
                    <a:pt x="118" y="136"/>
                    <a:pt x="118" y="136"/>
                    <a:pt x="117" y="136"/>
                  </a:cubicBezTo>
                  <a:cubicBezTo>
                    <a:pt x="117" y="136"/>
                    <a:pt x="117" y="137"/>
                    <a:pt x="117" y="137"/>
                  </a:cubicBezTo>
                  <a:cubicBezTo>
                    <a:pt x="117" y="137"/>
                    <a:pt x="117" y="137"/>
                    <a:pt x="116" y="138"/>
                  </a:cubicBezTo>
                  <a:cubicBezTo>
                    <a:pt x="116" y="138"/>
                    <a:pt x="116" y="139"/>
                    <a:pt x="116" y="139"/>
                  </a:cubicBezTo>
                  <a:cubicBezTo>
                    <a:pt x="116" y="139"/>
                    <a:pt x="116" y="139"/>
                    <a:pt x="115" y="139"/>
                  </a:cubicBezTo>
                  <a:cubicBezTo>
                    <a:pt x="115" y="140"/>
                    <a:pt x="115" y="140"/>
                    <a:pt x="115" y="141"/>
                  </a:cubicBezTo>
                  <a:cubicBezTo>
                    <a:pt x="115" y="141"/>
                    <a:pt x="114" y="141"/>
                    <a:pt x="114" y="141"/>
                  </a:cubicBezTo>
                  <a:cubicBezTo>
                    <a:pt x="114" y="141"/>
                    <a:pt x="114" y="142"/>
                    <a:pt x="114" y="142"/>
                  </a:cubicBezTo>
                  <a:cubicBezTo>
                    <a:pt x="114" y="142"/>
                    <a:pt x="114" y="142"/>
                    <a:pt x="114" y="142"/>
                  </a:cubicBezTo>
                  <a:cubicBezTo>
                    <a:pt x="113" y="143"/>
                    <a:pt x="113" y="143"/>
                    <a:pt x="113" y="144"/>
                  </a:cubicBezTo>
                  <a:cubicBezTo>
                    <a:pt x="113" y="144"/>
                    <a:pt x="113" y="144"/>
                    <a:pt x="113" y="144"/>
                  </a:cubicBezTo>
                  <a:cubicBezTo>
                    <a:pt x="112" y="144"/>
                    <a:pt x="112" y="145"/>
                    <a:pt x="112" y="145"/>
                  </a:cubicBezTo>
                  <a:cubicBezTo>
                    <a:pt x="112" y="145"/>
                    <a:pt x="112" y="146"/>
                    <a:pt x="111" y="146"/>
                  </a:cubicBezTo>
                  <a:cubicBezTo>
                    <a:pt x="111" y="146"/>
                    <a:pt x="111" y="147"/>
                    <a:pt x="111" y="147"/>
                  </a:cubicBezTo>
                  <a:cubicBezTo>
                    <a:pt x="111" y="147"/>
                    <a:pt x="111" y="147"/>
                    <a:pt x="110" y="147"/>
                  </a:cubicBezTo>
                  <a:cubicBezTo>
                    <a:pt x="109" y="149"/>
                    <a:pt x="108" y="152"/>
                    <a:pt x="107" y="154"/>
                  </a:cubicBezTo>
                  <a:cubicBezTo>
                    <a:pt x="105" y="153"/>
                    <a:pt x="98" y="151"/>
                    <a:pt x="96" y="150"/>
                  </a:cubicBezTo>
                  <a:cubicBezTo>
                    <a:pt x="96" y="150"/>
                    <a:pt x="96" y="149"/>
                    <a:pt x="96" y="149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96" y="148"/>
                    <a:pt x="95" y="148"/>
                    <a:pt x="95" y="148"/>
                  </a:cubicBezTo>
                  <a:cubicBezTo>
                    <a:pt x="95" y="148"/>
                    <a:pt x="95" y="148"/>
                    <a:pt x="95" y="148"/>
                  </a:cubicBezTo>
                  <a:cubicBezTo>
                    <a:pt x="95" y="147"/>
                    <a:pt x="95" y="147"/>
                    <a:pt x="95" y="147"/>
                  </a:cubicBezTo>
                  <a:cubicBezTo>
                    <a:pt x="95" y="147"/>
                    <a:pt x="94" y="147"/>
                    <a:pt x="94" y="146"/>
                  </a:cubicBezTo>
                  <a:cubicBezTo>
                    <a:pt x="94" y="146"/>
                    <a:pt x="94" y="146"/>
                    <a:pt x="94" y="146"/>
                  </a:cubicBezTo>
                  <a:cubicBezTo>
                    <a:pt x="94" y="146"/>
                    <a:pt x="94" y="146"/>
                    <a:pt x="94" y="146"/>
                  </a:cubicBezTo>
                  <a:cubicBezTo>
                    <a:pt x="94" y="145"/>
                    <a:pt x="93" y="145"/>
                    <a:pt x="93" y="145"/>
                  </a:cubicBezTo>
                  <a:cubicBezTo>
                    <a:pt x="93" y="144"/>
                    <a:pt x="93" y="144"/>
                    <a:pt x="93" y="144"/>
                  </a:cubicBezTo>
                  <a:cubicBezTo>
                    <a:pt x="93" y="144"/>
                    <a:pt x="93" y="144"/>
                    <a:pt x="93" y="144"/>
                  </a:cubicBezTo>
                  <a:cubicBezTo>
                    <a:pt x="92" y="143"/>
                    <a:pt x="92" y="143"/>
                    <a:pt x="92" y="143"/>
                  </a:cubicBezTo>
                  <a:cubicBezTo>
                    <a:pt x="92" y="143"/>
                    <a:pt x="92" y="142"/>
                    <a:pt x="92" y="142"/>
                  </a:cubicBezTo>
                  <a:cubicBezTo>
                    <a:pt x="91" y="142"/>
                    <a:pt x="91" y="142"/>
                    <a:pt x="91" y="142"/>
                  </a:cubicBezTo>
                  <a:cubicBezTo>
                    <a:pt x="91" y="142"/>
                    <a:pt x="91" y="141"/>
                    <a:pt x="91" y="141"/>
                  </a:cubicBezTo>
                  <a:cubicBezTo>
                    <a:pt x="91" y="141"/>
                    <a:pt x="91" y="141"/>
                    <a:pt x="90" y="141"/>
                  </a:cubicBezTo>
                  <a:cubicBezTo>
                    <a:pt x="90" y="141"/>
                    <a:pt x="90" y="140"/>
                    <a:pt x="90" y="140"/>
                  </a:cubicBezTo>
                  <a:cubicBezTo>
                    <a:pt x="90" y="140"/>
                    <a:pt x="90" y="140"/>
                    <a:pt x="89" y="140"/>
                  </a:cubicBezTo>
                  <a:cubicBezTo>
                    <a:pt x="89" y="139"/>
                    <a:pt x="89" y="139"/>
                    <a:pt x="89" y="139"/>
                  </a:cubicBezTo>
                  <a:cubicBezTo>
                    <a:pt x="89" y="139"/>
                    <a:pt x="89" y="139"/>
                    <a:pt x="88" y="138"/>
                  </a:cubicBezTo>
                  <a:cubicBezTo>
                    <a:pt x="88" y="138"/>
                    <a:pt x="88" y="138"/>
                    <a:pt x="88" y="138"/>
                  </a:cubicBezTo>
                  <a:cubicBezTo>
                    <a:pt x="88" y="137"/>
                    <a:pt x="88" y="137"/>
                    <a:pt x="88" y="137"/>
                  </a:cubicBezTo>
                  <a:cubicBezTo>
                    <a:pt x="88" y="137"/>
                    <a:pt x="88" y="137"/>
                    <a:pt x="88" y="137"/>
                  </a:cubicBezTo>
                  <a:cubicBezTo>
                    <a:pt x="87" y="136"/>
                    <a:pt x="87" y="136"/>
                    <a:pt x="87" y="136"/>
                  </a:cubicBezTo>
                  <a:cubicBezTo>
                    <a:pt x="87" y="136"/>
                    <a:pt x="87" y="136"/>
                    <a:pt x="87" y="135"/>
                  </a:cubicBezTo>
                  <a:cubicBezTo>
                    <a:pt x="87" y="135"/>
                    <a:pt x="86" y="135"/>
                    <a:pt x="86" y="135"/>
                  </a:cubicBezTo>
                  <a:cubicBezTo>
                    <a:pt x="86" y="135"/>
                    <a:pt x="86" y="134"/>
                    <a:pt x="86" y="134"/>
                  </a:cubicBezTo>
                  <a:cubicBezTo>
                    <a:pt x="86" y="134"/>
                    <a:pt x="86" y="134"/>
                    <a:pt x="86" y="134"/>
                  </a:cubicBezTo>
                  <a:cubicBezTo>
                    <a:pt x="85" y="134"/>
                    <a:pt x="85" y="133"/>
                    <a:pt x="85" y="133"/>
                  </a:cubicBezTo>
                  <a:cubicBezTo>
                    <a:pt x="85" y="133"/>
                    <a:pt x="85" y="133"/>
                    <a:pt x="85" y="133"/>
                  </a:cubicBezTo>
                  <a:cubicBezTo>
                    <a:pt x="85" y="132"/>
                    <a:pt x="85" y="132"/>
                    <a:pt x="85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32"/>
                    <a:pt x="84" y="132"/>
                    <a:pt x="84" y="131"/>
                  </a:cubicBezTo>
                  <a:cubicBezTo>
                    <a:pt x="73" y="131"/>
                    <a:pt x="62" y="131"/>
                    <a:pt x="51" y="131"/>
                  </a:cubicBezTo>
                  <a:cubicBezTo>
                    <a:pt x="51" y="131"/>
                    <a:pt x="51" y="132"/>
                    <a:pt x="51" y="132"/>
                  </a:cubicBezTo>
                  <a:cubicBezTo>
                    <a:pt x="51" y="132"/>
                    <a:pt x="50" y="132"/>
                    <a:pt x="49" y="132"/>
                  </a:cubicBezTo>
                  <a:cubicBezTo>
                    <a:pt x="49" y="132"/>
                    <a:pt x="49" y="132"/>
                    <a:pt x="49" y="132"/>
                  </a:cubicBezTo>
                  <a:cubicBezTo>
                    <a:pt x="49" y="132"/>
                    <a:pt x="49" y="132"/>
                    <a:pt x="49" y="132"/>
                  </a:cubicBezTo>
                  <a:cubicBezTo>
                    <a:pt x="49" y="132"/>
                    <a:pt x="49" y="133"/>
                    <a:pt x="49" y="133"/>
                  </a:cubicBezTo>
                  <a:cubicBezTo>
                    <a:pt x="48" y="133"/>
                    <a:pt x="48" y="133"/>
                    <a:pt x="47" y="133"/>
                  </a:cubicBezTo>
                  <a:cubicBezTo>
                    <a:pt x="47" y="133"/>
                    <a:pt x="47" y="133"/>
                    <a:pt x="47" y="133"/>
                  </a:cubicBezTo>
                  <a:cubicBezTo>
                    <a:pt x="47" y="133"/>
                    <a:pt x="47" y="133"/>
                    <a:pt x="46" y="133"/>
                  </a:cubicBezTo>
                  <a:cubicBezTo>
                    <a:pt x="46" y="133"/>
                    <a:pt x="46" y="133"/>
                    <a:pt x="46" y="133"/>
                  </a:cubicBezTo>
                  <a:cubicBezTo>
                    <a:pt x="46" y="133"/>
                    <a:pt x="46" y="133"/>
                    <a:pt x="46" y="133"/>
                  </a:cubicBezTo>
                  <a:cubicBezTo>
                    <a:pt x="46" y="134"/>
                    <a:pt x="46" y="134"/>
                    <a:pt x="46" y="134"/>
                  </a:cubicBezTo>
                  <a:cubicBezTo>
                    <a:pt x="45" y="134"/>
                    <a:pt x="44" y="134"/>
                    <a:pt x="44" y="134"/>
                  </a:cubicBezTo>
                  <a:cubicBezTo>
                    <a:pt x="44" y="134"/>
                    <a:pt x="44" y="134"/>
                    <a:pt x="44" y="134"/>
                  </a:cubicBezTo>
                  <a:cubicBezTo>
                    <a:pt x="43" y="134"/>
                    <a:pt x="43" y="134"/>
                    <a:pt x="43" y="134"/>
                  </a:cubicBezTo>
                  <a:cubicBezTo>
                    <a:pt x="43" y="135"/>
                    <a:pt x="43" y="135"/>
                    <a:pt x="43" y="135"/>
                  </a:cubicBezTo>
                  <a:cubicBezTo>
                    <a:pt x="42" y="135"/>
                    <a:pt x="42" y="135"/>
                    <a:pt x="41" y="135"/>
                  </a:cubicBezTo>
                  <a:cubicBezTo>
                    <a:pt x="41" y="135"/>
                    <a:pt x="41" y="135"/>
                    <a:pt x="41" y="135"/>
                  </a:cubicBezTo>
                  <a:cubicBezTo>
                    <a:pt x="41" y="135"/>
                    <a:pt x="40" y="135"/>
                    <a:pt x="40" y="135"/>
                  </a:cubicBezTo>
                  <a:cubicBezTo>
                    <a:pt x="40" y="136"/>
                    <a:pt x="40" y="136"/>
                    <a:pt x="40" y="136"/>
                  </a:cubicBezTo>
                  <a:cubicBezTo>
                    <a:pt x="39" y="136"/>
                    <a:pt x="39" y="136"/>
                    <a:pt x="38" y="136"/>
                  </a:cubicBezTo>
                  <a:cubicBezTo>
                    <a:pt x="38" y="136"/>
                    <a:pt x="38" y="136"/>
                    <a:pt x="38" y="137"/>
                  </a:cubicBezTo>
                  <a:cubicBezTo>
                    <a:pt x="38" y="137"/>
                    <a:pt x="38" y="137"/>
                    <a:pt x="37" y="137"/>
                  </a:cubicBezTo>
                  <a:cubicBezTo>
                    <a:pt x="37" y="137"/>
                    <a:pt x="37" y="137"/>
                    <a:pt x="37" y="137"/>
                  </a:cubicBezTo>
                  <a:cubicBezTo>
                    <a:pt x="37" y="137"/>
                    <a:pt x="36" y="137"/>
                    <a:pt x="35" y="137"/>
                  </a:cubicBezTo>
                  <a:cubicBezTo>
                    <a:pt x="35" y="137"/>
                    <a:pt x="35" y="137"/>
                    <a:pt x="35" y="138"/>
                  </a:cubicBezTo>
                  <a:cubicBezTo>
                    <a:pt x="35" y="138"/>
                    <a:pt x="35" y="138"/>
                    <a:pt x="35" y="138"/>
                  </a:cubicBezTo>
                  <a:cubicBezTo>
                    <a:pt x="35" y="138"/>
                    <a:pt x="35" y="138"/>
                    <a:pt x="35" y="138"/>
                  </a:cubicBezTo>
                  <a:cubicBezTo>
                    <a:pt x="34" y="138"/>
                    <a:pt x="33" y="138"/>
                    <a:pt x="32" y="138"/>
                  </a:cubicBezTo>
                  <a:cubicBezTo>
                    <a:pt x="32" y="138"/>
                    <a:pt x="32" y="139"/>
                    <a:pt x="32" y="139"/>
                  </a:cubicBezTo>
                  <a:cubicBezTo>
                    <a:pt x="32" y="139"/>
                    <a:pt x="32" y="139"/>
                    <a:pt x="32" y="139"/>
                  </a:cubicBezTo>
                  <a:cubicBezTo>
                    <a:pt x="32" y="139"/>
                    <a:pt x="32" y="139"/>
                    <a:pt x="32" y="139"/>
                  </a:cubicBezTo>
                  <a:cubicBezTo>
                    <a:pt x="31" y="139"/>
                    <a:pt x="30" y="139"/>
                    <a:pt x="30" y="139"/>
                  </a:cubicBezTo>
                  <a:cubicBezTo>
                    <a:pt x="30" y="139"/>
                    <a:pt x="30" y="140"/>
                    <a:pt x="30" y="140"/>
                  </a:cubicBezTo>
                  <a:cubicBezTo>
                    <a:pt x="29" y="140"/>
                    <a:pt x="29" y="140"/>
                    <a:pt x="29" y="140"/>
                  </a:cubicBezTo>
                  <a:cubicBezTo>
                    <a:pt x="29" y="140"/>
                    <a:pt x="29" y="140"/>
                    <a:pt x="29" y="140"/>
                  </a:cubicBezTo>
                  <a:cubicBezTo>
                    <a:pt x="29" y="140"/>
                    <a:pt x="29" y="140"/>
                    <a:pt x="29" y="140"/>
                  </a:cubicBezTo>
                  <a:cubicBezTo>
                    <a:pt x="29" y="140"/>
                    <a:pt x="29" y="140"/>
                    <a:pt x="29" y="140"/>
                  </a:cubicBezTo>
                  <a:cubicBezTo>
                    <a:pt x="28" y="140"/>
                    <a:pt x="28" y="139"/>
                    <a:pt x="28" y="139"/>
                  </a:cubicBezTo>
                  <a:cubicBezTo>
                    <a:pt x="28" y="139"/>
                    <a:pt x="28" y="139"/>
                    <a:pt x="28" y="139"/>
                  </a:cubicBezTo>
                  <a:cubicBezTo>
                    <a:pt x="27" y="139"/>
                    <a:pt x="27" y="139"/>
                    <a:pt x="27" y="139"/>
                  </a:cubicBezTo>
                  <a:cubicBezTo>
                    <a:pt x="27" y="139"/>
                    <a:pt x="27" y="139"/>
                    <a:pt x="26" y="138"/>
                  </a:cubicBezTo>
                  <a:cubicBezTo>
                    <a:pt x="26" y="138"/>
                    <a:pt x="26" y="138"/>
                    <a:pt x="25" y="138"/>
                  </a:cubicBezTo>
                  <a:cubicBezTo>
                    <a:pt x="25" y="138"/>
                    <a:pt x="25" y="137"/>
                    <a:pt x="25" y="137"/>
                  </a:cubicBezTo>
                  <a:cubicBezTo>
                    <a:pt x="24" y="137"/>
                    <a:pt x="24" y="137"/>
                    <a:pt x="23" y="137"/>
                  </a:cubicBezTo>
                  <a:cubicBezTo>
                    <a:pt x="23" y="137"/>
                    <a:pt x="23" y="136"/>
                    <a:pt x="23" y="136"/>
                  </a:cubicBezTo>
                  <a:cubicBezTo>
                    <a:pt x="23" y="136"/>
                    <a:pt x="23" y="136"/>
                    <a:pt x="22" y="136"/>
                  </a:cubicBezTo>
                  <a:cubicBezTo>
                    <a:pt x="22" y="136"/>
                    <a:pt x="22" y="136"/>
                    <a:pt x="22" y="136"/>
                  </a:cubicBezTo>
                  <a:cubicBezTo>
                    <a:pt x="22" y="136"/>
                    <a:pt x="22" y="136"/>
                    <a:pt x="22" y="136"/>
                  </a:cubicBezTo>
                  <a:cubicBezTo>
                    <a:pt x="21" y="136"/>
                    <a:pt x="21" y="135"/>
                    <a:pt x="21" y="135"/>
                  </a:cubicBezTo>
                  <a:cubicBezTo>
                    <a:pt x="21" y="135"/>
                    <a:pt x="20" y="135"/>
                    <a:pt x="20" y="135"/>
                  </a:cubicBezTo>
                  <a:cubicBezTo>
                    <a:pt x="20" y="135"/>
                    <a:pt x="20" y="134"/>
                    <a:pt x="19" y="134"/>
                  </a:cubicBezTo>
                  <a:cubicBezTo>
                    <a:pt x="19" y="134"/>
                    <a:pt x="19" y="134"/>
                    <a:pt x="18" y="134"/>
                  </a:cubicBezTo>
                  <a:cubicBezTo>
                    <a:pt x="18" y="134"/>
                    <a:pt x="18" y="133"/>
                    <a:pt x="18" y="133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17" y="133"/>
                    <a:pt x="17" y="133"/>
                    <a:pt x="16" y="133"/>
                  </a:cubicBezTo>
                  <a:cubicBezTo>
                    <a:pt x="16" y="132"/>
                    <a:pt x="16" y="132"/>
                    <a:pt x="16" y="132"/>
                  </a:cubicBezTo>
                  <a:cubicBezTo>
                    <a:pt x="15" y="132"/>
                    <a:pt x="15" y="132"/>
                    <a:pt x="14" y="131"/>
                  </a:cubicBezTo>
                  <a:cubicBezTo>
                    <a:pt x="14" y="131"/>
                    <a:pt x="14" y="131"/>
                    <a:pt x="14" y="131"/>
                  </a:cubicBezTo>
                  <a:cubicBezTo>
                    <a:pt x="13" y="130"/>
                    <a:pt x="13" y="130"/>
                    <a:pt x="12" y="130"/>
                  </a:cubicBezTo>
                  <a:cubicBezTo>
                    <a:pt x="12" y="130"/>
                    <a:pt x="12" y="130"/>
                    <a:pt x="12" y="130"/>
                  </a:cubicBezTo>
                  <a:cubicBezTo>
                    <a:pt x="11" y="129"/>
                    <a:pt x="11" y="129"/>
                    <a:pt x="10" y="129"/>
                  </a:cubicBezTo>
                  <a:cubicBezTo>
                    <a:pt x="10" y="129"/>
                    <a:pt x="10" y="129"/>
                    <a:pt x="10" y="128"/>
                  </a:cubicBezTo>
                  <a:cubicBezTo>
                    <a:pt x="10" y="128"/>
                    <a:pt x="10" y="128"/>
                    <a:pt x="9" y="128"/>
                  </a:cubicBezTo>
                  <a:cubicBezTo>
                    <a:pt x="9" y="128"/>
                    <a:pt x="9" y="128"/>
                    <a:pt x="9" y="128"/>
                  </a:cubicBezTo>
                  <a:cubicBezTo>
                    <a:pt x="9" y="128"/>
                    <a:pt x="9" y="128"/>
                    <a:pt x="9" y="128"/>
                  </a:cubicBezTo>
                  <a:cubicBezTo>
                    <a:pt x="9" y="128"/>
                    <a:pt x="8" y="128"/>
                    <a:pt x="8" y="127"/>
                  </a:cubicBezTo>
                  <a:cubicBezTo>
                    <a:pt x="8" y="127"/>
                    <a:pt x="8" y="127"/>
                    <a:pt x="8" y="127"/>
                  </a:cubicBezTo>
                  <a:cubicBezTo>
                    <a:pt x="8" y="127"/>
                    <a:pt x="8" y="127"/>
                    <a:pt x="8" y="127"/>
                  </a:cubicBezTo>
                  <a:cubicBezTo>
                    <a:pt x="7" y="127"/>
                    <a:pt x="7" y="127"/>
                    <a:pt x="7" y="127"/>
                  </a:cubicBezTo>
                  <a:cubicBezTo>
                    <a:pt x="7" y="127"/>
                    <a:pt x="7" y="127"/>
                    <a:pt x="7" y="126"/>
                  </a:cubicBezTo>
                  <a:cubicBezTo>
                    <a:pt x="5" y="126"/>
                    <a:pt x="5" y="126"/>
                    <a:pt x="4" y="125"/>
                  </a:cubicBezTo>
                  <a:cubicBezTo>
                    <a:pt x="5" y="124"/>
                    <a:pt x="4" y="123"/>
                    <a:pt x="5" y="121"/>
                  </a:cubicBezTo>
                  <a:cubicBezTo>
                    <a:pt x="5" y="121"/>
                    <a:pt x="5" y="121"/>
                    <a:pt x="5" y="121"/>
                  </a:cubicBezTo>
                  <a:cubicBezTo>
                    <a:pt x="5" y="121"/>
                    <a:pt x="5" y="120"/>
                    <a:pt x="5" y="119"/>
                  </a:cubicBezTo>
                  <a:cubicBezTo>
                    <a:pt x="5" y="119"/>
                    <a:pt x="5" y="119"/>
                    <a:pt x="5" y="119"/>
                  </a:cubicBezTo>
                  <a:cubicBezTo>
                    <a:pt x="5" y="118"/>
                    <a:pt x="5" y="117"/>
                    <a:pt x="5" y="116"/>
                  </a:cubicBezTo>
                  <a:cubicBezTo>
                    <a:pt x="6" y="116"/>
                    <a:pt x="6" y="116"/>
                    <a:pt x="6" y="116"/>
                  </a:cubicBezTo>
                  <a:cubicBezTo>
                    <a:pt x="6" y="115"/>
                    <a:pt x="6" y="114"/>
                    <a:pt x="6" y="113"/>
                  </a:cubicBezTo>
                  <a:cubicBezTo>
                    <a:pt x="6" y="113"/>
                    <a:pt x="6" y="113"/>
                    <a:pt x="6" y="113"/>
                  </a:cubicBezTo>
                  <a:cubicBezTo>
                    <a:pt x="6" y="112"/>
                    <a:pt x="6" y="111"/>
                    <a:pt x="6" y="110"/>
                  </a:cubicBezTo>
                  <a:cubicBezTo>
                    <a:pt x="6" y="109"/>
                    <a:pt x="7" y="108"/>
                    <a:pt x="6" y="106"/>
                  </a:cubicBezTo>
                  <a:cubicBezTo>
                    <a:pt x="6" y="106"/>
                    <a:pt x="6" y="106"/>
                    <a:pt x="6" y="106"/>
                  </a:cubicBezTo>
                  <a:cubicBezTo>
                    <a:pt x="6" y="106"/>
                    <a:pt x="6" y="105"/>
                    <a:pt x="6" y="105"/>
                  </a:cubicBezTo>
                  <a:cubicBezTo>
                    <a:pt x="6" y="105"/>
                    <a:pt x="6" y="105"/>
                    <a:pt x="5" y="105"/>
                  </a:cubicBezTo>
                  <a:cubicBezTo>
                    <a:pt x="5" y="103"/>
                    <a:pt x="5" y="102"/>
                    <a:pt x="5" y="101"/>
                  </a:cubicBezTo>
                  <a:cubicBezTo>
                    <a:pt x="5" y="101"/>
                    <a:pt x="5" y="101"/>
                    <a:pt x="5" y="101"/>
                  </a:cubicBezTo>
                  <a:cubicBezTo>
                    <a:pt x="5" y="100"/>
                    <a:pt x="5" y="99"/>
                    <a:pt x="5" y="99"/>
                  </a:cubicBezTo>
                  <a:cubicBezTo>
                    <a:pt x="4" y="95"/>
                    <a:pt x="3" y="90"/>
                    <a:pt x="2" y="85"/>
                  </a:cubicBezTo>
                  <a:cubicBezTo>
                    <a:pt x="2" y="84"/>
                    <a:pt x="2" y="83"/>
                    <a:pt x="2" y="82"/>
                  </a:cubicBezTo>
                  <a:cubicBezTo>
                    <a:pt x="1" y="80"/>
                    <a:pt x="1" y="78"/>
                    <a:pt x="0" y="76"/>
                  </a:cubicBezTo>
                  <a:cubicBezTo>
                    <a:pt x="0" y="75"/>
                    <a:pt x="0" y="75"/>
                    <a:pt x="0" y="7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74"/>
                    <a:pt x="0" y="73"/>
                    <a:pt x="0" y="72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71"/>
                    <a:pt x="0" y="71"/>
                    <a:pt x="0" y="70"/>
                  </a:cubicBezTo>
                  <a:cubicBezTo>
                    <a:pt x="0" y="70"/>
                    <a:pt x="1" y="70"/>
                    <a:pt x="1" y="70"/>
                  </a:cubicBezTo>
                  <a:cubicBezTo>
                    <a:pt x="1" y="70"/>
                    <a:pt x="1" y="69"/>
                    <a:pt x="1" y="69"/>
                  </a:cubicBezTo>
                  <a:cubicBezTo>
                    <a:pt x="2" y="69"/>
                    <a:pt x="2" y="68"/>
                    <a:pt x="2" y="68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2" y="68"/>
                    <a:pt x="2" y="67"/>
                    <a:pt x="3" y="67"/>
                  </a:cubicBezTo>
                  <a:cubicBezTo>
                    <a:pt x="3" y="67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4" y="66"/>
                    <a:pt x="4" y="65"/>
                    <a:pt x="4" y="65"/>
                  </a:cubicBezTo>
                  <a:cubicBezTo>
                    <a:pt x="4" y="65"/>
                    <a:pt x="4" y="65"/>
                    <a:pt x="4" y="64"/>
                  </a:cubicBezTo>
                  <a:cubicBezTo>
                    <a:pt x="5" y="64"/>
                    <a:pt x="5" y="64"/>
                    <a:pt x="5" y="63"/>
                  </a:cubicBezTo>
                  <a:cubicBezTo>
                    <a:pt x="5" y="63"/>
                    <a:pt x="5" y="63"/>
                    <a:pt x="5" y="63"/>
                  </a:cubicBezTo>
                  <a:cubicBezTo>
                    <a:pt x="6" y="62"/>
                    <a:pt x="6" y="62"/>
                    <a:pt x="6" y="61"/>
                  </a:cubicBezTo>
                  <a:cubicBezTo>
                    <a:pt x="6" y="61"/>
                    <a:pt x="6" y="61"/>
                    <a:pt x="7" y="61"/>
                  </a:cubicBezTo>
                  <a:cubicBezTo>
                    <a:pt x="7" y="61"/>
                    <a:pt x="7" y="61"/>
                    <a:pt x="7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59"/>
                    <a:pt x="7" y="59"/>
                    <a:pt x="8" y="59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8" y="58"/>
                    <a:pt x="8" y="58"/>
                    <a:pt x="8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6"/>
                    <a:pt x="9" y="56"/>
                  </a:cubicBezTo>
                  <a:cubicBezTo>
                    <a:pt x="10" y="56"/>
                    <a:pt x="10" y="56"/>
                    <a:pt x="10" y="55"/>
                  </a:cubicBezTo>
                  <a:cubicBezTo>
                    <a:pt x="10" y="55"/>
                    <a:pt x="10" y="54"/>
                    <a:pt x="10" y="54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1" y="54"/>
                    <a:pt x="11" y="53"/>
                    <a:pt x="11" y="53"/>
                  </a:cubicBezTo>
                  <a:cubicBezTo>
                    <a:pt x="11" y="53"/>
                    <a:pt x="12" y="53"/>
                    <a:pt x="12" y="53"/>
                  </a:cubicBezTo>
                  <a:cubicBezTo>
                    <a:pt x="12" y="52"/>
                    <a:pt x="12" y="52"/>
                    <a:pt x="12" y="52"/>
                  </a:cubicBezTo>
                  <a:cubicBezTo>
                    <a:pt x="13" y="51"/>
                    <a:pt x="13" y="51"/>
                    <a:pt x="14" y="50"/>
                  </a:cubicBezTo>
                  <a:cubicBezTo>
                    <a:pt x="14" y="50"/>
                    <a:pt x="15" y="50"/>
                    <a:pt x="15" y="50"/>
                  </a:cubicBezTo>
                  <a:cubicBezTo>
                    <a:pt x="15" y="50"/>
                    <a:pt x="15" y="50"/>
                    <a:pt x="15" y="49"/>
                  </a:cubicBezTo>
                  <a:cubicBezTo>
                    <a:pt x="16" y="49"/>
                    <a:pt x="17" y="49"/>
                    <a:pt x="17" y="49"/>
                  </a:cubicBezTo>
                  <a:cubicBezTo>
                    <a:pt x="17" y="49"/>
                    <a:pt x="18" y="48"/>
                    <a:pt x="18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0" y="47"/>
                    <a:pt x="20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2" y="46"/>
                    <a:pt x="23" y="45"/>
                    <a:pt x="23" y="45"/>
                  </a:cubicBezTo>
                  <a:cubicBezTo>
                    <a:pt x="23" y="45"/>
                    <a:pt x="24" y="45"/>
                    <a:pt x="25" y="45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26" y="44"/>
                    <a:pt x="26" y="43"/>
                    <a:pt x="27" y="43"/>
                  </a:cubicBezTo>
                  <a:cubicBezTo>
                    <a:pt x="27" y="43"/>
                    <a:pt x="27" y="43"/>
                    <a:pt x="28" y="42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8" y="42"/>
                    <a:pt x="29" y="42"/>
                    <a:pt x="29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2"/>
                    <a:pt x="29" y="42"/>
                    <a:pt x="30" y="42"/>
                  </a:cubicBezTo>
                  <a:cubicBezTo>
                    <a:pt x="30" y="42"/>
                    <a:pt x="30" y="41"/>
                    <a:pt x="30" y="41"/>
                  </a:cubicBezTo>
                  <a:cubicBezTo>
                    <a:pt x="31" y="40"/>
                    <a:pt x="32" y="41"/>
                    <a:pt x="32" y="40"/>
                  </a:cubicBezTo>
                  <a:cubicBezTo>
                    <a:pt x="36" y="41"/>
                    <a:pt x="41" y="43"/>
                    <a:pt x="45" y="44"/>
                  </a:cubicBezTo>
                  <a:cubicBezTo>
                    <a:pt x="45" y="44"/>
                    <a:pt x="46" y="44"/>
                    <a:pt x="47" y="45"/>
                  </a:cubicBezTo>
                  <a:cubicBezTo>
                    <a:pt x="47" y="45"/>
                    <a:pt x="47" y="45"/>
                    <a:pt x="47" y="45"/>
                  </a:cubicBezTo>
                  <a:cubicBezTo>
                    <a:pt x="47" y="45"/>
                    <a:pt x="47" y="45"/>
                    <a:pt x="48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5"/>
                    <a:pt x="49" y="45"/>
                    <a:pt x="49" y="45"/>
                  </a:cubicBezTo>
                  <a:cubicBezTo>
                    <a:pt x="49" y="45"/>
                    <a:pt x="49" y="45"/>
                    <a:pt x="49" y="46"/>
                  </a:cubicBezTo>
                  <a:cubicBezTo>
                    <a:pt x="49" y="46"/>
                    <a:pt x="50" y="46"/>
                    <a:pt x="50" y="46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50" y="46"/>
                    <a:pt x="51" y="46"/>
                    <a:pt x="51" y="46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6"/>
                    <a:pt x="51" y="46"/>
                    <a:pt x="52" y="46"/>
                  </a:cubicBezTo>
                  <a:cubicBezTo>
                    <a:pt x="52" y="46"/>
                    <a:pt x="52" y="47"/>
                    <a:pt x="52" y="47"/>
                  </a:cubicBezTo>
                  <a:cubicBezTo>
                    <a:pt x="52" y="47"/>
                    <a:pt x="52" y="46"/>
                    <a:pt x="52" y="46"/>
                  </a:cubicBezTo>
                  <a:cubicBezTo>
                    <a:pt x="55" y="46"/>
                    <a:pt x="57" y="44"/>
                    <a:pt x="59" y="43"/>
                  </a:cubicBezTo>
                  <a:cubicBezTo>
                    <a:pt x="60" y="43"/>
                    <a:pt x="60" y="43"/>
                    <a:pt x="61" y="42"/>
                  </a:cubicBezTo>
                  <a:cubicBezTo>
                    <a:pt x="61" y="42"/>
                    <a:pt x="61" y="42"/>
                    <a:pt x="61" y="42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62" y="42"/>
                    <a:pt x="62" y="42"/>
                    <a:pt x="62" y="41"/>
                  </a:cubicBezTo>
                  <a:cubicBezTo>
                    <a:pt x="63" y="41"/>
                    <a:pt x="63" y="41"/>
                    <a:pt x="64" y="41"/>
                  </a:cubicBezTo>
                  <a:cubicBezTo>
                    <a:pt x="64" y="41"/>
                    <a:pt x="64" y="41"/>
                    <a:pt x="64" y="41"/>
                  </a:cubicBezTo>
                  <a:cubicBezTo>
                    <a:pt x="64" y="41"/>
                    <a:pt x="65" y="41"/>
                    <a:pt x="66" y="40"/>
                  </a:cubicBezTo>
                  <a:cubicBezTo>
                    <a:pt x="66" y="40"/>
                    <a:pt x="66" y="40"/>
                    <a:pt x="66" y="40"/>
                  </a:cubicBezTo>
                  <a:cubicBezTo>
                    <a:pt x="66" y="40"/>
                    <a:pt x="66" y="40"/>
                    <a:pt x="66" y="40"/>
                  </a:cubicBezTo>
                  <a:cubicBezTo>
                    <a:pt x="66" y="40"/>
                    <a:pt x="66" y="40"/>
                    <a:pt x="66" y="40"/>
                  </a:cubicBezTo>
                  <a:cubicBezTo>
                    <a:pt x="67" y="40"/>
                    <a:pt x="67" y="40"/>
                    <a:pt x="67" y="40"/>
                  </a:cubicBezTo>
                  <a:cubicBezTo>
                    <a:pt x="67" y="40"/>
                    <a:pt x="67" y="39"/>
                    <a:pt x="67" y="39"/>
                  </a:cubicBezTo>
                  <a:cubicBezTo>
                    <a:pt x="67" y="39"/>
                    <a:pt x="68" y="39"/>
                    <a:pt x="68" y="39"/>
                  </a:cubicBezTo>
                  <a:cubicBezTo>
                    <a:pt x="68" y="39"/>
                    <a:pt x="68" y="39"/>
                    <a:pt x="68" y="39"/>
                  </a:cubicBezTo>
                  <a:cubicBezTo>
                    <a:pt x="68" y="39"/>
                    <a:pt x="68" y="39"/>
                    <a:pt x="68" y="39"/>
                  </a:cubicBezTo>
                  <a:cubicBezTo>
                    <a:pt x="68" y="39"/>
                    <a:pt x="68" y="39"/>
                    <a:pt x="68" y="39"/>
                  </a:cubicBezTo>
                  <a:cubicBezTo>
                    <a:pt x="69" y="39"/>
                    <a:pt x="69" y="39"/>
                    <a:pt x="69" y="39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70" y="38"/>
                    <a:pt x="70" y="38"/>
                  </a:cubicBezTo>
                  <a:cubicBezTo>
                    <a:pt x="70" y="38"/>
                    <a:pt x="70" y="38"/>
                    <a:pt x="70" y="38"/>
                  </a:cubicBezTo>
                  <a:cubicBezTo>
                    <a:pt x="70" y="38"/>
                    <a:pt x="70" y="38"/>
                    <a:pt x="71" y="38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71" y="37"/>
                    <a:pt x="72" y="37"/>
                    <a:pt x="72" y="37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2" y="37"/>
                    <a:pt x="73" y="37"/>
                    <a:pt x="73" y="37"/>
                  </a:cubicBezTo>
                  <a:cubicBezTo>
                    <a:pt x="73" y="37"/>
                    <a:pt x="73" y="37"/>
                    <a:pt x="73" y="37"/>
                  </a:cubicBezTo>
                  <a:cubicBezTo>
                    <a:pt x="73" y="37"/>
                    <a:pt x="73" y="37"/>
                    <a:pt x="74" y="37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75" y="36"/>
                    <a:pt x="75" y="36"/>
                    <a:pt x="75" y="36"/>
                  </a:cubicBezTo>
                  <a:cubicBezTo>
                    <a:pt x="75" y="36"/>
                    <a:pt x="75" y="36"/>
                    <a:pt x="75" y="35"/>
                  </a:cubicBezTo>
                  <a:cubicBezTo>
                    <a:pt x="75" y="35"/>
                    <a:pt x="76" y="35"/>
                    <a:pt x="76" y="35"/>
                  </a:cubicBezTo>
                  <a:cubicBezTo>
                    <a:pt x="76" y="35"/>
                    <a:pt x="76" y="35"/>
                    <a:pt x="76" y="35"/>
                  </a:cubicBezTo>
                  <a:cubicBezTo>
                    <a:pt x="76" y="35"/>
                    <a:pt x="76" y="35"/>
                    <a:pt x="76" y="35"/>
                  </a:cubicBezTo>
                  <a:cubicBezTo>
                    <a:pt x="76" y="35"/>
                    <a:pt x="76" y="35"/>
                    <a:pt x="76" y="35"/>
                  </a:cubicBezTo>
                  <a:cubicBezTo>
                    <a:pt x="77" y="35"/>
                    <a:pt x="77" y="35"/>
                    <a:pt x="77" y="35"/>
                  </a:cubicBezTo>
                  <a:cubicBezTo>
                    <a:pt x="77" y="35"/>
                    <a:pt x="77" y="35"/>
                    <a:pt x="77" y="34"/>
                  </a:cubicBezTo>
                  <a:cubicBezTo>
                    <a:pt x="78" y="34"/>
                    <a:pt x="79" y="34"/>
                    <a:pt x="79" y="34"/>
                  </a:cubicBezTo>
                  <a:cubicBezTo>
                    <a:pt x="79" y="33"/>
                    <a:pt x="79" y="33"/>
                    <a:pt x="79" y="33"/>
                  </a:cubicBezTo>
                  <a:cubicBezTo>
                    <a:pt x="78" y="32"/>
                    <a:pt x="79" y="28"/>
                    <a:pt x="78" y="27"/>
                  </a:cubicBezTo>
                  <a:cubicBezTo>
                    <a:pt x="78" y="27"/>
                    <a:pt x="78" y="27"/>
                    <a:pt x="78" y="27"/>
                  </a:cubicBezTo>
                  <a:cubicBezTo>
                    <a:pt x="78" y="26"/>
                    <a:pt x="78" y="25"/>
                    <a:pt x="78" y="24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78" y="23"/>
                    <a:pt x="78" y="21"/>
                    <a:pt x="78" y="20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77" y="19"/>
                    <a:pt x="77" y="19"/>
                    <a:pt x="77" y="18"/>
                  </a:cubicBezTo>
                  <a:cubicBezTo>
                    <a:pt x="77" y="18"/>
                    <a:pt x="77" y="18"/>
                    <a:pt x="77" y="18"/>
                  </a:cubicBezTo>
                  <a:cubicBezTo>
                    <a:pt x="77" y="17"/>
                    <a:pt x="77" y="16"/>
                    <a:pt x="77" y="14"/>
                  </a:cubicBezTo>
                  <a:cubicBezTo>
                    <a:pt x="76" y="13"/>
                    <a:pt x="76" y="11"/>
                    <a:pt x="76" y="8"/>
                  </a:cubicBezTo>
                  <a:cubicBezTo>
                    <a:pt x="79" y="7"/>
                    <a:pt x="81" y="6"/>
                    <a:pt x="83" y="4"/>
                  </a:cubicBezTo>
                  <a:cubicBezTo>
                    <a:pt x="84" y="4"/>
                    <a:pt x="84" y="4"/>
                    <a:pt x="84" y="4"/>
                  </a:cubicBezTo>
                  <a:cubicBezTo>
                    <a:pt x="84" y="4"/>
                    <a:pt x="84" y="4"/>
                    <a:pt x="84" y="4"/>
                  </a:cubicBezTo>
                  <a:cubicBezTo>
                    <a:pt x="84" y="4"/>
                    <a:pt x="85" y="4"/>
                    <a:pt x="85" y="4"/>
                  </a:cubicBezTo>
                  <a:cubicBezTo>
                    <a:pt x="85" y="4"/>
                    <a:pt x="85" y="4"/>
                    <a:pt x="85" y="4"/>
                  </a:cubicBezTo>
                  <a:cubicBezTo>
                    <a:pt x="85" y="4"/>
                    <a:pt x="85" y="4"/>
                    <a:pt x="86" y="4"/>
                  </a:cubicBezTo>
                  <a:cubicBezTo>
                    <a:pt x="86" y="4"/>
                    <a:pt x="86" y="3"/>
                    <a:pt x="86" y="3"/>
                  </a:cubicBezTo>
                  <a:cubicBezTo>
                    <a:pt x="86" y="3"/>
                    <a:pt x="86" y="3"/>
                    <a:pt x="86" y="3"/>
                  </a:cubicBezTo>
                  <a:cubicBezTo>
                    <a:pt x="86" y="3"/>
                    <a:pt x="86" y="3"/>
                    <a:pt x="86" y="3"/>
                  </a:cubicBezTo>
                  <a:cubicBezTo>
                    <a:pt x="87" y="3"/>
                    <a:pt x="87" y="3"/>
                    <a:pt x="87" y="3"/>
                  </a:cubicBezTo>
                  <a:cubicBezTo>
                    <a:pt x="87" y="3"/>
                    <a:pt x="87" y="3"/>
                    <a:pt x="87" y="3"/>
                  </a:cubicBezTo>
                  <a:cubicBezTo>
                    <a:pt x="87" y="3"/>
                    <a:pt x="87" y="3"/>
                    <a:pt x="88" y="3"/>
                  </a:cubicBezTo>
                  <a:cubicBezTo>
                    <a:pt x="90" y="2"/>
                    <a:pt x="91" y="0"/>
                    <a:pt x="94" y="0"/>
                  </a:cubicBezTo>
                  <a:cubicBezTo>
                    <a:pt x="95" y="1"/>
                    <a:pt x="95" y="0"/>
                    <a:pt x="96" y="1"/>
                  </a:cubicBezTo>
                  <a:cubicBezTo>
                    <a:pt x="96" y="1"/>
                    <a:pt x="96" y="1"/>
                    <a:pt x="96" y="1"/>
                  </a:cubicBezTo>
                  <a:cubicBezTo>
                    <a:pt x="97" y="1"/>
                    <a:pt x="97" y="1"/>
                    <a:pt x="97" y="1"/>
                  </a:cubicBezTo>
                  <a:cubicBezTo>
                    <a:pt x="97" y="1"/>
                    <a:pt x="97" y="1"/>
                    <a:pt x="97" y="2"/>
                  </a:cubicBezTo>
                  <a:cubicBezTo>
                    <a:pt x="98" y="2"/>
                    <a:pt x="98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100" y="2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101" y="3"/>
                    <a:pt x="102" y="3"/>
                  </a:cubicBezTo>
                  <a:cubicBezTo>
                    <a:pt x="102" y="3"/>
                    <a:pt x="102" y="3"/>
                    <a:pt x="102" y="3"/>
                  </a:cubicBezTo>
                  <a:cubicBezTo>
                    <a:pt x="102" y="3"/>
                    <a:pt x="103" y="4"/>
                    <a:pt x="103" y="4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4"/>
                    <a:pt x="104" y="4"/>
                    <a:pt x="104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5" y="4"/>
                    <a:pt x="105" y="5"/>
                    <a:pt x="106" y="5"/>
                  </a:cubicBezTo>
                  <a:cubicBezTo>
                    <a:pt x="106" y="5"/>
                    <a:pt x="106" y="5"/>
                    <a:pt x="106" y="5"/>
                  </a:cubicBezTo>
                  <a:cubicBezTo>
                    <a:pt x="106" y="5"/>
                    <a:pt x="106" y="5"/>
                    <a:pt x="107" y="5"/>
                  </a:cubicBezTo>
                  <a:cubicBezTo>
                    <a:pt x="107" y="5"/>
                    <a:pt x="107" y="5"/>
                    <a:pt x="107" y="5"/>
                  </a:cubicBezTo>
                  <a:cubicBezTo>
                    <a:pt x="107" y="5"/>
                    <a:pt x="107" y="5"/>
                    <a:pt x="107" y="5"/>
                  </a:cubicBezTo>
                  <a:cubicBezTo>
                    <a:pt x="107" y="5"/>
                    <a:pt x="107" y="6"/>
                    <a:pt x="107" y="6"/>
                  </a:cubicBezTo>
                  <a:cubicBezTo>
                    <a:pt x="108" y="6"/>
                    <a:pt x="108" y="6"/>
                    <a:pt x="108" y="6"/>
                  </a:cubicBezTo>
                  <a:cubicBezTo>
                    <a:pt x="108" y="6"/>
                    <a:pt x="108" y="6"/>
                    <a:pt x="108" y="6"/>
                  </a:cubicBezTo>
                  <a:cubicBezTo>
                    <a:pt x="109" y="6"/>
                    <a:pt x="109" y="6"/>
                    <a:pt x="110" y="6"/>
                  </a:cubicBezTo>
                  <a:cubicBezTo>
                    <a:pt x="110" y="7"/>
                    <a:pt x="110" y="7"/>
                    <a:pt x="110" y="7"/>
                  </a:cubicBezTo>
                  <a:cubicBezTo>
                    <a:pt x="110" y="7"/>
                    <a:pt x="110" y="7"/>
                    <a:pt x="111" y="7"/>
                  </a:cubicBezTo>
                  <a:cubicBezTo>
                    <a:pt x="111" y="7"/>
                    <a:pt x="111" y="7"/>
                    <a:pt x="111" y="7"/>
                  </a:cubicBezTo>
                  <a:cubicBezTo>
                    <a:pt x="111" y="7"/>
                    <a:pt x="111" y="7"/>
                    <a:pt x="111" y="7"/>
                  </a:cubicBezTo>
                  <a:cubicBezTo>
                    <a:pt x="111" y="7"/>
                    <a:pt x="111" y="7"/>
                    <a:pt x="111" y="7"/>
                  </a:cubicBezTo>
                  <a:cubicBezTo>
                    <a:pt x="112" y="7"/>
                    <a:pt x="112" y="7"/>
                    <a:pt x="113" y="7"/>
                  </a:cubicBezTo>
                  <a:cubicBezTo>
                    <a:pt x="113" y="8"/>
                    <a:pt x="113" y="8"/>
                    <a:pt x="113" y="8"/>
                  </a:cubicBezTo>
                  <a:cubicBezTo>
                    <a:pt x="113" y="8"/>
                    <a:pt x="113" y="8"/>
                    <a:pt x="114" y="8"/>
                  </a:cubicBezTo>
                  <a:cubicBezTo>
                    <a:pt x="114" y="8"/>
                    <a:pt x="114" y="8"/>
                    <a:pt x="114" y="9"/>
                  </a:cubicBezTo>
                  <a:cubicBezTo>
                    <a:pt x="114" y="9"/>
                    <a:pt x="115" y="9"/>
                    <a:pt x="115" y="9"/>
                  </a:cubicBezTo>
                  <a:cubicBezTo>
                    <a:pt x="116" y="9"/>
                    <a:pt x="116" y="9"/>
                    <a:pt x="117" y="10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</a:ln>
            <a:effectLst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64800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4000" b="1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0000"/>
                </a:solidFill>
                <a:latin typeface="UKIJ Qolyazma" pitchFamily="18" charset="0"/>
                <a:cs typeface="UKIJ Qolyazma" pitchFamily="18" charset="0"/>
              </a:endParaRPr>
            </a:p>
          </p:txBody>
        </p:sp>
        <p:sp>
          <p:nvSpPr>
            <p:cNvPr id="116" name="Freeform 27">
              <a:extLst>
                <a:ext uri="{FF2B5EF4-FFF2-40B4-BE49-F238E27FC236}">
                  <a16:creationId xmlns:a16="http://schemas.microsoft.com/office/drawing/2014/main" id="{393E5E22-63F3-5F96-E3B4-3405D609BB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9118" y="2521585"/>
              <a:ext cx="654659" cy="1152858"/>
            </a:xfrm>
            <a:custGeom>
              <a:avLst/>
              <a:gdLst>
                <a:gd name="T0" fmla="*/ 81 w 301"/>
                <a:gd name="T1" fmla="*/ 103 h 530"/>
                <a:gd name="T2" fmla="*/ 91 w 301"/>
                <a:gd name="T3" fmla="*/ 167 h 530"/>
                <a:gd name="T4" fmla="*/ 96 w 301"/>
                <a:gd name="T5" fmla="*/ 178 h 530"/>
                <a:gd name="T6" fmla="*/ 102 w 301"/>
                <a:gd name="T7" fmla="*/ 190 h 530"/>
                <a:gd name="T8" fmla="*/ 108 w 301"/>
                <a:gd name="T9" fmla="*/ 201 h 530"/>
                <a:gd name="T10" fmla="*/ 159 w 301"/>
                <a:gd name="T11" fmla="*/ 194 h 530"/>
                <a:gd name="T12" fmla="*/ 162 w 301"/>
                <a:gd name="T13" fmla="*/ 182 h 530"/>
                <a:gd name="T14" fmla="*/ 167 w 301"/>
                <a:gd name="T15" fmla="*/ 170 h 530"/>
                <a:gd name="T16" fmla="*/ 173 w 301"/>
                <a:gd name="T17" fmla="*/ 158 h 530"/>
                <a:gd name="T18" fmla="*/ 181 w 301"/>
                <a:gd name="T19" fmla="*/ 146 h 530"/>
                <a:gd name="T20" fmla="*/ 204 w 301"/>
                <a:gd name="T21" fmla="*/ 122 h 530"/>
                <a:gd name="T22" fmla="*/ 218 w 301"/>
                <a:gd name="T23" fmla="*/ 117 h 530"/>
                <a:gd name="T24" fmla="*/ 238 w 301"/>
                <a:gd name="T25" fmla="*/ 135 h 530"/>
                <a:gd name="T26" fmla="*/ 223 w 301"/>
                <a:gd name="T27" fmla="*/ 157 h 530"/>
                <a:gd name="T28" fmla="*/ 217 w 301"/>
                <a:gd name="T29" fmla="*/ 199 h 530"/>
                <a:gd name="T30" fmla="*/ 212 w 301"/>
                <a:gd name="T31" fmla="*/ 216 h 530"/>
                <a:gd name="T32" fmla="*/ 205 w 301"/>
                <a:gd name="T33" fmla="*/ 229 h 530"/>
                <a:gd name="T34" fmla="*/ 196 w 301"/>
                <a:gd name="T35" fmla="*/ 243 h 530"/>
                <a:gd name="T36" fmla="*/ 206 w 301"/>
                <a:gd name="T37" fmla="*/ 256 h 530"/>
                <a:gd name="T38" fmla="*/ 220 w 301"/>
                <a:gd name="T39" fmla="*/ 263 h 530"/>
                <a:gd name="T40" fmla="*/ 227 w 301"/>
                <a:gd name="T41" fmla="*/ 280 h 530"/>
                <a:gd name="T42" fmla="*/ 234 w 301"/>
                <a:gd name="T43" fmla="*/ 294 h 530"/>
                <a:gd name="T44" fmla="*/ 260 w 301"/>
                <a:gd name="T45" fmla="*/ 325 h 530"/>
                <a:gd name="T46" fmla="*/ 264 w 301"/>
                <a:gd name="T47" fmla="*/ 345 h 530"/>
                <a:gd name="T48" fmla="*/ 250 w 301"/>
                <a:gd name="T49" fmla="*/ 369 h 530"/>
                <a:gd name="T50" fmla="*/ 255 w 301"/>
                <a:gd name="T51" fmla="*/ 382 h 530"/>
                <a:gd name="T52" fmla="*/ 259 w 301"/>
                <a:gd name="T53" fmla="*/ 389 h 530"/>
                <a:gd name="T54" fmla="*/ 264 w 301"/>
                <a:gd name="T55" fmla="*/ 397 h 530"/>
                <a:gd name="T56" fmla="*/ 271 w 301"/>
                <a:gd name="T57" fmla="*/ 412 h 530"/>
                <a:gd name="T58" fmla="*/ 275 w 301"/>
                <a:gd name="T59" fmla="*/ 422 h 530"/>
                <a:gd name="T60" fmla="*/ 283 w 301"/>
                <a:gd name="T61" fmla="*/ 462 h 530"/>
                <a:gd name="T62" fmla="*/ 289 w 301"/>
                <a:gd name="T63" fmla="*/ 475 h 530"/>
                <a:gd name="T64" fmla="*/ 295 w 301"/>
                <a:gd name="T65" fmla="*/ 487 h 530"/>
                <a:gd name="T66" fmla="*/ 298 w 301"/>
                <a:gd name="T67" fmla="*/ 505 h 530"/>
                <a:gd name="T68" fmla="*/ 269 w 301"/>
                <a:gd name="T69" fmla="*/ 498 h 530"/>
                <a:gd name="T70" fmla="*/ 252 w 301"/>
                <a:gd name="T71" fmla="*/ 488 h 530"/>
                <a:gd name="T72" fmla="*/ 237 w 301"/>
                <a:gd name="T73" fmla="*/ 477 h 530"/>
                <a:gd name="T74" fmla="*/ 219 w 301"/>
                <a:gd name="T75" fmla="*/ 476 h 530"/>
                <a:gd name="T76" fmla="*/ 212 w 301"/>
                <a:gd name="T77" fmla="*/ 505 h 530"/>
                <a:gd name="T78" fmla="*/ 176 w 301"/>
                <a:gd name="T79" fmla="*/ 518 h 530"/>
                <a:gd name="T80" fmla="*/ 165 w 301"/>
                <a:gd name="T81" fmla="*/ 484 h 530"/>
                <a:gd name="T82" fmla="*/ 156 w 301"/>
                <a:gd name="T83" fmla="*/ 475 h 530"/>
                <a:gd name="T84" fmla="*/ 142 w 301"/>
                <a:gd name="T85" fmla="*/ 468 h 530"/>
                <a:gd name="T86" fmla="*/ 130 w 301"/>
                <a:gd name="T87" fmla="*/ 462 h 530"/>
                <a:gd name="T88" fmla="*/ 98 w 301"/>
                <a:gd name="T89" fmla="*/ 433 h 530"/>
                <a:gd name="T90" fmla="*/ 76 w 301"/>
                <a:gd name="T91" fmla="*/ 412 h 530"/>
                <a:gd name="T92" fmla="*/ 70 w 301"/>
                <a:gd name="T93" fmla="*/ 402 h 530"/>
                <a:gd name="T94" fmla="*/ 65 w 301"/>
                <a:gd name="T95" fmla="*/ 387 h 530"/>
                <a:gd name="T96" fmla="*/ 65 w 301"/>
                <a:gd name="T97" fmla="*/ 371 h 530"/>
                <a:gd name="T98" fmla="*/ 73 w 301"/>
                <a:gd name="T99" fmla="*/ 323 h 530"/>
                <a:gd name="T100" fmla="*/ 74 w 301"/>
                <a:gd name="T101" fmla="*/ 279 h 530"/>
                <a:gd name="T102" fmla="*/ 70 w 301"/>
                <a:gd name="T103" fmla="*/ 268 h 530"/>
                <a:gd name="T104" fmla="*/ 59 w 301"/>
                <a:gd name="T105" fmla="*/ 228 h 530"/>
                <a:gd name="T106" fmla="*/ 48 w 301"/>
                <a:gd name="T107" fmla="*/ 196 h 530"/>
                <a:gd name="T108" fmla="*/ 36 w 301"/>
                <a:gd name="T109" fmla="*/ 181 h 530"/>
                <a:gd name="T110" fmla="*/ 28 w 301"/>
                <a:gd name="T111" fmla="*/ 167 h 530"/>
                <a:gd name="T112" fmla="*/ 24 w 301"/>
                <a:gd name="T113" fmla="*/ 159 h 530"/>
                <a:gd name="T114" fmla="*/ 17 w 301"/>
                <a:gd name="T115" fmla="*/ 148 h 530"/>
                <a:gd name="T116" fmla="*/ 13 w 301"/>
                <a:gd name="T117" fmla="*/ 140 h 530"/>
                <a:gd name="T118" fmla="*/ 8 w 301"/>
                <a:gd name="T119" fmla="*/ 131 h 530"/>
                <a:gd name="T120" fmla="*/ 3 w 301"/>
                <a:gd name="T121" fmla="*/ 117 h 530"/>
                <a:gd name="T122" fmla="*/ 5 w 301"/>
                <a:gd name="T123" fmla="*/ 70 h 530"/>
                <a:gd name="T124" fmla="*/ 33 w 301"/>
                <a:gd name="T125" fmla="*/ 46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01" h="530">
                  <a:moveTo>
                    <a:pt x="81" y="0"/>
                  </a:moveTo>
                  <a:cubicBezTo>
                    <a:pt x="81" y="1"/>
                    <a:pt x="81" y="1"/>
                    <a:pt x="81" y="1"/>
                  </a:cubicBezTo>
                  <a:cubicBezTo>
                    <a:pt x="81" y="1"/>
                    <a:pt x="82" y="1"/>
                    <a:pt x="82" y="1"/>
                  </a:cubicBezTo>
                  <a:cubicBezTo>
                    <a:pt x="82" y="3"/>
                    <a:pt x="82" y="5"/>
                    <a:pt x="82" y="6"/>
                  </a:cubicBezTo>
                  <a:cubicBezTo>
                    <a:pt x="82" y="6"/>
                    <a:pt x="82" y="6"/>
                    <a:pt x="82" y="6"/>
                  </a:cubicBezTo>
                  <a:cubicBezTo>
                    <a:pt x="82" y="8"/>
                    <a:pt x="82" y="10"/>
                    <a:pt x="82" y="11"/>
                  </a:cubicBezTo>
                  <a:cubicBezTo>
                    <a:pt x="82" y="11"/>
                    <a:pt x="82" y="11"/>
                    <a:pt x="82" y="11"/>
                  </a:cubicBezTo>
                  <a:cubicBezTo>
                    <a:pt x="82" y="13"/>
                    <a:pt x="82" y="15"/>
                    <a:pt x="82" y="16"/>
                  </a:cubicBezTo>
                  <a:cubicBezTo>
                    <a:pt x="82" y="16"/>
                    <a:pt x="83" y="16"/>
                    <a:pt x="83" y="16"/>
                  </a:cubicBezTo>
                  <a:cubicBezTo>
                    <a:pt x="83" y="18"/>
                    <a:pt x="83" y="20"/>
                    <a:pt x="83" y="21"/>
                  </a:cubicBezTo>
                  <a:cubicBezTo>
                    <a:pt x="84" y="25"/>
                    <a:pt x="83" y="33"/>
                    <a:pt x="83" y="36"/>
                  </a:cubicBezTo>
                  <a:cubicBezTo>
                    <a:pt x="83" y="42"/>
                    <a:pt x="82" y="49"/>
                    <a:pt x="82" y="55"/>
                  </a:cubicBezTo>
                  <a:cubicBezTo>
                    <a:pt x="82" y="55"/>
                    <a:pt x="82" y="55"/>
                    <a:pt x="82" y="55"/>
                  </a:cubicBezTo>
                  <a:cubicBezTo>
                    <a:pt x="82" y="62"/>
                    <a:pt x="82" y="68"/>
                    <a:pt x="82" y="75"/>
                  </a:cubicBezTo>
                  <a:cubicBezTo>
                    <a:pt x="82" y="75"/>
                    <a:pt x="81" y="75"/>
                    <a:pt x="81" y="75"/>
                  </a:cubicBezTo>
                  <a:cubicBezTo>
                    <a:pt x="81" y="78"/>
                    <a:pt x="81" y="82"/>
                    <a:pt x="81" y="85"/>
                  </a:cubicBezTo>
                  <a:cubicBezTo>
                    <a:pt x="81" y="85"/>
                    <a:pt x="81" y="85"/>
                    <a:pt x="81" y="85"/>
                  </a:cubicBezTo>
                  <a:cubicBezTo>
                    <a:pt x="81" y="88"/>
                    <a:pt x="81" y="92"/>
                    <a:pt x="81" y="95"/>
                  </a:cubicBezTo>
                  <a:cubicBezTo>
                    <a:pt x="81" y="95"/>
                    <a:pt x="81" y="95"/>
                    <a:pt x="81" y="95"/>
                  </a:cubicBezTo>
                  <a:cubicBezTo>
                    <a:pt x="80" y="97"/>
                    <a:pt x="81" y="102"/>
                    <a:pt x="81" y="103"/>
                  </a:cubicBezTo>
                  <a:cubicBezTo>
                    <a:pt x="81" y="104"/>
                    <a:pt x="81" y="105"/>
                    <a:pt x="81" y="106"/>
                  </a:cubicBezTo>
                  <a:cubicBezTo>
                    <a:pt x="81" y="106"/>
                    <a:pt x="81" y="106"/>
                    <a:pt x="81" y="106"/>
                  </a:cubicBezTo>
                  <a:cubicBezTo>
                    <a:pt x="81" y="108"/>
                    <a:pt x="81" y="109"/>
                    <a:pt x="81" y="110"/>
                  </a:cubicBezTo>
                  <a:cubicBezTo>
                    <a:pt x="81" y="110"/>
                    <a:pt x="82" y="110"/>
                    <a:pt x="82" y="110"/>
                  </a:cubicBezTo>
                  <a:cubicBezTo>
                    <a:pt x="82" y="111"/>
                    <a:pt x="82" y="112"/>
                    <a:pt x="82" y="113"/>
                  </a:cubicBezTo>
                  <a:cubicBezTo>
                    <a:pt x="82" y="113"/>
                    <a:pt x="82" y="113"/>
                    <a:pt x="82" y="113"/>
                  </a:cubicBezTo>
                  <a:cubicBezTo>
                    <a:pt x="82" y="115"/>
                    <a:pt x="82" y="116"/>
                    <a:pt x="82" y="117"/>
                  </a:cubicBezTo>
                  <a:cubicBezTo>
                    <a:pt x="82" y="117"/>
                    <a:pt x="82" y="117"/>
                    <a:pt x="82" y="117"/>
                  </a:cubicBezTo>
                  <a:cubicBezTo>
                    <a:pt x="83" y="125"/>
                    <a:pt x="84" y="133"/>
                    <a:pt x="84" y="142"/>
                  </a:cubicBezTo>
                  <a:cubicBezTo>
                    <a:pt x="86" y="147"/>
                    <a:pt x="87" y="154"/>
                    <a:pt x="89" y="159"/>
                  </a:cubicBezTo>
                  <a:cubicBezTo>
                    <a:pt x="89" y="160"/>
                    <a:pt x="89" y="160"/>
                    <a:pt x="89" y="161"/>
                  </a:cubicBezTo>
                  <a:cubicBezTo>
                    <a:pt x="89" y="161"/>
                    <a:pt x="89" y="161"/>
                    <a:pt x="89" y="161"/>
                  </a:cubicBezTo>
                  <a:cubicBezTo>
                    <a:pt x="89" y="161"/>
                    <a:pt x="89" y="162"/>
                    <a:pt x="89" y="162"/>
                  </a:cubicBezTo>
                  <a:cubicBezTo>
                    <a:pt x="89" y="162"/>
                    <a:pt x="90" y="162"/>
                    <a:pt x="90" y="162"/>
                  </a:cubicBezTo>
                  <a:cubicBezTo>
                    <a:pt x="90" y="162"/>
                    <a:pt x="90" y="163"/>
                    <a:pt x="90" y="163"/>
                  </a:cubicBezTo>
                  <a:cubicBezTo>
                    <a:pt x="90" y="163"/>
                    <a:pt x="90" y="163"/>
                    <a:pt x="90" y="163"/>
                  </a:cubicBezTo>
                  <a:cubicBezTo>
                    <a:pt x="90" y="164"/>
                    <a:pt x="90" y="164"/>
                    <a:pt x="90" y="165"/>
                  </a:cubicBezTo>
                  <a:cubicBezTo>
                    <a:pt x="90" y="165"/>
                    <a:pt x="90" y="165"/>
                    <a:pt x="90" y="165"/>
                  </a:cubicBezTo>
                  <a:cubicBezTo>
                    <a:pt x="90" y="165"/>
                    <a:pt x="91" y="166"/>
                    <a:pt x="91" y="167"/>
                  </a:cubicBezTo>
                  <a:cubicBezTo>
                    <a:pt x="91" y="167"/>
                    <a:pt x="91" y="167"/>
                    <a:pt x="91" y="167"/>
                  </a:cubicBezTo>
                  <a:cubicBezTo>
                    <a:pt x="91" y="167"/>
                    <a:pt x="91" y="168"/>
                    <a:pt x="91" y="168"/>
                  </a:cubicBezTo>
                  <a:cubicBezTo>
                    <a:pt x="92" y="168"/>
                    <a:pt x="92" y="168"/>
                    <a:pt x="92" y="168"/>
                  </a:cubicBezTo>
                  <a:cubicBezTo>
                    <a:pt x="92" y="169"/>
                    <a:pt x="92" y="169"/>
                    <a:pt x="92" y="169"/>
                  </a:cubicBezTo>
                  <a:cubicBezTo>
                    <a:pt x="92" y="169"/>
                    <a:pt x="92" y="169"/>
                    <a:pt x="92" y="169"/>
                  </a:cubicBezTo>
                  <a:cubicBezTo>
                    <a:pt x="92" y="170"/>
                    <a:pt x="92" y="170"/>
                    <a:pt x="92" y="171"/>
                  </a:cubicBezTo>
                  <a:cubicBezTo>
                    <a:pt x="93" y="171"/>
                    <a:pt x="93" y="171"/>
                    <a:pt x="93" y="171"/>
                  </a:cubicBezTo>
                  <a:cubicBezTo>
                    <a:pt x="93" y="171"/>
                    <a:pt x="93" y="171"/>
                    <a:pt x="93" y="172"/>
                  </a:cubicBezTo>
                  <a:cubicBezTo>
                    <a:pt x="93" y="172"/>
                    <a:pt x="93" y="172"/>
                    <a:pt x="93" y="172"/>
                  </a:cubicBezTo>
                  <a:cubicBezTo>
                    <a:pt x="93" y="172"/>
                    <a:pt x="93" y="173"/>
                    <a:pt x="94" y="173"/>
                  </a:cubicBezTo>
                  <a:cubicBezTo>
                    <a:pt x="94" y="173"/>
                    <a:pt x="94" y="173"/>
                    <a:pt x="94" y="173"/>
                  </a:cubicBezTo>
                  <a:cubicBezTo>
                    <a:pt x="94" y="174"/>
                    <a:pt x="94" y="174"/>
                    <a:pt x="94" y="174"/>
                  </a:cubicBezTo>
                  <a:cubicBezTo>
                    <a:pt x="94" y="174"/>
                    <a:pt x="94" y="174"/>
                    <a:pt x="94" y="174"/>
                  </a:cubicBezTo>
                  <a:cubicBezTo>
                    <a:pt x="94" y="174"/>
                    <a:pt x="94" y="175"/>
                    <a:pt x="94" y="175"/>
                  </a:cubicBezTo>
                  <a:cubicBezTo>
                    <a:pt x="94" y="175"/>
                    <a:pt x="94" y="175"/>
                    <a:pt x="95" y="175"/>
                  </a:cubicBezTo>
                  <a:cubicBezTo>
                    <a:pt x="95" y="175"/>
                    <a:pt x="95" y="176"/>
                    <a:pt x="95" y="176"/>
                  </a:cubicBezTo>
                  <a:cubicBezTo>
                    <a:pt x="95" y="176"/>
                    <a:pt x="95" y="176"/>
                    <a:pt x="95" y="176"/>
                  </a:cubicBezTo>
                  <a:cubicBezTo>
                    <a:pt x="95" y="177"/>
                    <a:pt x="95" y="177"/>
                    <a:pt x="95" y="177"/>
                  </a:cubicBezTo>
                  <a:cubicBezTo>
                    <a:pt x="95" y="177"/>
                    <a:pt x="96" y="177"/>
                    <a:pt x="96" y="177"/>
                  </a:cubicBezTo>
                  <a:cubicBezTo>
                    <a:pt x="96" y="178"/>
                    <a:pt x="96" y="178"/>
                    <a:pt x="96" y="178"/>
                  </a:cubicBezTo>
                  <a:cubicBezTo>
                    <a:pt x="96" y="178"/>
                    <a:pt x="96" y="178"/>
                    <a:pt x="96" y="178"/>
                  </a:cubicBezTo>
                  <a:cubicBezTo>
                    <a:pt x="96" y="178"/>
                    <a:pt x="96" y="179"/>
                    <a:pt x="96" y="179"/>
                  </a:cubicBezTo>
                  <a:cubicBezTo>
                    <a:pt x="96" y="179"/>
                    <a:pt x="96" y="179"/>
                    <a:pt x="96" y="179"/>
                  </a:cubicBezTo>
                  <a:cubicBezTo>
                    <a:pt x="96" y="179"/>
                    <a:pt x="96" y="179"/>
                    <a:pt x="96" y="179"/>
                  </a:cubicBezTo>
                  <a:cubicBezTo>
                    <a:pt x="96" y="179"/>
                    <a:pt x="97" y="179"/>
                    <a:pt x="97" y="179"/>
                  </a:cubicBezTo>
                  <a:cubicBezTo>
                    <a:pt x="97" y="180"/>
                    <a:pt x="97" y="180"/>
                    <a:pt x="97" y="181"/>
                  </a:cubicBezTo>
                  <a:cubicBezTo>
                    <a:pt x="97" y="181"/>
                    <a:pt x="97" y="181"/>
                    <a:pt x="97" y="181"/>
                  </a:cubicBezTo>
                  <a:cubicBezTo>
                    <a:pt x="97" y="181"/>
                    <a:pt x="97" y="181"/>
                    <a:pt x="97" y="181"/>
                  </a:cubicBezTo>
                  <a:cubicBezTo>
                    <a:pt x="97" y="181"/>
                    <a:pt x="97" y="181"/>
                    <a:pt x="97" y="181"/>
                  </a:cubicBezTo>
                  <a:cubicBezTo>
                    <a:pt x="98" y="182"/>
                    <a:pt x="98" y="183"/>
                    <a:pt x="98" y="183"/>
                  </a:cubicBezTo>
                  <a:cubicBezTo>
                    <a:pt x="98" y="183"/>
                    <a:pt x="98" y="183"/>
                    <a:pt x="98" y="183"/>
                  </a:cubicBezTo>
                  <a:cubicBezTo>
                    <a:pt x="98" y="184"/>
                    <a:pt x="98" y="184"/>
                    <a:pt x="98" y="184"/>
                  </a:cubicBezTo>
                  <a:cubicBezTo>
                    <a:pt x="99" y="184"/>
                    <a:pt x="99" y="184"/>
                    <a:pt x="99" y="184"/>
                  </a:cubicBezTo>
                  <a:cubicBezTo>
                    <a:pt x="99" y="185"/>
                    <a:pt x="99" y="185"/>
                    <a:pt x="99" y="186"/>
                  </a:cubicBezTo>
                  <a:cubicBezTo>
                    <a:pt x="99" y="186"/>
                    <a:pt x="99" y="186"/>
                    <a:pt x="99" y="186"/>
                  </a:cubicBezTo>
                  <a:cubicBezTo>
                    <a:pt x="100" y="186"/>
                    <a:pt x="100" y="187"/>
                    <a:pt x="100" y="187"/>
                  </a:cubicBezTo>
                  <a:cubicBezTo>
                    <a:pt x="100" y="187"/>
                    <a:pt x="100" y="187"/>
                    <a:pt x="100" y="187"/>
                  </a:cubicBezTo>
                  <a:cubicBezTo>
                    <a:pt x="100" y="188"/>
                    <a:pt x="101" y="189"/>
                    <a:pt x="101" y="189"/>
                  </a:cubicBezTo>
                  <a:cubicBezTo>
                    <a:pt x="101" y="189"/>
                    <a:pt x="101" y="189"/>
                    <a:pt x="101" y="189"/>
                  </a:cubicBezTo>
                  <a:cubicBezTo>
                    <a:pt x="101" y="190"/>
                    <a:pt x="101" y="190"/>
                    <a:pt x="101" y="190"/>
                  </a:cubicBezTo>
                  <a:cubicBezTo>
                    <a:pt x="101" y="190"/>
                    <a:pt x="101" y="190"/>
                    <a:pt x="102" y="190"/>
                  </a:cubicBezTo>
                  <a:cubicBezTo>
                    <a:pt x="102" y="191"/>
                    <a:pt x="102" y="192"/>
                    <a:pt x="102" y="192"/>
                  </a:cubicBezTo>
                  <a:cubicBezTo>
                    <a:pt x="102" y="192"/>
                    <a:pt x="103" y="192"/>
                    <a:pt x="103" y="192"/>
                  </a:cubicBezTo>
                  <a:cubicBezTo>
                    <a:pt x="103" y="193"/>
                    <a:pt x="103" y="193"/>
                    <a:pt x="103" y="193"/>
                  </a:cubicBezTo>
                  <a:cubicBezTo>
                    <a:pt x="103" y="193"/>
                    <a:pt x="103" y="193"/>
                    <a:pt x="103" y="193"/>
                  </a:cubicBezTo>
                  <a:cubicBezTo>
                    <a:pt x="103" y="194"/>
                    <a:pt x="103" y="194"/>
                    <a:pt x="103" y="195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104" y="195"/>
                    <a:pt x="104" y="195"/>
                    <a:pt x="104" y="196"/>
                  </a:cubicBezTo>
                  <a:cubicBezTo>
                    <a:pt x="104" y="196"/>
                    <a:pt x="104" y="196"/>
                    <a:pt x="104" y="196"/>
                  </a:cubicBezTo>
                  <a:cubicBezTo>
                    <a:pt x="104" y="196"/>
                    <a:pt x="104" y="196"/>
                    <a:pt x="104" y="196"/>
                  </a:cubicBezTo>
                  <a:cubicBezTo>
                    <a:pt x="104" y="196"/>
                    <a:pt x="105" y="196"/>
                    <a:pt x="105" y="196"/>
                  </a:cubicBezTo>
                  <a:cubicBezTo>
                    <a:pt x="105" y="196"/>
                    <a:pt x="105" y="197"/>
                    <a:pt x="105" y="197"/>
                  </a:cubicBezTo>
                  <a:cubicBezTo>
                    <a:pt x="105" y="197"/>
                    <a:pt x="105" y="197"/>
                    <a:pt x="105" y="197"/>
                  </a:cubicBezTo>
                  <a:cubicBezTo>
                    <a:pt x="105" y="197"/>
                    <a:pt x="105" y="197"/>
                    <a:pt x="105" y="198"/>
                  </a:cubicBezTo>
                  <a:cubicBezTo>
                    <a:pt x="105" y="198"/>
                    <a:pt x="105" y="198"/>
                    <a:pt x="105" y="198"/>
                  </a:cubicBezTo>
                  <a:cubicBezTo>
                    <a:pt x="105" y="198"/>
                    <a:pt x="105" y="198"/>
                    <a:pt x="105" y="198"/>
                  </a:cubicBezTo>
                  <a:cubicBezTo>
                    <a:pt x="106" y="198"/>
                    <a:pt x="106" y="199"/>
                    <a:pt x="106" y="199"/>
                  </a:cubicBezTo>
                  <a:cubicBezTo>
                    <a:pt x="106" y="199"/>
                    <a:pt x="106" y="200"/>
                    <a:pt x="106" y="200"/>
                  </a:cubicBezTo>
                  <a:cubicBezTo>
                    <a:pt x="107" y="200"/>
                    <a:pt x="107" y="200"/>
                    <a:pt x="107" y="200"/>
                  </a:cubicBezTo>
                  <a:cubicBezTo>
                    <a:pt x="107" y="201"/>
                    <a:pt x="107" y="201"/>
                    <a:pt x="107" y="201"/>
                  </a:cubicBezTo>
                  <a:cubicBezTo>
                    <a:pt x="107" y="201"/>
                    <a:pt x="107" y="201"/>
                    <a:pt x="108" y="201"/>
                  </a:cubicBezTo>
                  <a:cubicBezTo>
                    <a:pt x="108" y="202"/>
                    <a:pt x="108" y="202"/>
                    <a:pt x="108" y="203"/>
                  </a:cubicBezTo>
                  <a:cubicBezTo>
                    <a:pt x="109" y="203"/>
                    <a:pt x="110" y="203"/>
                    <a:pt x="111" y="204"/>
                  </a:cubicBezTo>
                  <a:cubicBezTo>
                    <a:pt x="112" y="204"/>
                    <a:pt x="113" y="204"/>
                    <a:pt x="114" y="204"/>
                  </a:cubicBezTo>
                  <a:cubicBezTo>
                    <a:pt x="114" y="204"/>
                    <a:pt x="114" y="204"/>
                    <a:pt x="114" y="204"/>
                  </a:cubicBezTo>
                  <a:cubicBezTo>
                    <a:pt x="116" y="204"/>
                    <a:pt x="117" y="204"/>
                    <a:pt x="119" y="204"/>
                  </a:cubicBezTo>
                  <a:cubicBezTo>
                    <a:pt x="120" y="204"/>
                    <a:pt x="122" y="204"/>
                    <a:pt x="123" y="204"/>
                  </a:cubicBezTo>
                  <a:cubicBezTo>
                    <a:pt x="123" y="204"/>
                    <a:pt x="123" y="205"/>
                    <a:pt x="123" y="205"/>
                  </a:cubicBezTo>
                  <a:cubicBezTo>
                    <a:pt x="126" y="205"/>
                    <a:pt x="130" y="205"/>
                    <a:pt x="133" y="205"/>
                  </a:cubicBezTo>
                  <a:cubicBezTo>
                    <a:pt x="133" y="205"/>
                    <a:pt x="133" y="205"/>
                    <a:pt x="133" y="205"/>
                  </a:cubicBezTo>
                  <a:cubicBezTo>
                    <a:pt x="135" y="205"/>
                    <a:pt x="140" y="205"/>
                    <a:pt x="141" y="205"/>
                  </a:cubicBezTo>
                  <a:cubicBezTo>
                    <a:pt x="144" y="205"/>
                    <a:pt x="146" y="205"/>
                    <a:pt x="148" y="205"/>
                  </a:cubicBezTo>
                  <a:cubicBezTo>
                    <a:pt x="148" y="205"/>
                    <a:pt x="148" y="204"/>
                    <a:pt x="148" y="204"/>
                  </a:cubicBezTo>
                  <a:cubicBezTo>
                    <a:pt x="149" y="204"/>
                    <a:pt x="151" y="204"/>
                    <a:pt x="152" y="204"/>
                  </a:cubicBezTo>
                  <a:cubicBezTo>
                    <a:pt x="153" y="204"/>
                    <a:pt x="154" y="204"/>
                    <a:pt x="155" y="203"/>
                  </a:cubicBezTo>
                  <a:cubicBezTo>
                    <a:pt x="155" y="202"/>
                    <a:pt x="156" y="202"/>
                    <a:pt x="156" y="201"/>
                  </a:cubicBezTo>
                  <a:cubicBezTo>
                    <a:pt x="157" y="200"/>
                    <a:pt x="157" y="200"/>
                    <a:pt x="157" y="199"/>
                  </a:cubicBezTo>
                  <a:cubicBezTo>
                    <a:pt x="157" y="199"/>
                    <a:pt x="157" y="199"/>
                    <a:pt x="157" y="199"/>
                  </a:cubicBezTo>
                  <a:cubicBezTo>
                    <a:pt x="157" y="198"/>
                    <a:pt x="158" y="197"/>
                    <a:pt x="158" y="196"/>
                  </a:cubicBezTo>
                  <a:cubicBezTo>
                    <a:pt x="158" y="196"/>
                    <a:pt x="158" y="196"/>
                    <a:pt x="158" y="196"/>
                  </a:cubicBezTo>
                  <a:cubicBezTo>
                    <a:pt x="158" y="195"/>
                    <a:pt x="158" y="195"/>
                    <a:pt x="159" y="194"/>
                  </a:cubicBezTo>
                  <a:cubicBezTo>
                    <a:pt x="159" y="194"/>
                    <a:pt x="159" y="194"/>
                    <a:pt x="159" y="194"/>
                  </a:cubicBezTo>
                  <a:cubicBezTo>
                    <a:pt x="159" y="193"/>
                    <a:pt x="159" y="193"/>
                    <a:pt x="159" y="193"/>
                  </a:cubicBezTo>
                  <a:cubicBezTo>
                    <a:pt x="159" y="193"/>
                    <a:pt x="159" y="193"/>
                    <a:pt x="159" y="193"/>
                  </a:cubicBezTo>
                  <a:cubicBezTo>
                    <a:pt x="159" y="192"/>
                    <a:pt x="159" y="192"/>
                    <a:pt x="159" y="192"/>
                  </a:cubicBezTo>
                  <a:cubicBezTo>
                    <a:pt x="159" y="192"/>
                    <a:pt x="160" y="192"/>
                    <a:pt x="160" y="192"/>
                  </a:cubicBezTo>
                  <a:cubicBezTo>
                    <a:pt x="160" y="191"/>
                    <a:pt x="160" y="191"/>
                    <a:pt x="160" y="191"/>
                  </a:cubicBezTo>
                  <a:cubicBezTo>
                    <a:pt x="160" y="191"/>
                    <a:pt x="160" y="191"/>
                    <a:pt x="160" y="191"/>
                  </a:cubicBezTo>
                  <a:cubicBezTo>
                    <a:pt x="160" y="190"/>
                    <a:pt x="160" y="190"/>
                    <a:pt x="160" y="190"/>
                  </a:cubicBezTo>
                  <a:cubicBezTo>
                    <a:pt x="160" y="190"/>
                    <a:pt x="160" y="190"/>
                    <a:pt x="160" y="190"/>
                  </a:cubicBezTo>
                  <a:cubicBezTo>
                    <a:pt x="160" y="189"/>
                    <a:pt x="160" y="189"/>
                    <a:pt x="160" y="189"/>
                  </a:cubicBezTo>
                  <a:cubicBezTo>
                    <a:pt x="160" y="189"/>
                    <a:pt x="161" y="189"/>
                    <a:pt x="161" y="189"/>
                  </a:cubicBezTo>
                  <a:cubicBezTo>
                    <a:pt x="161" y="188"/>
                    <a:pt x="161" y="188"/>
                    <a:pt x="161" y="188"/>
                  </a:cubicBezTo>
                  <a:cubicBezTo>
                    <a:pt x="161" y="188"/>
                    <a:pt x="161" y="188"/>
                    <a:pt x="161" y="188"/>
                  </a:cubicBezTo>
                  <a:cubicBezTo>
                    <a:pt x="161" y="187"/>
                    <a:pt x="161" y="186"/>
                    <a:pt x="161" y="185"/>
                  </a:cubicBezTo>
                  <a:cubicBezTo>
                    <a:pt x="161" y="185"/>
                    <a:pt x="162" y="185"/>
                    <a:pt x="162" y="185"/>
                  </a:cubicBezTo>
                  <a:cubicBezTo>
                    <a:pt x="162" y="185"/>
                    <a:pt x="162" y="185"/>
                    <a:pt x="162" y="184"/>
                  </a:cubicBezTo>
                  <a:cubicBezTo>
                    <a:pt x="162" y="184"/>
                    <a:pt x="162" y="184"/>
                    <a:pt x="162" y="184"/>
                  </a:cubicBezTo>
                  <a:cubicBezTo>
                    <a:pt x="162" y="184"/>
                    <a:pt x="162" y="184"/>
                    <a:pt x="162" y="183"/>
                  </a:cubicBezTo>
                  <a:cubicBezTo>
                    <a:pt x="162" y="183"/>
                    <a:pt x="162" y="183"/>
                    <a:pt x="162" y="183"/>
                  </a:cubicBezTo>
                  <a:cubicBezTo>
                    <a:pt x="162" y="183"/>
                    <a:pt x="162" y="183"/>
                    <a:pt x="162" y="182"/>
                  </a:cubicBezTo>
                  <a:cubicBezTo>
                    <a:pt x="163" y="182"/>
                    <a:pt x="163" y="182"/>
                    <a:pt x="163" y="182"/>
                  </a:cubicBezTo>
                  <a:cubicBezTo>
                    <a:pt x="163" y="182"/>
                    <a:pt x="163" y="182"/>
                    <a:pt x="163" y="181"/>
                  </a:cubicBezTo>
                  <a:cubicBezTo>
                    <a:pt x="163" y="181"/>
                    <a:pt x="163" y="181"/>
                    <a:pt x="163" y="181"/>
                  </a:cubicBezTo>
                  <a:cubicBezTo>
                    <a:pt x="163" y="181"/>
                    <a:pt x="163" y="181"/>
                    <a:pt x="163" y="180"/>
                  </a:cubicBezTo>
                  <a:cubicBezTo>
                    <a:pt x="163" y="180"/>
                    <a:pt x="163" y="180"/>
                    <a:pt x="163" y="180"/>
                  </a:cubicBezTo>
                  <a:cubicBezTo>
                    <a:pt x="163" y="180"/>
                    <a:pt x="163" y="179"/>
                    <a:pt x="163" y="179"/>
                  </a:cubicBezTo>
                  <a:cubicBezTo>
                    <a:pt x="164" y="179"/>
                    <a:pt x="164" y="179"/>
                    <a:pt x="164" y="179"/>
                  </a:cubicBezTo>
                  <a:cubicBezTo>
                    <a:pt x="164" y="179"/>
                    <a:pt x="164" y="179"/>
                    <a:pt x="164" y="178"/>
                  </a:cubicBezTo>
                  <a:cubicBezTo>
                    <a:pt x="164" y="178"/>
                    <a:pt x="164" y="178"/>
                    <a:pt x="164" y="178"/>
                  </a:cubicBezTo>
                  <a:cubicBezTo>
                    <a:pt x="164" y="177"/>
                    <a:pt x="165" y="176"/>
                    <a:pt x="165" y="175"/>
                  </a:cubicBezTo>
                  <a:cubicBezTo>
                    <a:pt x="165" y="175"/>
                    <a:pt x="165" y="175"/>
                    <a:pt x="165" y="175"/>
                  </a:cubicBezTo>
                  <a:cubicBezTo>
                    <a:pt x="165" y="175"/>
                    <a:pt x="165" y="175"/>
                    <a:pt x="165" y="175"/>
                  </a:cubicBezTo>
                  <a:cubicBezTo>
                    <a:pt x="165" y="175"/>
                    <a:pt x="165" y="175"/>
                    <a:pt x="166" y="175"/>
                  </a:cubicBezTo>
                  <a:cubicBezTo>
                    <a:pt x="166" y="174"/>
                    <a:pt x="166" y="174"/>
                    <a:pt x="166" y="174"/>
                  </a:cubicBezTo>
                  <a:cubicBezTo>
                    <a:pt x="166" y="174"/>
                    <a:pt x="166" y="174"/>
                    <a:pt x="166" y="174"/>
                  </a:cubicBezTo>
                  <a:cubicBezTo>
                    <a:pt x="166" y="173"/>
                    <a:pt x="166" y="172"/>
                    <a:pt x="166" y="172"/>
                  </a:cubicBezTo>
                  <a:cubicBezTo>
                    <a:pt x="166" y="172"/>
                    <a:pt x="167" y="172"/>
                    <a:pt x="167" y="172"/>
                  </a:cubicBezTo>
                  <a:cubicBezTo>
                    <a:pt x="167" y="172"/>
                    <a:pt x="167" y="171"/>
                    <a:pt x="167" y="171"/>
                  </a:cubicBezTo>
                  <a:cubicBezTo>
                    <a:pt x="167" y="171"/>
                    <a:pt x="167" y="171"/>
                    <a:pt x="167" y="171"/>
                  </a:cubicBezTo>
                  <a:cubicBezTo>
                    <a:pt x="167" y="171"/>
                    <a:pt x="167" y="170"/>
                    <a:pt x="167" y="170"/>
                  </a:cubicBezTo>
                  <a:cubicBezTo>
                    <a:pt x="167" y="170"/>
                    <a:pt x="167" y="170"/>
                    <a:pt x="167" y="170"/>
                  </a:cubicBezTo>
                  <a:cubicBezTo>
                    <a:pt x="167" y="170"/>
                    <a:pt x="168" y="169"/>
                    <a:pt x="168" y="169"/>
                  </a:cubicBezTo>
                  <a:cubicBezTo>
                    <a:pt x="168" y="169"/>
                    <a:pt x="168" y="169"/>
                    <a:pt x="168" y="169"/>
                  </a:cubicBezTo>
                  <a:cubicBezTo>
                    <a:pt x="168" y="168"/>
                    <a:pt x="168" y="168"/>
                    <a:pt x="168" y="168"/>
                  </a:cubicBezTo>
                  <a:cubicBezTo>
                    <a:pt x="168" y="168"/>
                    <a:pt x="168" y="168"/>
                    <a:pt x="168" y="168"/>
                  </a:cubicBezTo>
                  <a:cubicBezTo>
                    <a:pt x="168" y="167"/>
                    <a:pt x="169" y="167"/>
                    <a:pt x="169" y="166"/>
                  </a:cubicBezTo>
                  <a:cubicBezTo>
                    <a:pt x="169" y="166"/>
                    <a:pt x="169" y="166"/>
                    <a:pt x="169" y="166"/>
                  </a:cubicBezTo>
                  <a:cubicBezTo>
                    <a:pt x="169" y="166"/>
                    <a:pt x="169" y="166"/>
                    <a:pt x="169" y="165"/>
                  </a:cubicBezTo>
                  <a:cubicBezTo>
                    <a:pt x="169" y="165"/>
                    <a:pt x="169" y="165"/>
                    <a:pt x="169" y="165"/>
                  </a:cubicBezTo>
                  <a:cubicBezTo>
                    <a:pt x="169" y="165"/>
                    <a:pt x="169" y="165"/>
                    <a:pt x="169" y="164"/>
                  </a:cubicBezTo>
                  <a:cubicBezTo>
                    <a:pt x="170" y="164"/>
                    <a:pt x="170" y="164"/>
                    <a:pt x="170" y="164"/>
                  </a:cubicBezTo>
                  <a:cubicBezTo>
                    <a:pt x="170" y="164"/>
                    <a:pt x="170" y="163"/>
                    <a:pt x="170" y="162"/>
                  </a:cubicBezTo>
                  <a:cubicBezTo>
                    <a:pt x="171" y="162"/>
                    <a:pt x="171" y="162"/>
                    <a:pt x="171" y="162"/>
                  </a:cubicBezTo>
                  <a:cubicBezTo>
                    <a:pt x="171" y="162"/>
                    <a:pt x="171" y="161"/>
                    <a:pt x="171" y="161"/>
                  </a:cubicBezTo>
                  <a:cubicBezTo>
                    <a:pt x="171" y="161"/>
                    <a:pt x="172" y="161"/>
                    <a:pt x="172" y="161"/>
                  </a:cubicBezTo>
                  <a:cubicBezTo>
                    <a:pt x="172" y="160"/>
                    <a:pt x="172" y="160"/>
                    <a:pt x="172" y="160"/>
                  </a:cubicBezTo>
                  <a:cubicBezTo>
                    <a:pt x="172" y="160"/>
                    <a:pt x="172" y="160"/>
                    <a:pt x="172" y="160"/>
                  </a:cubicBezTo>
                  <a:cubicBezTo>
                    <a:pt x="172" y="160"/>
                    <a:pt x="172" y="159"/>
                    <a:pt x="172" y="159"/>
                  </a:cubicBezTo>
                  <a:cubicBezTo>
                    <a:pt x="172" y="159"/>
                    <a:pt x="172" y="159"/>
                    <a:pt x="173" y="159"/>
                  </a:cubicBezTo>
                  <a:cubicBezTo>
                    <a:pt x="173" y="159"/>
                    <a:pt x="173" y="159"/>
                    <a:pt x="173" y="158"/>
                  </a:cubicBezTo>
                  <a:cubicBezTo>
                    <a:pt x="173" y="158"/>
                    <a:pt x="173" y="158"/>
                    <a:pt x="173" y="158"/>
                  </a:cubicBezTo>
                  <a:cubicBezTo>
                    <a:pt x="173" y="158"/>
                    <a:pt x="173" y="158"/>
                    <a:pt x="173" y="158"/>
                  </a:cubicBezTo>
                  <a:cubicBezTo>
                    <a:pt x="173" y="158"/>
                    <a:pt x="173" y="158"/>
                    <a:pt x="174" y="157"/>
                  </a:cubicBezTo>
                  <a:cubicBezTo>
                    <a:pt x="174" y="157"/>
                    <a:pt x="174" y="157"/>
                    <a:pt x="174" y="156"/>
                  </a:cubicBezTo>
                  <a:cubicBezTo>
                    <a:pt x="174" y="156"/>
                    <a:pt x="174" y="156"/>
                    <a:pt x="175" y="156"/>
                  </a:cubicBezTo>
                  <a:cubicBezTo>
                    <a:pt x="175" y="155"/>
                    <a:pt x="175" y="155"/>
                    <a:pt x="175" y="155"/>
                  </a:cubicBezTo>
                  <a:cubicBezTo>
                    <a:pt x="175" y="155"/>
                    <a:pt x="175" y="155"/>
                    <a:pt x="175" y="155"/>
                  </a:cubicBezTo>
                  <a:cubicBezTo>
                    <a:pt x="175" y="155"/>
                    <a:pt x="175" y="154"/>
                    <a:pt x="175" y="154"/>
                  </a:cubicBezTo>
                  <a:cubicBezTo>
                    <a:pt x="176" y="154"/>
                    <a:pt x="176" y="154"/>
                    <a:pt x="176" y="154"/>
                  </a:cubicBezTo>
                  <a:cubicBezTo>
                    <a:pt x="176" y="153"/>
                    <a:pt x="176" y="153"/>
                    <a:pt x="176" y="153"/>
                  </a:cubicBezTo>
                  <a:cubicBezTo>
                    <a:pt x="176" y="153"/>
                    <a:pt x="177" y="152"/>
                    <a:pt x="177" y="152"/>
                  </a:cubicBezTo>
                  <a:cubicBezTo>
                    <a:pt x="177" y="152"/>
                    <a:pt x="177" y="152"/>
                    <a:pt x="177" y="151"/>
                  </a:cubicBezTo>
                  <a:cubicBezTo>
                    <a:pt x="177" y="151"/>
                    <a:pt x="178" y="151"/>
                    <a:pt x="178" y="151"/>
                  </a:cubicBezTo>
                  <a:cubicBezTo>
                    <a:pt x="178" y="151"/>
                    <a:pt x="178" y="151"/>
                    <a:pt x="178" y="150"/>
                  </a:cubicBezTo>
                  <a:cubicBezTo>
                    <a:pt x="178" y="150"/>
                    <a:pt x="179" y="150"/>
                    <a:pt x="179" y="150"/>
                  </a:cubicBezTo>
                  <a:cubicBezTo>
                    <a:pt x="179" y="150"/>
                    <a:pt x="179" y="149"/>
                    <a:pt x="179" y="149"/>
                  </a:cubicBezTo>
                  <a:cubicBezTo>
                    <a:pt x="179" y="149"/>
                    <a:pt x="180" y="149"/>
                    <a:pt x="180" y="148"/>
                  </a:cubicBezTo>
                  <a:cubicBezTo>
                    <a:pt x="180" y="148"/>
                    <a:pt x="180" y="148"/>
                    <a:pt x="180" y="148"/>
                  </a:cubicBezTo>
                  <a:cubicBezTo>
                    <a:pt x="180" y="147"/>
                    <a:pt x="181" y="147"/>
                    <a:pt x="181" y="147"/>
                  </a:cubicBezTo>
                  <a:cubicBezTo>
                    <a:pt x="181" y="147"/>
                    <a:pt x="181" y="146"/>
                    <a:pt x="181" y="146"/>
                  </a:cubicBezTo>
                  <a:cubicBezTo>
                    <a:pt x="181" y="146"/>
                    <a:pt x="181" y="146"/>
                    <a:pt x="182" y="146"/>
                  </a:cubicBezTo>
                  <a:cubicBezTo>
                    <a:pt x="182" y="146"/>
                    <a:pt x="182" y="145"/>
                    <a:pt x="182" y="145"/>
                  </a:cubicBezTo>
                  <a:cubicBezTo>
                    <a:pt x="182" y="144"/>
                    <a:pt x="183" y="144"/>
                    <a:pt x="183" y="144"/>
                  </a:cubicBezTo>
                  <a:cubicBezTo>
                    <a:pt x="183" y="144"/>
                    <a:pt x="183" y="143"/>
                    <a:pt x="183" y="143"/>
                  </a:cubicBezTo>
                  <a:cubicBezTo>
                    <a:pt x="184" y="143"/>
                    <a:pt x="184" y="142"/>
                    <a:pt x="185" y="142"/>
                  </a:cubicBezTo>
                  <a:cubicBezTo>
                    <a:pt x="185" y="142"/>
                    <a:pt x="185" y="142"/>
                    <a:pt x="185" y="141"/>
                  </a:cubicBezTo>
                  <a:cubicBezTo>
                    <a:pt x="186" y="141"/>
                    <a:pt x="186" y="140"/>
                    <a:pt x="187" y="140"/>
                  </a:cubicBezTo>
                  <a:cubicBezTo>
                    <a:pt x="187" y="139"/>
                    <a:pt x="187" y="139"/>
                    <a:pt x="187" y="139"/>
                  </a:cubicBezTo>
                  <a:cubicBezTo>
                    <a:pt x="188" y="138"/>
                    <a:pt x="189" y="138"/>
                    <a:pt x="189" y="137"/>
                  </a:cubicBezTo>
                  <a:cubicBezTo>
                    <a:pt x="189" y="137"/>
                    <a:pt x="189" y="136"/>
                    <a:pt x="189" y="136"/>
                  </a:cubicBezTo>
                  <a:cubicBezTo>
                    <a:pt x="191" y="135"/>
                    <a:pt x="192" y="134"/>
                    <a:pt x="194" y="132"/>
                  </a:cubicBezTo>
                  <a:cubicBezTo>
                    <a:pt x="195" y="131"/>
                    <a:pt x="196" y="129"/>
                    <a:pt x="198" y="128"/>
                  </a:cubicBezTo>
                  <a:cubicBezTo>
                    <a:pt x="198" y="128"/>
                    <a:pt x="198" y="128"/>
                    <a:pt x="198" y="128"/>
                  </a:cubicBezTo>
                  <a:cubicBezTo>
                    <a:pt x="199" y="127"/>
                    <a:pt x="200" y="126"/>
                    <a:pt x="200" y="126"/>
                  </a:cubicBezTo>
                  <a:cubicBezTo>
                    <a:pt x="201" y="125"/>
                    <a:pt x="201" y="125"/>
                    <a:pt x="201" y="125"/>
                  </a:cubicBezTo>
                  <a:cubicBezTo>
                    <a:pt x="201" y="125"/>
                    <a:pt x="202" y="125"/>
                    <a:pt x="202" y="124"/>
                  </a:cubicBezTo>
                  <a:cubicBezTo>
                    <a:pt x="202" y="124"/>
                    <a:pt x="202" y="124"/>
                    <a:pt x="203" y="124"/>
                  </a:cubicBezTo>
                  <a:cubicBezTo>
                    <a:pt x="203" y="124"/>
                    <a:pt x="203" y="124"/>
                    <a:pt x="203" y="123"/>
                  </a:cubicBezTo>
                  <a:cubicBezTo>
                    <a:pt x="204" y="123"/>
                    <a:pt x="204" y="123"/>
                    <a:pt x="204" y="123"/>
                  </a:cubicBezTo>
                  <a:cubicBezTo>
                    <a:pt x="204" y="123"/>
                    <a:pt x="204" y="123"/>
                    <a:pt x="204" y="122"/>
                  </a:cubicBezTo>
                  <a:cubicBezTo>
                    <a:pt x="205" y="122"/>
                    <a:pt x="205" y="122"/>
                    <a:pt x="206" y="122"/>
                  </a:cubicBezTo>
                  <a:cubicBezTo>
                    <a:pt x="206" y="122"/>
                    <a:pt x="206" y="122"/>
                    <a:pt x="206" y="121"/>
                  </a:cubicBezTo>
                  <a:cubicBezTo>
                    <a:pt x="207" y="121"/>
                    <a:pt x="207" y="121"/>
                    <a:pt x="208" y="121"/>
                  </a:cubicBezTo>
                  <a:cubicBezTo>
                    <a:pt x="208" y="121"/>
                    <a:pt x="208" y="121"/>
                    <a:pt x="208" y="121"/>
                  </a:cubicBezTo>
                  <a:cubicBezTo>
                    <a:pt x="208" y="120"/>
                    <a:pt x="209" y="120"/>
                    <a:pt x="210" y="120"/>
                  </a:cubicBezTo>
                  <a:cubicBezTo>
                    <a:pt x="210" y="120"/>
                    <a:pt x="210" y="120"/>
                    <a:pt x="210" y="120"/>
                  </a:cubicBezTo>
                  <a:cubicBezTo>
                    <a:pt x="210" y="120"/>
                    <a:pt x="210" y="120"/>
                    <a:pt x="211" y="120"/>
                  </a:cubicBezTo>
                  <a:cubicBezTo>
                    <a:pt x="211" y="120"/>
                    <a:pt x="211" y="119"/>
                    <a:pt x="211" y="119"/>
                  </a:cubicBezTo>
                  <a:cubicBezTo>
                    <a:pt x="211" y="119"/>
                    <a:pt x="212" y="119"/>
                    <a:pt x="212" y="119"/>
                  </a:cubicBezTo>
                  <a:cubicBezTo>
                    <a:pt x="212" y="119"/>
                    <a:pt x="212" y="119"/>
                    <a:pt x="212" y="119"/>
                  </a:cubicBezTo>
                  <a:cubicBezTo>
                    <a:pt x="212" y="119"/>
                    <a:pt x="213" y="119"/>
                    <a:pt x="213" y="119"/>
                  </a:cubicBezTo>
                  <a:cubicBezTo>
                    <a:pt x="213" y="118"/>
                    <a:pt x="213" y="118"/>
                    <a:pt x="213" y="118"/>
                  </a:cubicBezTo>
                  <a:cubicBezTo>
                    <a:pt x="213" y="118"/>
                    <a:pt x="214" y="118"/>
                    <a:pt x="214" y="118"/>
                  </a:cubicBezTo>
                  <a:cubicBezTo>
                    <a:pt x="214" y="118"/>
                    <a:pt x="214" y="118"/>
                    <a:pt x="214" y="118"/>
                  </a:cubicBezTo>
                  <a:cubicBezTo>
                    <a:pt x="214" y="118"/>
                    <a:pt x="215" y="118"/>
                    <a:pt x="215" y="118"/>
                  </a:cubicBezTo>
                  <a:cubicBezTo>
                    <a:pt x="215" y="118"/>
                    <a:pt x="215" y="118"/>
                    <a:pt x="215" y="118"/>
                  </a:cubicBezTo>
                  <a:cubicBezTo>
                    <a:pt x="215" y="118"/>
                    <a:pt x="215" y="118"/>
                    <a:pt x="216" y="118"/>
                  </a:cubicBezTo>
                  <a:cubicBezTo>
                    <a:pt x="216" y="117"/>
                    <a:pt x="216" y="117"/>
                    <a:pt x="216" y="117"/>
                  </a:cubicBezTo>
                  <a:cubicBezTo>
                    <a:pt x="216" y="117"/>
                    <a:pt x="217" y="117"/>
                    <a:pt x="218" y="117"/>
                  </a:cubicBezTo>
                  <a:cubicBezTo>
                    <a:pt x="218" y="117"/>
                    <a:pt x="218" y="117"/>
                    <a:pt x="218" y="117"/>
                  </a:cubicBezTo>
                  <a:cubicBezTo>
                    <a:pt x="218" y="117"/>
                    <a:pt x="218" y="117"/>
                    <a:pt x="218" y="117"/>
                  </a:cubicBezTo>
                  <a:cubicBezTo>
                    <a:pt x="218" y="116"/>
                    <a:pt x="218" y="116"/>
                    <a:pt x="218" y="116"/>
                  </a:cubicBezTo>
                  <a:cubicBezTo>
                    <a:pt x="220" y="116"/>
                    <a:pt x="221" y="116"/>
                    <a:pt x="222" y="115"/>
                  </a:cubicBezTo>
                  <a:cubicBezTo>
                    <a:pt x="222" y="115"/>
                    <a:pt x="222" y="115"/>
                    <a:pt x="222" y="115"/>
                  </a:cubicBezTo>
                  <a:cubicBezTo>
                    <a:pt x="222" y="115"/>
                    <a:pt x="223" y="115"/>
                    <a:pt x="223" y="115"/>
                  </a:cubicBezTo>
                  <a:cubicBezTo>
                    <a:pt x="223" y="115"/>
                    <a:pt x="223" y="115"/>
                    <a:pt x="223" y="115"/>
                  </a:cubicBezTo>
                  <a:cubicBezTo>
                    <a:pt x="223" y="115"/>
                    <a:pt x="224" y="115"/>
                    <a:pt x="224" y="115"/>
                  </a:cubicBezTo>
                  <a:cubicBezTo>
                    <a:pt x="224" y="115"/>
                    <a:pt x="224" y="115"/>
                    <a:pt x="224" y="114"/>
                  </a:cubicBezTo>
                  <a:cubicBezTo>
                    <a:pt x="225" y="114"/>
                    <a:pt x="226" y="114"/>
                    <a:pt x="227" y="114"/>
                  </a:cubicBezTo>
                  <a:cubicBezTo>
                    <a:pt x="227" y="114"/>
                    <a:pt x="227" y="114"/>
                    <a:pt x="227" y="114"/>
                  </a:cubicBezTo>
                  <a:cubicBezTo>
                    <a:pt x="228" y="114"/>
                    <a:pt x="229" y="113"/>
                    <a:pt x="230" y="113"/>
                  </a:cubicBezTo>
                  <a:cubicBezTo>
                    <a:pt x="231" y="113"/>
                    <a:pt x="235" y="113"/>
                    <a:pt x="237" y="113"/>
                  </a:cubicBezTo>
                  <a:cubicBezTo>
                    <a:pt x="237" y="113"/>
                    <a:pt x="237" y="113"/>
                    <a:pt x="237" y="113"/>
                  </a:cubicBezTo>
                  <a:cubicBezTo>
                    <a:pt x="238" y="113"/>
                    <a:pt x="238" y="114"/>
                    <a:pt x="239" y="114"/>
                  </a:cubicBezTo>
                  <a:cubicBezTo>
                    <a:pt x="239" y="114"/>
                    <a:pt x="240" y="115"/>
                    <a:pt x="240" y="116"/>
                  </a:cubicBezTo>
                  <a:cubicBezTo>
                    <a:pt x="240" y="118"/>
                    <a:pt x="240" y="119"/>
                    <a:pt x="240" y="120"/>
                  </a:cubicBezTo>
                  <a:cubicBezTo>
                    <a:pt x="240" y="124"/>
                    <a:pt x="239" y="128"/>
                    <a:pt x="238" y="131"/>
                  </a:cubicBezTo>
                  <a:cubicBezTo>
                    <a:pt x="238" y="132"/>
                    <a:pt x="238" y="133"/>
                    <a:pt x="238" y="134"/>
                  </a:cubicBezTo>
                  <a:cubicBezTo>
                    <a:pt x="238" y="134"/>
                    <a:pt x="238" y="134"/>
                    <a:pt x="238" y="134"/>
                  </a:cubicBezTo>
                  <a:cubicBezTo>
                    <a:pt x="238" y="134"/>
                    <a:pt x="238" y="135"/>
                    <a:pt x="238" y="135"/>
                  </a:cubicBezTo>
                  <a:cubicBezTo>
                    <a:pt x="238" y="135"/>
                    <a:pt x="237" y="135"/>
                    <a:pt x="237" y="135"/>
                  </a:cubicBezTo>
                  <a:cubicBezTo>
                    <a:pt x="237" y="136"/>
                    <a:pt x="237" y="136"/>
                    <a:pt x="237" y="137"/>
                  </a:cubicBezTo>
                  <a:cubicBezTo>
                    <a:pt x="237" y="137"/>
                    <a:pt x="237" y="137"/>
                    <a:pt x="237" y="137"/>
                  </a:cubicBezTo>
                  <a:cubicBezTo>
                    <a:pt x="237" y="137"/>
                    <a:pt x="237" y="138"/>
                    <a:pt x="237" y="138"/>
                  </a:cubicBezTo>
                  <a:cubicBezTo>
                    <a:pt x="237" y="138"/>
                    <a:pt x="237" y="138"/>
                    <a:pt x="237" y="138"/>
                  </a:cubicBezTo>
                  <a:cubicBezTo>
                    <a:pt x="237" y="139"/>
                    <a:pt x="237" y="139"/>
                    <a:pt x="237" y="140"/>
                  </a:cubicBezTo>
                  <a:cubicBezTo>
                    <a:pt x="236" y="140"/>
                    <a:pt x="236" y="140"/>
                    <a:pt x="236" y="140"/>
                  </a:cubicBezTo>
                  <a:cubicBezTo>
                    <a:pt x="236" y="140"/>
                    <a:pt x="236" y="140"/>
                    <a:pt x="236" y="141"/>
                  </a:cubicBezTo>
                  <a:cubicBezTo>
                    <a:pt x="236" y="141"/>
                    <a:pt x="236" y="141"/>
                    <a:pt x="236" y="141"/>
                  </a:cubicBezTo>
                  <a:cubicBezTo>
                    <a:pt x="236" y="141"/>
                    <a:pt x="236" y="142"/>
                    <a:pt x="236" y="142"/>
                  </a:cubicBezTo>
                  <a:cubicBezTo>
                    <a:pt x="236" y="142"/>
                    <a:pt x="236" y="142"/>
                    <a:pt x="236" y="142"/>
                  </a:cubicBezTo>
                  <a:cubicBezTo>
                    <a:pt x="236" y="142"/>
                    <a:pt x="236" y="143"/>
                    <a:pt x="236" y="143"/>
                  </a:cubicBezTo>
                  <a:cubicBezTo>
                    <a:pt x="235" y="143"/>
                    <a:pt x="235" y="143"/>
                    <a:pt x="235" y="143"/>
                  </a:cubicBezTo>
                  <a:cubicBezTo>
                    <a:pt x="235" y="144"/>
                    <a:pt x="235" y="144"/>
                    <a:pt x="235" y="144"/>
                  </a:cubicBezTo>
                  <a:cubicBezTo>
                    <a:pt x="233" y="147"/>
                    <a:pt x="231" y="149"/>
                    <a:pt x="228" y="151"/>
                  </a:cubicBezTo>
                  <a:cubicBezTo>
                    <a:pt x="228" y="151"/>
                    <a:pt x="228" y="152"/>
                    <a:pt x="228" y="152"/>
                  </a:cubicBezTo>
                  <a:cubicBezTo>
                    <a:pt x="227" y="153"/>
                    <a:pt x="226" y="153"/>
                    <a:pt x="225" y="154"/>
                  </a:cubicBezTo>
                  <a:cubicBezTo>
                    <a:pt x="225" y="155"/>
                    <a:pt x="225" y="155"/>
                    <a:pt x="225" y="155"/>
                  </a:cubicBezTo>
                  <a:cubicBezTo>
                    <a:pt x="225" y="156"/>
                    <a:pt x="224" y="156"/>
                    <a:pt x="223" y="157"/>
                  </a:cubicBezTo>
                  <a:cubicBezTo>
                    <a:pt x="223" y="157"/>
                    <a:pt x="223" y="157"/>
                    <a:pt x="223" y="157"/>
                  </a:cubicBezTo>
                  <a:cubicBezTo>
                    <a:pt x="223" y="158"/>
                    <a:pt x="222" y="158"/>
                    <a:pt x="222" y="158"/>
                  </a:cubicBezTo>
                  <a:cubicBezTo>
                    <a:pt x="222" y="159"/>
                    <a:pt x="222" y="159"/>
                    <a:pt x="222" y="159"/>
                  </a:cubicBezTo>
                  <a:cubicBezTo>
                    <a:pt x="222" y="159"/>
                    <a:pt x="221" y="160"/>
                    <a:pt x="221" y="160"/>
                  </a:cubicBezTo>
                  <a:cubicBezTo>
                    <a:pt x="221" y="160"/>
                    <a:pt x="221" y="160"/>
                    <a:pt x="221" y="161"/>
                  </a:cubicBezTo>
                  <a:cubicBezTo>
                    <a:pt x="220" y="161"/>
                    <a:pt x="220" y="161"/>
                    <a:pt x="220" y="161"/>
                  </a:cubicBezTo>
                  <a:cubicBezTo>
                    <a:pt x="220" y="162"/>
                    <a:pt x="220" y="162"/>
                    <a:pt x="220" y="162"/>
                  </a:cubicBezTo>
                  <a:cubicBezTo>
                    <a:pt x="220" y="162"/>
                    <a:pt x="219" y="162"/>
                    <a:pt x="219" y="162"/>
                  </a:cubicBezTo>
                  <a:cubicBezTo>
                    <a:pt x="219" y="163"/>
                    <a:pt x="219" y="163"/>
                    <a:pt x="219" y="163"/>
                  </a:cubicBezTo>
                  <a:cubicBezTo>
                    <a:pt x="219" y="163"/>
                    <a:pt x="219" y="163"/>
                    <a:pt x="218" y="163"/>
                  </a:cubicBezTo>
                  <a:cubicBezTo>
                    <a:pt x="218" y="164"/>
                    <a:pt x="218" y="164"/>
                    <a:pt x="218" y="164"/>
                  </a:cubicBezTo>
                  <a:cubicBezTo>
                    <a:pt x="218" y="164"/>
                    <a:pt x="218" y="164"/>
                    <a:pt x="218" y="164"/>
                  </a:cubicBezTo>
                  <a:cubicBezTo>
                    <a:pt x="216" y="167"/>
                    <a:pt x="216" y="170"/>
                    <a:pt x="216" y="175"/>
                  </a:cubicBezTo>
                  <a:cubicBezTo>
                    <a:pt x="216" y="176"/>
                    <a:pt x="216" y="177"/>
                    <a:pt x="216" y="179"/>
                  </a:cubicBezTo>
                  <a:cubicBezTo>
                    <a:pt x="216" y="179"/>
                    <a:pt x="216" y="179"/>
                    <a:pt x="216" y="179"/>
                  </a:cubicBezTo>
                  <a:cubicBezTo>
                    <a:pt x="216" y="180"/>
                    <a:pt x="217" y="182"/>
                    <a:pt x="217" y="183"/>
                  </a:cubicBezTo>
                  <a:cubicBezTo>
                    <a:pt x="217" y="183"/>
                    <a:pt x="217" y="183"/>
                    <a:pt x="217" y="183"/>
                  </a:cubicBezTo>
                  <a:cubicBezTo>
                    <a:pt x="217" y="184"/>
                    <a:pt x="217" y="184"/>
                    <a:pt x="217" y="185"/>
                  </a:cubicBezTo>
                  <a:cubicBezTo>
                    <a:pt x="217" y="185"/>
                    <a:pt x="217" y="185"/>
                    <a:pt x="217" y="185"/>
                  </a:cubicBezTo>
                  <a:cubicBezTo>
                    <a:pt x="217" y="186"/>
                    <a:pt x="217" y="188"/>
                    <a:pt x="217" y="189"/>
                  </a:cubicBezTo>
                  <a:cubicBezTo>
                    <a:pt x="217" y="192"/>
                    <a:pt x="218" y="197"/>
                    <a:pt x="217" y="199"/>
                  </a:cubicBezTo>
                  <a:cubicBezTo>
                    <a:pt x="217" y="202"/>
                    <a:pt x="217" y="204"/>
                    <a:pt x="217" y="206"/>
                  </a:cubicBezTo>
                  <a:cubicBezTo>
                    <a:pt x="217" y="206"/>
                    <a:pt x="216" y="206"/>
                    <a:pt x="216" y="206"/>
                  </a:cubicBezTo>
                  <a:cubicBezTo>
                    <a:pt x="216" y="207"/>
                    <a:pt x="216" y="208"/>
                    <a:pt x="216" y="208"/>
                  </a:cubicBezTo>
                  <a:cubicBezTo>
                    <a:pt x="216" y="208"/>
                    <a:pt x="216" y="208"/>
                    <a:pt x="216" y="208"/>
                  </a:cubicBezTo>
                  <a:cubicBezTo>
                    <a:pt x="216" y="208"/>
                    <a:pt x="216" y="209"/>
                    <a:pt x="216" y="209"/>
                  </a:cubicBezTo>
                  <a:cubicBezTo>
                    <a:pt x="216" y="209"/>
                    <a:pt x="216" y="209"/>
                    <a:pt x="216" y="209"/>
                  </a:cubicBezTo>
                  <a:cubicBezTo>
                    <a:pt x="216" y="210"/>
                    <a:pt x="216" y="210"/>
                    <a:pt x="216" y="210"/>
                  </a:cubicBezTo>
                  <a:cubicBezTo>
                    <a:pt x="215" y="210"/>
                    <a:pt x="215" y="210"/>
                    <a:pt x="215" y="210"/>
                  </a:cubicBezTo>
                  <a:cubicBezTo>
                    <a:pt x="215" y="211"/>
                    <a:pt x="215" y="211"/>
                    <a:pt x="215" y="212"/>
                  </a:cubicBezTo>
                  <a:cubicBezTo>
                    <a:pt x="215" y="212"/>
                    <a:pt x="215" y="212"/>
                    <a:pt x="215" y="212"/>
                  </a:cubicBezTo>
                  <a:cubicBezTo>
                    <a:pt x="215" y="212"/>
                    <a:pt x="215" y="212"/>
                    <a:pt x="215" y="213"/>
                  </a:cubicBezTo>
                  <a:cubicBezTo>
                    <a:pt x="214" y="213"/>
                    <a:pt x="214" y="213"/>
                    <a:pt x="214" y="213"/>
                  </a:cubicBezTo>
                  <a:cubicBezTo>
                    <a:pt x="214" y="213"/>
                    <a:pt x="214" y="213"/>
                    <a:pt x="214" y="213"/>
                  </a:cubicBezTo>
                  <a:cubicBezTo>
                    <a:pt x="214" y="213"/>
                    <a:pt x="214" y="213"/>
                    <a:pt x="214" y="213"/>
                  </a:cubicBezTo>
                  <a:cubicBezTo>
                    <a:pt x="214" y="214"/>
                    <a:pt x="214" y="214"/>
                    <a:pt x="214" y="214"/>
                  </a:cubicBezTo>
                  <a:cubicBezTo>
                    <a:pt x="214" y="214"/>
                    <a:pt x="213" y="214"/>
                    <a:pt x="213" y="214"/>
                  </a:cubicBezTo>
                  <a:cubicBezTo>
                    <a:pt x="213" y="215"/>
                    <a:pt x="213" y="215"/>
                    <a:pt x="213" y="215"/>
                  </a:cubicBezTo>
                  <a:cubicBezTo>
                    <a:pt x="213" y="215"/>
                    <a:pt x="213" y="215"/>
                    <a:pt x="213" y="215"/>
                  </a:cubicBezTo>
                  <a:cubicBezTo>
                    <a:pt x="213" y="215"/>
                    <a:pt x="213" y="216"/>
                    <a:pt x="213" y="216"/>
                  </a:cubicBezTo>
                  <a:cubicBezTo>
                    <a:pt x="213" y="216"/>
                    <a:pt x="213" y="216"/>
                    <a:pt x="212" y="216"/>
                  </a:cubicBezTo>
                  <a:cubicBezTo>
                    <a:pt x="212" y="216"/>
                    <a:pt x="212" y="216"/>
                    <a:pt x="212" y="217"/>
                  </a:cubicBezTo>
                  <a:cubicBezTo>
                    <a:pt x="212" y="217"/>
                    <a:pt x="212" y="217"/>
                    <a:pt x="212" y="217"/>
                  </a:cubicBezTo>
                  <a:cubicBezTo>
                    <a:pt x="212" y="217"/>
                    <a:pt x="212" y="217"/>
                    <a:pt x="212" y="217"/>
                  </a:cubicBezTo>
                  <a:cubicBezTo>
                    <a:pt x="212" y="217"/>
                    <a:pt x="212" y="217"/>
                    <a:pt x="211" y="218"/>
                  </a:cubicBezTo>
                  <a:cubicBezTo>
                    <a:pt x="211" y="218"/>
                    <a:pt x="211" y="219"/>
                    <a:pt x="211" y="220"/>
                  </a:cubicBezTo>
                  <a:cubicBezTo>
                    <a:pt x="210" y="220"/>
                    <a:pt x="210" y="220"/>
                    <a:pt x="210" y="220"/>
                  </a:cubicBezTo>
                  <a:cubicBezTo>
                    <a:pt x="210" y="221"/>
                    <a:pt x="210" y="221"/>
                    <a:pt x="210" y="221"/>
                  </a:cubicBezTo>
                  <a:cubicBezTo>
                    <a:pt x="209" y="222"/>
                    <a:pt x="209" y="222"/>
                    <a:pt x="209" y="222"/>
                  </a:cubicBezTo>
                  <a:cubicBezTo>
                    <a:pt x="209" y="222"/>
                    <a:pt x="209" y="222"/>
                    <a:pt x="209" y="222"/>
                  </a:cubicBezTo>
                  <a:cubicBezTo>
                    <a:pt x="209" y="222"/>
                    <a:pt x="209" y="222"/>
                    <a:pt x="209" y="222"/>
                  </a:cubicBezTo>
                  <a:cubicBezTo>
                    <a:pt x="209" y="223"/>
                    <a:pt x="209" y="223"/>
                    <a:pt x="209" y="223"/>
                  </a:cubicBezTo>
                  <a:cubicBezTo>
                    <a:pt x="208" y="223"/>
                    <a:pt x="208" y="223"/>
                    <a:pt x="208" y="223"/>
                  </a:cubicBezTo>
                  <a:cubicBezTo>
                    <a:pt x="208" y="224"/>
                    <a:pt x="208" y="224"/>
                    <a:pt x="208" y="224"/>
                  </a:cubicBezTo>
                  <a:cubicBezTo>
                    <a:pt x="208" y="224"/>
                    <a:pt x="207" y="224"/>
                    <a:pt x="207" y="225"/>
                  </a:cubicBezTo>
                  <a:cubicBezTo>
                    <a:pt x="207" y="225"/>
                    <a:pt x="207" y="226"/>
                    <a:pt x="207" y="226"/>
                  </a:cubicBezTo>
                  <a:cubicBezTo>
                    <a:pt x="207" y="226"/>
                    <a:pt x="206" y="226"/>
                    <a:pt x="206" y="226"/>
                  </a:cubicBezTo>
                  <a:cubicBezTo>
                    <a:pt x="206" y="227"/>
                    <a:pt x="206" y="227"/>
                    <a:pt x="206" y="227"/>
                  </a:cubicBezTo>
                  <a:cubicBezTo>
                    <a:pt x="206" y="227"/>
                    <a:pt x="206" y="227"/>
                    <a:pt x="205" y="227"/>
                  </a:cubicBezTo>
                  <a:cubicBezTo>
                    <a:pt x="205" y="228"/>
                    <a:pt x="205" y="228"/>
                    <a:pt x="205" y="229"/>
                  </a:cubicBezTo>
                  <a:cubicBezTo>
                    <a:pt x="205" y="229"/>
                    <a:pt x="205" y="229"/>
                    <a:pt x="205" y="229"/>
                  </a:cubicBezTo>
                  <a:cubicBezTo>
                    <a:pt x="205" y="229"/>
                    <a:pt x="205" y="229"/>
                    <a:pt x="204" y="230"/>
                  </a:cubicBezTo>
                  <a:cubicBezTo>
                    <a:pt x="204" y="230"/>
                    <a:pt x="204" y="230"/>
                    <a:pt x="204" y="230"/>
                  </a:cubicBezTo>
                  <a:cubicBezTo>
                    <a:pt x="204" y="231"/>
                    <a:pt x="203" y="231"/>
                    <a:pt x="203" y="232"/>
                  </a:cubicBezTo>
                  <a:cubicBezTo>
                    <a:pt x="203" y="232"/>
                    <a:pt x="203" y="232"/>
                    <a:pt x="203" y="232"/>
                  </a:cubicBezTo>
                  <a:cubicBezTo>
                    <a:pt x="203" y="232"/>
                    <a:pt x="203" y="232"/>
                    <a:pt x="203" y="233"/>
                  </a:cubicBezTo>
                  <a:cubicBezTo>
                    <a:pt x="202" y="233"/>
                    <a:pt x="202" y="233"/>
                    <a:pt x="202" y="233"/>
                  </a:cubicBezTo>
                  <a:cubicBezTo>
                    <a:pt x="202" y="233"/>
                    <a:pt x="202" y="233"/>
                    <a:pt x="202" y="234"/>
                  </a:cubicBezTo>
                  <a:cubicBezTo>
                    <a:pt x="202" y="234"/>
                    <a:pt x="201" y="234"/>
                    <a:pt x="201" y="234"/>
                  </a:cubicBezTo>
                  <a:cubicBezTo>
                    <a:pt x="201" y="234"/>
                    <a:pt x="201" y="235"/>
                    <a:pt x="201" y="235"/>
                  </a:cubicBezTo>
                  <a:cubicBezTo>
                    <a:pt x="201" y="236"/>
                    <a:pt x="200" y="236"/>
                    <a:pt x="200" y="236"/>
                  </a:cubicBezTo>
                  <a:cubicBezTo>
                    <a:pt x="200" y="236"/>
                    <a:pt x="200" y="236"/>
                    <a:pt x="200" y="236"/>
                  </a:cubicBezTo>
                  <a:cubicBezTo>
                    <a:pt x="200" y="237"/>
                    <a:pt x="200" y="237"/>
                    <a:pt x="199" y="237"/>
                  </a:cubicBezTo>
                  <a:cubicBezTo>
                    <a:pt x="199" y="237"/>
                    <a:pt x="199" y="238"/>
                    <a:pt x="199" y="238"/>
                  </a:cubicBezTo>
                  <a:cubicBezTo>
                    <a:pt x="199" y="238"/>
                    <a:pt x="199" y="238"/>
                    <a:pt x="198" y="239"/>
                  </a:cubicBezTo>
                  <a:cubicBezTo>
                    <a:pt x="198" y="239"/>
                    <a:pt x="198" y="240"/>
                    <a:pt x="198" y="240"/>
                  </a:cubicBezTo>
                  <a:cubicBezTo>
                    <a:pt x="198" y="240"/>
                    <a:pt x="198" y="240"/>
                    <a:pt x="197" y="240"/>
                  </a:cubicBezTo>
                  <a:cubicBezTo>
                    <a:pt x="197" y="241"/>
                    <a:pt x="197" y="241"/>
                    <a:pt x="197" y="241"/>
                  </a:cubicBezTo>
                  <a:cubicBezTo>
                    <a:pt x="197" y="241"/>
                    <a:pt x="197" y="241"/>
                    <a:pt x="197" y="241"/>
                  </a:cubicBezTo>
                  <a:cubicBezTo>
                    <a:pt x="197" y="242"/>
                    <a:pt x="197" y="242"/>
                    <a:pt x="196" y="243"/>
                  </a:cubicBezTo>
                  <a:cubicBezTo>
                    <a:pt x="196" y="243"/>
                    <a:pt x="196" y="243"/>
                    <a:pt x="196" y="243"/>
                  </a:cubicBezTo>
                  <a:cubicBezTo>
                    <a:pt x="196" y="244"/>
                    <a:pt x="196" y="244"/>
                    <a:pt x="196" y="244"/>
                  </a:cubicBezTo>
                  <a:cubicBezTo>
                    <a:pt x="195" y="246"/>
                    <a:pt x="194" y="247"/>
                    <a:pt x="194" y="250"/>
                  </a:cubicBezTo>
                  <a:cubicBezTo>
                    <a:pt x="194" y="251"/>
                    <a:pt x="195" y="251"/>
                    <a:pt x="196" y="252"/>
                  </a:cubicBezTo>
                  <a:cubicBezTo>
                    <a:pt x="196" y="252"/>
                    <a:pt x="196" y="252"/>
                    <a:pt x="196" y="252"/>
                  </a:cubicBezTo>
                  <a:cubicBezTo>
                    <a:pt x="196" y="252"/>
                    <a:pt x="196" y="252"/>
                    <a:pt x="196" y="252"/>
                  </a:cubicBezTo>
                  <a:cubicBezTo>
                    <a:pt x="196" y="252"/>
                    <a:pt x="197" y="252"/>
                    <a:pt x="197" y="253"/>
                  </a:cubicBezTo>
                  <a:cubicBezTo>
                    <a:pt x="197" y="253"/>
                    <a:pt x="197" y="253"/>
                    <a:pt x="197" y="253"/>
                  </a:cubicBezTo>
                  <a:cubicBezTo>
                    <a:pt x="197" y="253"/>
                    <a:pt x="197" y="253"/>
                    <a:pt x="197" y="253"/>
                  </a:cubicBezTo>
                  <a:cubicBezTo>
                    <a:pt x="198" y="253"/>
                    <a:pt x="198" y="253"/>
                    <a:pt x="198" y="253"/>
                  </a:cubicBezTo>
                  <a:cubicBezTo>
                    <a:pt x="198" y="253"/>
                    <a:pt x="198" y="253"/>
                    <a:pt x="198" y="253"/>
                  </a:cubicBezTo>
                  <a:cubicBezTo>
                    <a:pt x="198" y="253"/>
                    <a:pt x="199" y="253"/>
                    <a:pt x="199" y="253"/>
                  </a:cubicBezTo>
                  <a:cubicBezTo>
                    <a:pt x="199" y="253"/>
                    <a:pt x="199" y="253"/>
                    <a:pt x="199" y="254"/>
                  </a:cubicBezTo>
                  <a:cubicBezTo>
                    <a:pt x="200" y="254"/>
                    <a:pt x="200" y="254"/>
                    <a:pt x="201" y="254"/>
                  </a:cubicBezTo>
                  <a:cubicBezTo>
                    <a:pt x="201" y="254"/>
                    <a:pt x="201" y="254"/>
                    <a:pt x="201" y="254"/>
                  </a:cubicBezTo>
                  <a:cubicBezTo>
                    <a:pt x="202" y="255"/>
                    <a:pt x="203" y="255"/>
                    <a:pt x="204" y="255"/>
                  </a:cubicBezTo>
                  <a:cubicBezTo>
                    <a:pt x="204" y="255"/>
                    <a:pt x="204" y="255"/>
                    <a:pt x="204" y="255"/>
                  </a:cubicBezTo>
                  <a:cubicBezTo>
                    <a:pt x="204" y="255"/>
                    <a:pt x="204" y="255"/>
                    <a:pt x="205" y="255"/>
                  </a:cubicBezTo>
                  <a:cubicBezTo>
                    <a:pt x="205" y="255"/>
                    <a:pt x="205" y="256"/>
                    <a:pt x="205" y="256"/>
                  </a:cubicBezTo>
                  <a:cubicBezTo>
                    <a:pt x="205" y="256"/>
                    <a:pt x="205" y="256"/>
                    <a:pt x="206" y="256"/>
                  </a:cubicBezTo>
                  <a:cubicBezTo>
                    <a:pt x="206" y="256"/>
                    <a:pt x="206" y="256"/>
                    <a:pt x="206" y="256"/>
                  </a:cubicBezTo>
                  <a:cubicBezTo>
                    <a:pt x="206" y="256"/>
                    <a:pt x="206" y="256"/>
                    <a:pt x="207" y="256"/>
                  </a:cubicBezTo>
                  <a:cubicBezTo>
                    <a:pt x="207" y="256"/>
                    <a:pt x="207" y="256"/>
                    <a:pt x="207" y="256"/>
                  </a:cubicBezTo>
                  <a:cubicBezTo>
                    <a:pt x="207" y="256"/>
                    <a:pt x="208" y="256"/>
                    <a:pt x="208" y="256"/>
                  </a:cubicBezTo>
                  <a:cubicBezTo>
                    <a:pt x="208" y="257"/>
                    <a:pt x="208" y="257"/>
                    <a:pt x="208" y="257"/>
                  </a:cubicBezTo>
                  <a:cubicBezTo>
                    <a:pt x="208" y="257"/>
                    <a:pt x="209" y="257"/>
                    <a:pt x="209" y="257"/>
                  </a:cubicBezTo>
                  <a:cubicBezTo>
                    <a:pt x="209" y="257"/>
                    <a:pt x="209" y="257"/>
                    <a:pt x="209" y="257"/>
                  </a:cubicBezTo>
                  <a:cubicBezTo>
                    <a:pt x="210" y="257"/>
                    <a:pt x="210" y="257"/>
                    <a:pt x="211" y="257"/>
                  </a:cubicBezTo>
                  <a:cubicBezTo>
                    <a:pt x="211" y="258"/>
                    <a:pt x="211" y="258"/>
                    <a:pt x="211" y="258"/>
                  </a:cubicBezTo>
                  <a:cubicBezTo>
                    <a:pt x="211" y="258"/>
                    <a:pt x="212" y="258"/>
                    <a:pt x="212" y="258"/>
                  </a:cubicBezTo>
                  <a:cubicBezTo>
                    <a:pt x="212" y="258"/>
                    <a:pt x="212" y="258"/>
                    <a:pt x="212" y="258"/>
                  </a:cubicBezTo>
                  <a:cubicBezTo>
                    <a:pt x="213" y="258"/>
                    <a:pt x="214" y="259"/>
                    <a:pt x="215" y="259"/>
                  </a:cubicBezTo>
                  <a:cubicBezTo>
                    <a:pt x="215" y="259"/>
                    <a:pt x="215" y="259"/>
                    <a:pt x="215" y="259"/>
                  </a:cubicBezTo>
                  <a:cubicBezTo>
                    <a:pt x="216" y="259"/>
                    <a:pt x="216" y="260"/>
                    <a:pt x="217" y="260"/>
                  </a:cubicBezTo>
                  <a:cubicBezTo>
                    <a:pt x="217" y="260"/>
                    <a:pt x="217" y="260"/>
                    <a:pt x="217" y="260"/>
                  </a:cubicBezTo>
                  <a:cubicBezTo>
                    <a:pt x="217" y="260"/>
                    <a:pt x="217" y="260"/>
                    <a:pt x="218" y="260"/>
                  </a:cubicBezTo>
                  <a:cubicBezTo>
                    <a:pt x="218" y="260"/>
                    <a:pt x="218" y="260"/>
                    <a:pt x="218" y="261"/>
                  </a:cubicBezTo>
                  <a:cubicBezTo>
                    <a:pt x="218" y="261"/>
                    <a:pt x="219" y="261"/>
                    <a:pt x="219" y="261"/>
                  </a:cubicBezTo>
                  <a:cubicBezTo>
                    <a:pt x="219" y="261"/>
                    <a:pt x="219" y="261"/>
                    <a:pt x="219" y="262"/>
                  </a:cubicBezTo>
                  <a:cubicBezTo>
                    <a:pt x="220" y="262"/>
                    <a:pt x="220" y="262"/>
                    <a:pt x="220" y="262"/>
                  </a:cubicBezTo>
                  <a:cubicBezTo>
                    <a:pt x="220" y="262"/>
                    <a:pt x="220" y="262"/>
                    <a:pt x="220" y="263"/>
                  </a:cubicBezTo>
                  <a:cubicBezTo>
                    <a:pt x="221" y="263"/>
                    <a:pt x="221" y="263"/>
                    <a:pt x="222" y="263"/>
                  </a:cubicBezTo>
                  <a:cubicBezTo>
                    <a:pt x="222" y="264"/>
                    <a:pt x="222" y="264"/>
                    <a:pt x="222" y="265"/>
                  </a:cubicBezTo>
                  <a:cubicBezTo>
                    <a:pt x="222" y="265"/>
                    <a:pt x="222" y="265"/>
                    <a:pt x="222" y="265"/>
                  </a:cubicBezTo>
                  <a:cubicBezTo>
                    <a:pt x="222" y="265"/>
                    <a:pt x="222" y="266"/>
                    <a:pt x="223" y="266"/>
                  </a:cubicBezTo>
                  <a:cubicBezTo>
                    <a:pt x="223" y="266"/>
                    <a:pt x="223" y="266"/>
                    <a:pt x="223" y="266"/>
                  </a:cubicBezTo>
                  <a:cubicBezTo>
                    <a:pt x="223" y="267"/>
                    <a:pt x="223" y="267"/>
                    <a:pt x="223" y="268"/>
                  </a:cubicBezTo>
                  <a:cubicBezTo>
                    <a:pt x="223" y="268"/>
                    <a:pt x="224" y="268"/>
                    <a:pt x="224" y="268"/>
                  </a:cubicBezTo>
                  <a:cubicBezTo>
                    <a:pt x="224" y="268"/>
                    <a:pt x="224" y="269"/>
                    <a:pt x="224" y="269"/>
                  </a:cubicBezTo>
                  <a:cubicBezTo>
                    <a:pt x="224" y="269"/>
                    <a:pt x="224" y="269"/>
                    <a:pt x="224" y="269"/>
                  </a:cubicBezTo>
                  <a:cubicBezTo>
                    <a:pt x="224" y="269"/>
                    <a:pt x="224" y="270"/>
                    <a:pt x="224" y="270"/>
                  </a:cubicBezTo>
                  <a:cubicBezTo>
                    <a:pt x="224" y="270"/>
                    <a:pt x="224" y="270"/>
                    <a:pt x="224" y="270"/>
                  </a:cubicBezTo>
                  <a:cubicBezTo>
                    <a:pt x="224" y="271"/>
                    <a:pt x="225" y="272"/>
                    <a:pt x="225" y="273"/>
                  </a:cubicBezTo>
                  <a:cubicBezTo>
                    <a:pt x="225" y="273"/>
                    <a:pt x="225" y="273"/>
                    <a:pt x="225" y="273"/>
                  </a:cubicBezTo>
                  <a:cubicBezTo>
                    <a:pt x="225" y="274"/>
                    <a:pt x="225" y="274"/>
                    <a:pt x="225" y="275"/>
                  </a:cubicBezTo>
                  <a:cubicBezTo>
                    <a:pt x="225" y="275"/>
                    <a:pt x="226" y="275"/>
                    <a:pt x="226" y="275"/>
                  </a:cubicBezTo>
                  <a:cubicBezTo>
                    <a:pt x="226" y="276"/>
                    <a:pt x="226" y="277"/>
                    <a:pt x="226" y="278"/>
                  </a:cubicBezTo>
                  <a:cubicBezTo>
                    <a:pt x="226" y="278"/>
                    <a:pt x="226" y="278"/>
                    <a:pt x="226" y="278"/>
                  </a:cubicBezTo>
                  <a:cubicBezTo>
                    <a:pt x="226" y="278"/>
                    <a:pt x="226" y="278"/>
                    <a:pt x="226" y="279"/>
                  </a:cubicBezTo>
                  <a:cubicBezTo>
                    <a:pt x="227" y="279"/>
                    <a:pt x="227" y="279"/>
                    <a:pt x="227" y="279"/>
                  </a:cubicBezTo>
                  <a:cubicBezTo>
                    <a:pt x="227" y="279"/>
                    <a:pt x="227" y="279"/>
                    <a:pt x="227" y="280"/>
                  </a:cubicBezTo>
                  <a:cubicBezTo>
                    <a:pt x="227" y="280"/>
                    <a:pt x="227" y="280"/>
                    <a:pt x="227" y="280"/>
                  </a:cubicBezTo>
                  <a:cubicBezTo>
                    <a:pt x="227" y="281"/>
                    <a:pt x="227" y="281"/>
                    <a:pt x="227" y="282"/>
                  </a:cubicBezTo>
                  <a:cubicBezTo>
                    <a:pt x="228" y="282"/>
                    <a:pt x="228" y="282"/>
                    <a:pt x="228" y="282"/>
                  </a:cubicBezTo>
                  <a:cubicBezTo>
                    <a:pt x="228" y="283"/>
                    <a:pt x="228" y="283"/>
                    <a:pt x="228" y="284"/>
                  </a:cubicBezTo>
                  <a:cubicBezTo>
                    <a:pt x="228" y="284"/>
                    <a:pt x="228" y="284"/>
                    <a:pt x="229" y="284"/>
                  </a:cubicBezTo>
                  <a:cubicBezTo>
                    <a:pt x="229" y="284"/>
                    <a:pt x="229" y="284"/>
                    <a:pt x="229" y="284"/>
                  </a:cubicBezTo>
                  <a:cubicBezTo>
                    <a:pt x="229" y="284"/>
                    <a:pt x="229" y="284"/>
                    <a:pt x="229" y="284"/>
                  </a:cubicBezTo>
                  <a:cubicBezTo>
                    <a:pt x="229" y="285"/>
                    <a:pt x="229" y="285"/>
                    <a:pt x="229" y="285"/>
                  </a:cubicBezTo>
                  <a:cubicBezTo>
                    <a:pt x="229" y="285"/>
                    <a:pt x="229" y="285"/>
                    <a:pt x="229" y="285"/>
                  </a:cubicBezTo>
                  <a:cubicBezTo>
                    <a:pt x="229" y="286"/>
                    <a:pt x="230" y="287"/>
                    <a:pt x="230" y="288"/>
                  </a:cubicBezTo>
                  <a:cubicBezTo>
                    <a:pt x="230" y="288"/>
                    <a:pt x="230" y="288"/>
                    <a:pt x="230" y="288"/>
                  </a:cubicBezTo>
                  <a:cubicBezTo>
                    <a:pt x="231" y="288"/>
                    <a:pt x="231" y="289"/>
                    <a:pt x="231" y="290"/>
                  </a:cubicBezTo>
                  <a:cubicBezTo>
                    <a:pt x="231" y="290"/>
                    <a:pt x="231" y="290"/>
                    <a:pt x="231" y="290"/>
                  </a:cubicBezTo>
                  <a:cubicBezTo>
                    <a:pt x="231" y="290"/>
                    <a:pt x="232" y="290"/>
                    <a:pt x="232" y="291"/>
                  </a:cubicBezTo>
                  <a:cubicBezTo>
                    <a:pt x="232" y="291"/>
                    <a:pt x="232" y="291"/>
                    <a:pt x="232" y="291"/>
                  </a:cubicBezTo>
                  <a:cubicBezTo>
                    <a:pt x="232" y="291"/>
                    <a:pt x="232" y="291"/>
                    <a:pt x="232" y="292"/>
                  </a:cubicBezTo>
                  <a:cubicBezTo>
                    <a:pt x="232" y="292"/>
                    <a:pt x="233" y="292"/>
                    <a:pt x="233" y="292"/>
                  </a:cubicBezTo>
                  <a:cubicBezTo>
                    <a:pt x="233" y="292"/>
                    <a:pt x="233" y="292"/>
                    <a:pt x="233" y="293"/>
                  </a:cubicBezTo>
                  <a:cubicBezTo>
                    <a:pt x="233" y="293"/>
                    <a:pt x="234" y="293"/>
                    <a:pt x="234" y="293"/>
                  </a:cubicBezTo>
                  <a:cubicBezTo>
                    <a:pt x="234" y="293"/>
                    <a:pt x="234" y="294"/>
                    <a:pt x="234" y="294"/>
                  </a:cubicBezTo>
                  <a:cubicBezTo>
                    <a:pt x="234" y="294"/>
                    <a:pt x="234" y="294"/>
                    <a:pt x="235" y="295"/>
                  </a:cubicBezTo>
                  <a:cubicBezTo>
                    <a:pt x="235" y="295"/>
                    <a:pt x="235" y="295"/>
                    <a:pt x="235" y="295"/>
                  </a:cubicBezTo>
                  <a:cubicBezTo>
                    <a:pt x="235" y="296"/>
                    <a:pt x="236" y="296"/>
                    <a:pt x="236" y="296"/>
                  </a:cubicBezTo>
                  <a:cubicBezTo>
                    <a:pt x="236" y="297"/>
                    <a:pt x="236" y="297"/>
                    <a:pt x="236" y="297"/>
                  </a:cubicBezTo>
                  <a:cubicBezTo>
                    <a:pt x="237" y="297"/>
                    <a:pt x="237" y="298"/>
                    <a:pt x="238" y="298"/>
                  </a:cubicBezTo>
                  <a:cubicBezTo>
                    <a:pt x="238" y="298"/>
                    <a:pt x="238" y="298"/>
                    <a:pt x="238" y="299"/>
                  </a:cubicBezTo>
                  <a:cubicBezTo>
                    <a:pt x="238" y="299"/>
                    <a:pt x="239" y="300"/>
                    <a:pt x="240" y="300"/>
                  </a:cubicBezTo>
                  <a:cubicBezTo>
                    <a:pt x="240" y="301"/>
                    <a:pt x="240" y="301"/>
                    <a:pt x="240" y="301"/>
                  </a:cubicBezTo>
                  <a:cubicBezTo>
                    <a:pt x="241" y="302"/>
                    <a:pt x="242" y="303"/>
                    <a:pt x="243" y="304"/>
                  </a:cubicBezTo>
                  <a:cubicBezTo>
                    <a:pt x="243" y="304"/>
                    <a:pt x="243" y="304"/>
                    <a:pt x="243" y="304"/>
                  </a:cubicBezTo>
                  <a:cubicBezTo>
                    <a:pt x="244" y="306"/>
                    <a:pt x="246" y="307"/>
                    <a:pt x="247" y="309"/>
                  </a:cubicBezTo>
                  <a:cubicBezTo>
                    <a:pt x="247" y="309"/>
                    <a:pt x="247" y="309"/>
                    <a:pt x="247" y="309"/>
                  </a:cubicBezTo>
                  <a:cubicBezTo>
                    <a:pt x="248" y="310"/>
                    <a:pt x="248" y="310"/>
                    <a:pt x="249" y="311"/>
                  </a:cubicBezTo>
                  <a:cubicBezTo>
                    <a:pt x="251" y="313"/>
                    <a:pt x="253" y="315"/>
                    <a:pt x="255" y="318"/>
                  </a:cubicBezTo>
                  <a:cubicBezTo>
                    <a:pt x="256" y="318"/>
                    <a:pt x="256" y="319"/>
                    <a:pt x="257" y="319"/>
                  </a:cubicBezTo>
                  <a:cubicBezTo>
                    <a:pt x="257" y="319"/>
                    <a:pt x="257" y="320"/>
                    <a:pt x="257" y="320"/>
                  </a:cubicBezTo>
                  <a:cubicBezTo>
                    <a:pt x="257" y="321"/>
                    <a:pt x="258" y="321"/>
                    <a:pt x="258" y="321"/>
                  </a:cubicBezTo>
                  <a:cubicBezTo>
                    <a:pt x="258" y="322"/>
                    <a:pt x="259" y="323"/>
                    <a:pt x="259" y="324"/>
                  </a:cubicBezTo>
                  <a:cubicBezTo>
                    <a:pt x="259" y="324"/>
                    <a:pt x="259" y="324"/>
                    <a:pt x="259" y="324"/>
                  </a:cubicBezTo>
                  <a:cubicBezTo>
                    <a:pt x="259" y="324"/>
                    <a:pt x="260" y="325"/>
                    <a:pt x="260" y="325"/>
                  </a:cubicBezTo>
                  <a:cubicBezTo>
                    <a:pt x="260" y="325"/>
                    <a:pt x="260" y="325"/>
                    <a:pt x="260" y="325"/>
                  </a:cubicBezTo>
                  <a:cubicBezTo>
                    <a:pt x="260" y="326"/>
                    <a:pt x="260" y="326"/>
                    <a:pt x="260" y="326"/>
                  </a:cubicBezTo>
                  <a:cubicBezTo>
                    <a:pt x="260" y="326"/>
                    <a:pt x="260" y="326"/>
                    <a:pt x="260" y="326"/>
                  </a:cubicBezTo>
                  <a:cubicBezTo>
                    <a:pt x="260" y="327"/>
                    <a:pt x="260" y="327"/>
                    <a:pt x="260" y="327"/>
                  </a:cubicBezTo>
                  <a:cubicBezTo>
                    <a:pt x="260" y="327"/>
                    <a:pt x="261" y="327"/>
                    <a:pt x="261" y="327"/>
                  </a:cubicBezTo>
                  <a:cubicBezTo>
                    <a:pt x="261" y="327"/>
                    <a:pt x="261" y="328"/>
                    <a:pt x="261" y="328"/>
                  </a:cubicBezTo>
                  <a:cubicBezTo>
                    <a:pt x="261" y="328"/>
                    <a:pt x="261" y="328"/>
                    <a:pt x="261" y="328"/>
                  </a:cubicBezTo>
                  <a:cubicBezTo>
                    <a:pt x="261" y="328"/>
                    <a:pt x="261" y="329"/>
                    <a:pt x="261" y="329"/>
                  </a:cubicBezTo>
                  <a:cubicBezTo>
                    <a:pt x="261" y="329"/>
                    <a:pt x="261" y="329"/>
                    <a:pt x="261" y="329"/>
                  </a:cubicBezTo>
                  <a:cubicBezTo>
                    <a:pt x="261" y="329"/>
                    <a:pt x="261" y="330"/>
                    <a:pt x="261" y="330"/>
                  </a:cubicBezTo>
                  <a:cubicBezTo>
                    <a:pt x="262" y="330"/>
                    <a:pt x="262" y="330"/>
                    <a:pt x="262" y="330"/>
                  </a:cubicBezTo>
                  <a:cubicBezTo>
                    <a:pt x="262" y="330"/>
                    <a:pt x="262" y="331"/>
                    <a:pt x="262" y="331"/>
                  </a:cubicBezTo>
                  <a:cubicBezTo>
                    <a:pt x="262" y="331"/>
                    <a:pt x="262" y="331"/>
                    <a:pt x="262" y="331"/>
                  </a:cubicBezTo>
                  <a:cubicBezTo>
                    <a:pt x="262" y="331"/>
                    <a:pt x="262" y="332"/>
                    <a:pt x="262" y="332"/>
                  </a:cubicBezTo>
                  <a:cubicBezTo>
                    <a:pt x="262" y="332"/>
                    <a:pt x="262" y="332"/>
                    <a:pt x="262" y="332"/>
                  </a:cubicBezTo>
                  <a:cubicBezTo>
                    <a:pt x="262" y="332"/>
                    <a:pt x="262" y="333"/>
                    <a:pt x="262" y="333"/>
                  </a:cubicBezTo>
                  <a:cubicBezTo>
                    <a:pt x="263" y="333"/>
                    <a:pt x="263" y="333"/>
                    <a:pt x="263" y="333"/>
                  </a:cubicBezTo>
                  <a:cubicBezTo>
                    <a:pt x="263" y="335"/>
                    <a:pt x="264" y="337"/>
                    <a:pt x="264" y="339"/>
                  </a:cubicBezTo>
                  <a:cubicBezTo>
                    <a:pt x="264" y="339"/>
                    <a:pt x="264" y="339"/>
                    <a:pt x="264" y="339"/>
                  </a:cubicBezTo>
                  <a:cubicBezTo>
                    <a:pt x="265" y="341"/>
                    <a:pt x="264" y="344"/>
                    <a:pt x="264" y="345"/>
                  </a:cubicBezTo>
                  <a:cubicBezTo>
                    <a:pt x="263" y="348"/>
                    <a:pt x="261" y="349"/>
                    <a:pt x="259" y="351"/>
                  </a:cubicBezTo>
                  <a:cubicBezTo>
                    <a:pt x="259" y="351"/>
                    <a:pt x="258" y="352"/>
                    <a:pt x="258" y="352"/>
                  </a:cubicBezTo>
                  <a:cubicBezTo>
                    <a:pt x="258" y="352"/>
                    <a:pt x="257" y="352"/>
                    <a:pt x="257" y="352"/>
                  </a:cubicBezTo>
                  <a:cubicBezTo>
                    <a:pt x="257" y="353"/>
                    <a:pt x="257" y="353"/>
                    <a:pt x="256" y="354"/>
                  </a:cubicBezTo>
                  <a:cubicBezTo>
                    <a:pt x="256" y="354"/>
                    <a:pt x="256" y="354"/>
                    <a:pt x="255" y="354"/>
                  </a:cubicBezTo>
                  <a:cubicBezTo>
                    <a:pt x="255" y="354"/>
                    <a:pt x="255" y="355"/>
                    <a:pt x="254" y="355"/>
                  </a:cubicBezTo>
                  <a:cubicBezTo>
                    <a:pt x="254" y="355"/>
                    <a:pt x="254" y="355"/>
                    <a:pt x="253" y="355"/>
                  </a:cubicBezTo>
                  <a:cubicBezTo>
                    <a:pt x="253" y="356"/>
                    <a:pt x="253" y="356"/>
                    <a:pt x="253" y="356"/>
                  </a:cubicBezTo>
                  <a:cubicBezTo>
                    <a:pt x="253" y="356"/>
                    <a:pt x="253" y="356"/>
                    <a:pt x="252" y="356"/>
                  </a:cubicBezTo>
                  <a:cubicBezTo>
                    <a:pt x="251" y="357"/>
                    <a:pt x="251" y="358"/>
                    <a:pt x="250" y="359"/>
                  </a:cubicBezTo>
                  <a:cubicBezTo>
                    <a:pt x="250" y="359"/>
                    <a:pt x="249" y="359"/>
                    <a:pt x="249" y="360"/>
                  </a:cubicBezTo>
                  <a:cubicBezTo>
                    <a:pt x="249" y="360"/>
                    <a:pt x="249" y="360"/>
                    <a:pt x="249" y="360"/>
                  </a:cubicBezTo>
                  <a:cubicBezTo>
                    <a:pt x="249" y="360"/>
                    <a:pt x="249" y="360"/>
                    <a:pt x="248" y="360"/>
                  </a:cubicBezTo>
                  <a:cubicBezTo>
                    <a:pt x="248" y="361"/>
                    <a:pt x="248" y="361"/>
                    <a:pt x="248" y="361"/>
                  </a:cubicBezTo>
                  <a:cubicBezTo>
                    <a:pt x="248" y="364"/>
                    <a:pt x="248" y="366"/>
                    <a:pt x="248" y="367"/>
                  </a:cubicBezTo>
                  <a:cubicBezTo>
                    <a:pt x="249" y="367"/>
                    <a:pt x="249" y="367"/>
                    <a:pt x="249" y="367"/>
                  </a:cubicBezTo>
                  <a:cubicBezTo>
                    <a:pt x="249" y="368"/>
                    <a:pt x="249" y="368"/>
                    <a:pt x="249" y="368"/>
                  </a:cubicBezTo>
                  <a:cubicBezTo>
                    <a:pt x="249" y="368"/>
                    <a:pt x="249" y="368"/>
                    <a:pt x="249" y="368"/>
                  </a:cubicBezTo>
                  <a:cubicBezTo>
                    <a:pt x="249" y="369"/>
                    <a:pt x="249" y="369"/>
                    <a:pt x="249" y="369"/>
                  </a:cubicBezTo>
                  <a:cubicBezTo>
                    <a:pt x="249" y="369"/>
                    <a:pt x="249" y="369"/>
                    <a:pt x="250" y="369"/>
                  </a:cubicBezTo>
                  <a:cubicBezTo>
                    <a:pt x="250" y="369"/>
                    <a:pt x="250" y="370"/>
                    <a:pt x="250" y="370"/>
                  </a:cubicBezTo>
                  <a:cubicBezTo>
                    <a:pt x="250" y="370"/>
                    <a:pt x="250" y="370"/>
                    <a:pt x="250" y="370"/>
                  </a:cubicBezTo>
                  <a:cubicBezTo>
                    <a:pt x="250" y="371"/>
                    <a:pt x="250" y="371"/>
                    <a:pt x="250" y="371"/>
                  </a:cubicBezTo>
                  <a:cubicBezTo>
                    <a:pt x="250" y="371"/>
                    <a:pt x="250" y="371"/>
                    <a:pt x="251" y="371"/>
                  </a:cubicBezTo>
                  <a:cubicBezTo>
                    <a:pt x="251" y="372"/>
                    <a:pt x="251" y="372"/>
                    <a:pt x="251" y="373"/>
                  </a:cubicBezTo>
                  <a:cubicBezTo>
                    <a:pt x="251" y="373"/>
                    <a:pt x="251" y="373"/>
                    <a:pt x="251" y="373"/>
                  </a:cubicBezTo>
                  <a:cubicBezTo>
                    <a:pt x="251" y="373"/>
                    <a:pt x="251" y="373"/>
                    <a:pt x="251" y="374"/>
                  </a:cubicBezTo>
                  <a:cubicBezTo>
                    <a:pt x="251" y="374"/>
                    <a:pt x="251" y="374"/>
                    <a:pt x="252" y="374"/>
                  </a:cubicBezTo>
                  <a:cubicBezTo>
                    <a:pt x="252" y="375"/>
                    <a:pt x="252" y="375"/>
                    <a:pt x="252" y="376"/>
                  </a:cubicBezTo>
                  <a:cubicBezTo>
                    <a:pt x="252" y="376"/>
                    <a:pt x="253" y="376"/>
                    <a:pt x="253" y="376"/>
                  </a:cubicBezTo>
                  <a:cubicBezTo>
                    <a:pt x="253" y="376"/>
                    <a:pt x="253" y="376"/>
                    <a:pt x="253" y="377"/>
                  </a:cubicBezTo>
                  <a:cubicBezTo>
                    <a:pt x="253" y="377"/>
                    <a:pt x="253" y="377"/>
                    <a:pt x="253" y="377"/>
                  </a:cubicBezTo>
                  <a:cubicBezTo>
                    <a:pt x="253" y="377"/>
                    <a:pt x="253" y="377"/>
                    <a:pt x="253" y="378"/>
                  </a:cubicBezTo>
                  <a:cubicBezTo>
                    <a:pt x="253" y="378"/>
                    <a:pt x="253" y="378"/>
                    <a:pt x="253" y="378"/>
                  </a:cubicBezTo>
                  <a:cubicBezTo>
                    <a:pt x="253" y="378"/>
                    <a:pt x="254" y="379"/>
                    <a:pt x="254" y="379"/>
                  </a:cubicBezTo>
                  <a:cubicBezTo>
                    <a:pt x="254" y="379"/>
                    <a:pt x="254" y="379"/>
                    <a:pt x="254" y="379"/>
                  </a:cubicBezTo>
                  <a:cubicBezTo>
                    <a:pt x="254" y="380"/>
                    <a:pt x="254" y="380"/>
                    <a:pt x="254" y="381"/>
                  </a:cubicBezTo>
                  <a:cubicBezTo>
                    <a:pt x="255" y="381"/>
                    <a:pt x="255" y="381"/>
                    <a:pt x="255" y="381"/>
                  </a:cubicBezTo>
                  <a:cubicBezTo>
                    <a:pt x="255" y="381"/>
                    <a:pt x="255" y="381"/>
                    <a:pt x="255" y="382"/>
                  </a:cubicBezTo>
                  <a:cubicBezTo>
                    <a:pt x="255" y="382"/>
                    <a:pt x="255" y="382"/>
                    <a:pt x="255" y="382"/>
                  </a:cubicBezTo>
                  <a:cubicBezTo>
                    <a:pt x="255" y="382"/>
                    <a:pt x="255" y="382"/>
                    <a:pt x="255" y="382"/>
                  </a:cubicBezTo>
                  <a:cubicBezTo>
                    <a:pt x="256" y="382"/>
                    <a:pt x="256" y="382"/>
                    <a:pt x="256" y="382"/>
                  </a:cubicBezTo>
                  <a:cubicBezTo>
                    <a:pt x="256" y="383"/>
                    <a:pt x="256" y="383"/>
                    <a:pt x="256" y="383"/>
                  </a:cubicBezTo>
                  <a:cubicBezTo>
                    <a:pt x="256" y="383"/>
                    <a:pt x="256" y="383"/>
                    <a:pt x="256" y="383"/>
                  </a:cubicBezTo>
                  <a:cubicBezTo>
                    <a:pt x="256" y="383"/>
                    <a:pt x="256" y="383"/>
                    <a:pt x="256" y="384"/>
                  </a:cubicBezTo>
                  <a:cubicBezTo>
                    <a:pt x="256" y="384"/>
                    <a:pt x="256" y="384"/>
                    <a:pt x="257" y="384"/>
                  </a:cubicBezTo>
                  <a:cubicBezTo>
                    <a:pt x="257" y="384"/>
                    <a:pt x="257" y="384"/>
                    <a:pt x="257" y="384"/>
                  </a:cubicBezTo>
                  <a:cubicBezTo>
                    <a:pt x="257" y="384"/>
                    <a:pt x="257" y="384"/>
                    <a:pt x="257" y="384"/>
                  </a:cubicBezTo>
                  <a:cubicBezTo>
                    <a:pt x="257" y="385"/>
                    <a:pt x="257" y="385"/>
                    <a:pt x="257" y="385"/>
                  </a:cubicBezTo>
                  <a:cubicBezTo>
                    <a:pt x="257" y="385"/>
                    <a:pt x="257" y="385"/>
                    <a:pt x="257" y="385"/>
                  </a:cubicBezTo>
                  <a:cubicBezTo>
                    <a:pt x="257" y="385"/>
                    <a:pt x="257" y="386"/>
                    <a:pt x="257" y="386"/>
                  </a:cubicBezTo>
                  <a:cubicBezTo>
                    <a:pt x="257" y="386"/>
                    <a:pt x="257" y="386"/>
                    <a:pt x="258" y="386"/>
                  </a:cubicBezTo>
                  <a:cubicBezTo>
                    <a:pt x="258" y="386"/>
                    <a:pt x="258" y="386"/>
                    <a:pt x="258" y="387"/>
                  </a:cubicBezTo>
                  <a:cubicBezTo>
                    <a:pt x="258" y="387"/>
                    <a:pt x="258" y="387"/>
                    <a:pt x="258" y="387"/>
                  </a:cubicBezTo>
                  <a:cubicBezTo>
                    <a:pt x="258" y="387"/>
                    <a:pt x="258" y="387"/>
                    <a:pt x="258" y="387"/>
                  </a:cubicBezTo>
                  <a:cubicBezTo>
                    <a:pt x="258" y="387"/>
                    <a:pt x="258" y="387"/>
                    <a:pt x="258" y="387"/>
                  </a:cubicBezTo>
                  <a:cubicBezTo>
                    <a:pt x="258" y="387"/>
                    <a:pt x="258" y="388"/>
                    <a:pt x="258" y="388"/>
                  </a:cubicBezTo>
                  <a:cubicBezTo>
                    <a:pt x="258" y="388"/>
                    <a:pt x="259" y="388"/>
                    <a:pt x="259" y="388"/>
                  </a:cubicBezTo>
                  <a:cubicBezTo>
                    <a:pt x="259" y="388"/>
                    <a:pt x="259" y="389"/>
                    <a:pt x="259" y="389"/>
                  </a:cubicBezTo>
                  <a:cubicBezTo>
                    <a:pt x="259" y="389"/>
                    <a:pt x="259" y="389"/>
                    <a:pt x="259" y="389"/>
                  </a:cubicBezTo>
                  <a:cubicBezTo>
                    <a:pt x="259" y="389"/>
                    <a:pt x="259" y="389"/>
                    <a:pt x="259" y="390"/>
                  </a:cubicBezTo>
                  <a:cubicBezTo>
                    <a:pt x="259" y="390"/>
                    <a:pt x="260" y="390"/>
                    <a:pt x="260" y="390"/>
                  </a:cubicBezTo>
                  <a:cubicBezTo>
                    <a:pt x="260" y="390"/>
                    <a:pt x="260" y="390"/>
                    <a:pt x="260" y="390"/>
                  </a:cubicBezTo>
                  <a:cubicBezTo>
                    <a:pt x="260" y="390"/>
                    <a:pt x="260" y="390"/>
                    <a:pt x="260" y="390"/>
                  </a:cubicBezTo>
                  <a:cubicBezTo>
                    <a:pt x="260" y="391"/>
                    <a:pt x="260" y="391"/>
                    <a:pt x="260" y="391"/>
                  </a:cubicBezTo>
                  <a:cubicBezTo>
                    <a:pt x="260" y="391"/>
                    <a:pt x="260" y="391"/>
                    <a:pt x="260" y="391"/>
                  </a:cubicBezTo>
                  <a:cubicBezTo>
                    <a:pt x="260" y="391"/>
                    <a:pt x="260" y="392"/>
                    <a:pt x="260" y="392"/>
                  </a:cubicBezTo>
                  <a:cubicBezTo>
                    <a:pt x="261" y="392"/>
                    <a:pt x="261" y="392"/>
                    <a:pt x="261" y="392"/>
                  </a:cubicBezTo>
                  <a:cubicBezTo>
                    <a:pt x="261" y="393"/>
                    <a:pt x="261" y="393"/>
                    <a:pt x="261" y="394"/>
                  </a:cubicBezTo>
                  <a:cubicBezTo>
                    <a:pt x="262" y="394"/>
                    <a:pt x="262" y="394"/>
                    <a:pt x="262" y="394"/>
                  </a:cubicBezTo>
                  <a:cubicBezTo>
                    <a:pt x="262" y="394"/>
                    <a:pt x="262" y="394"/>
                    <a:pt x="262" y="394"/>
                  </a:cubicBezTo>
                  <a:cubicBezTo>
                    <a:pt x="262" y="394"/>
                    <a:pt x="262" y="394"/>
                    <a:pt x="262" y="394"/>
                  </a:cubicBezTo>
                  <a:cubicBezTo>
                    <a:pt x="262" y="394"/>
                    <a:pt x="262" y="395"/>
                    <a:pt x="262" y="395"/>
                  </a:cubicBezTo>
                  <a:cubicBezTo>
                    <a:pt x="262" y="395"/>
                    <a:pt x="263" y="395"/>
                    <a:pt x="263" y="395"/>
                  </a:cubicBezTo>
                  <a:cubicBezTo>
                    <a:pt x="263" y="395"/>
                    <a:pt x="263" y="396"/>
                    <a:pt x="263" y="396"/>
                  </a:cubicBezTo>
                  <a:cubicBezTo>
                    <a:pt x="263" y="396"/>
                    <a:pt x="263" y="396"/>
                    <a:pt x="263" y="396"/>
                  </a:cubicBezTo>
                  <a:cubicBezTo>
                    <a:pt x="263" y="396"/>
                    <a:pt x="263" y="396"/>
                    <a:pt x="263" y="397"/>
                  </a:cubicBezTo>
                  <a:cubicBezTo>
                    <a:pt x="263" y="397"/>
                    <a:pt x="263" y="397"/>
                    <a:pt x="264" y="397"/>
                  </a:cubicBezTo>
                  <a:cubicBezTo>
                    <a:pt x="264" y="397"/>
                    <a:pt x="264" y="397"/>
                    <a:pt x="264" y="397"/>
                  </a:cubicBezTo>
                  <a:cubicBezTo>
                    <a:pt x="264" y="397"/>
                    <a:pt x="264" y="397"/>
                    <a:pt x="264" y="397"/>
                  </a:cubicBezTo>
                  <a:cubicBezTo>
                    <a:pt x="264" y="398"/>
                    <a:pt x="264" y="398"/>
                    <a:pt x="264" y="398"/>
                  </a:cubicBezTo>
                  <a:cubicBezTo>
                    <a:pt x="264" y="398"/>
                    <a:pt x="264" y="398"/>
                    <a:pt x="265" y="398"/>
                  </a:cubicBezTo>
                  <a:cubicBezTo>
                    <a:pt x="265" y="399"/>
                    <a:pt x="265" y="400"/>
                    <a:pt x="265" y="400"/>
                  </a:cubicBezTo>
                  <a:cubicBezTo>
                    <a:pt x="265" y="401"/>
                    <a:pt x="266" y="401"/>
                    <a:pt x="266" y="401"/>
                  </a:cubicBezTo>
                  <a:cubicBezTo>
                    <a:pt x="266" y="402"/>
                    <a:pt x="266" y="402"/>
                    <a:pt x="267" y="403"/>
                  </a:cubicBezTo>
                  <a:cubicBezTo>
                    <a:pt x="267" y="403"/>
                    <a:pt x="267" y="403"/>
                    <a:pt x="267" y="403"/>
                  </a:cubicBezTo>
                  <a:cubicBezTo>
                    <a:pt x="268" y="404"/>
                    <a:pt x="268" y="405"/>
                    <a:pt x="268" y="405"/>
                  </a:cubicBezTo>
                  <a:cubicBezTo>
                    <a:pt x="268" y="406"/>
                    <a:pt x="269" y="406"/>
                    <a:pt x="269" y="406"/>
                  </a:cubicBezTo>
                  <a:cubicBezTo>
                    <a:pt x="269" y="406"/>
                    <a:pt x="269" y="406"/>
                    <a:pt x="269" y="406"/>
                  </a:cubicBezTo>
                  <a:cubicBezTo>
                    <a:pt x="269" y="406"/>
                    <a:pt x="269" y="406"/>
                    <a:pt x="269" y="406"/>
                  </a:cubicBezTo>
                  <a:cubicBezTo>
                    <a:pt x="269" y="407"/>
                    <a:pt x="269" y="407"/>
                    <a:pt x="269" y="407"/>
                  </a:cubicBezTo>
                  <a:cubicBezTo>
                    <a:pt x="269" y="407"/>
                    <a:pt x="269" y="407"/>
                    <a:pt x="269" y="407"/>
                  </a:cubicBezTo>
                  <a:cubicBezTo>
                    <a:pt x="269" y="408"/>
                    <a:pt x="269" y="408"/>
                    <a:pt x="269" y="408"/>
                  </a:cubicBezTo>
                  <a:cubicBezTo>
                    <a:pt x="270" y="408"/>
                    <a:pt x="270" y="408"/>
                    <a:pt x="270" y="408"/>
                  </a:cubicBezTo>
                  <a:cubicBezTo>
                    <a:pt x="270" y="409"/>
                    <a:pt x="270" y="409"/>
                    <a:pt x="270" y="410"/>
                  </a:cubicBezTo>
                  <a:cubicBezTo>
                    <a:pt x="270" y="410"/>
                    <a:pt x="270" y="410"/>
                    <a:pt x="270" y="410"/>
                  </a:cubicBezTo>
                  <a:cubicBezTo>
                    <a:pt x="270" y="410"/>
                    <a:pt x="270" y="411"/>
                    <a:pt x="270" y="411"/>
                  </a:cubicBezTo>
                  <a:cubicBezTo>
                    <a:pt x="271" y="411"/>
                    <a:pt x="271" y="411"/>
                    <a:pt x="271" y="411"/>
                  </a:cubicBezTo>
                  <a:cubicBezTo>
                    <a:pt x="271" y="411"/>
                    <a:pt x="271" y="411"/>
                    <a:pt x="271" y="412"/>
                  </a:cubicBezTo>
                  <a:cubicBezTo>
                    <a:pt x="271" y="412"/>
                    <a:pt x="271" y="412"/>
                    <a:pt x="271" y="412"/>
                  </a:cubicBezTo>
                  <a:cubicBezTo>
                    <a:pt x="271" y="412"/>
                    <a:pt x="271" y="412"/>
                    <a:pt x="271" y="413"/>
                  </a:cubicBezTo>
                  <a:cubicBezTo>
                    <a:pt x="271" y="413"/>
                    <a:pt x="271" y="413"/>
                    <a:pt x="272" y="413"/>
                  </a:cubicBezTo>
                  <a:cubicBezTo>
                    <a:pt x="272" y="413"/>
                    <a:pt x="272" y="413"/>
                    <a:pt x="272" y="413"/>
                  </a:cubicBezTo>
                  <a:cubicBezTo>
                    <a:pt x="272" y="413"/>
                    <a:pt x="272" y="413"/>
                    <a:pt x="272" y="413"/>
                  </a:cubicBezTo>
                  <a:cubicBezTo>
                    <a:pt x="272" y="414"/>
                    <a:pt x="272" y="414"/>
                    <a:pt x="272" y="414"/>
                  </a:cubicBezTo>
                  <a:cubicBezTo>
                    <a:pt x="272" y="414"/>
                    <a:pt x="272" y="414"/>
                    <a:pt x="272" y="414"/>
                  </a:cubicBezTo>
                  <a:cubicBezTo>
                    <a:pt x="272" y="415"/>
                    <a:pt x="272" y="415"/>
                    <a:pt x="273" y="416"/>
                  </a:cubicBezTo>
                  <a:cubicBezTo>
                    <a:pt x="273" y="416"/>
                    <a:pt x="273" y="416"/>
                    <a:pt x="273" y="416"/>
                  </a:cubicBezTo>
                  <a:cubicBezTo>
                    <a:pt x="273" y="416"/>
                    <a:pt x="273" y="417"/>
                    <a:pt x="273" y="417"/>
                  </a:cubicBezTo>
                  <a:cubicBezTo>
                    <a:pt x="273" y="417"/>
                    <a:pt x="273" y="417"/>
                    <a:pt x="273" y="417"/>
                  </a:cubicBezTo>
                  <a:cubicBezTo>
                    <a:pt x="273" y="417"/>
                    <a:pt x="273" y="417"/>
                    <a:pt x="273" y="418"/>
                  </a:cubicBezTo>
                  <a:cubicBezTo>
                    <a:pt x="273" y="418"/>
                    <a:pt x="274" y="418"/>
                    <a:pt x="274" y="418"/>
                  </a:cubicBezTo>
                  <a:cubicBezTo>
                    <a:pt x="274" y="418"/>
                    <a:pt x="274" y="419"/>
                    <a:pt x="274" y="419"/>
                  </a:cubicBezTo>
                  <a:cubicBezTo>
                    <a:pt x="274" y="419"/>
                    <a:pt x="274" y="419"/>
                    <a:pt x="274" y="419"/>
                  </a:cubicBezTo>
                  <a:cubicBezTo>
                    <a:pt x="274" y="420"/>
                    <a:pt x="274" y="420"/>
                    <a:pt x="274" y="420"/>
                  </a:cubicBezTo>
                  <a:cubicBezTo>
                    <a:pt x="274" y="420"/>
                    <a:pt x="275" y="420"/>
                    <a:pt x="275" y="420"/>
                  </a:cubicBezTo>
                  <a:cubicBezTo>
                    <a:pt x="275" y="421"/>
                    <a:pt x="275" y="421"/>
                    <a:pt x="275" y="421"/>
                  </a:cubicBezTo>
                  <a:cubicBezTo>
                    <a:pt x="275" y="421"/>
                    <a:pt x="275" y="421"/>
                    <a:pt x="275" y="421"/>
                  </a:cubicBezTo>
                  <a:cubicBezTo>
                    <a:pt x="275" y="421"/>
                    <a:pt x="275" y="422"/>
                    <a:pt x="275" y="422"/>
                  </a:cubicBezTo>
                  <a:cubicBezTo>
                    <a:pt x="275" y="422"/>
                    <a:pt x="275" y="422"/>
                    <a:pt x="275" y="422"/>
                  </a:cubicBezTo>
                  <a:cubicBezTo>
                    <a:pt x="275" y="422"/>
                    <a:pt x="275" y="423"/>
                    <a:pt x="275" y="423"/>
                  </a:cubicBezTo>
                  <a:cubicBezTo>
                    <a:pt x="276" y="423"/>
                    <a:pt x="276" y="423"/>
                    <a:pt x="276" y="423"/>
                  </a:cubicBezTo>
                  <a:cubicBezTo>
                    <a:pt x="276" y="423"/>
                    <a:pt x="276" y="424"/>
                    <a:pt x="276" y="424"/>
                  </a:cubicBezTo>
                  <a:cubicBezTo>
                    <a:pt x="276" y="424"/>
                    <a:pt x="276" y="424"/>
                    <a:pt x="276" y="424"/>
                  </a:cubicBezTo>
                  <a:cubicBezTo>
                    <a:pt x="276" y="424"/>
                    <a:pt x="276" y="424"/>
                    <a:pt x="276" y="425"/>
                  </a:cubicBezTo>
                  <a:cubicBezTo>
                    <a:pt x="276" y="425"/>
                    <a:pt x="276" y="425"/>
                    <a:pt x="276" y="425"/>
                  </a:cubicBezTo>
                  <a:cubicBezTo>
                    <a:pt x="276" y="425"/>
                    <a:pt x="276" y="425"/>
                    <a:pt x="276" y="426"/>
                  </a:cubicBezTo>
                  <a:cubicBezTo>
                    <a:pt x="277" y="426"/>
                    <a:pt x="277" y="426"/>
                    <a:pt x="277" y="426"/>
                  </a:cubicBezTo>
                  <a:cubicBezTo>
                    <a:pt x="277" y="426"/>
                    <a:pt x="277" y="427"/>
                    <a:pt x="277" y="427"/>
                  </a:cubicBezTo>
                  <a:cubicBezTo>
                    <a:pt x="277" y="427"/>
                    <a:pt x="277" y="427"/>
                    <a:pt x="277" y="427"/>
                  </a:cubicBezTo>
                  <a:cubicBezTo>
                    <a:pt x="277" y="427"/>
                    <a:pt x="277" y="428"/>
                    <a:pt x="277" y="428"/>
                  </a:cubicBezTo>
                  <a:cubicBezTo>
                    <a:pt x="278" y="428"/>
                    <a:pt x="278" y="428"/>
                    <a:pt x="278" y="428"/>
                  </a:cubicBezTo>
                  <a:cubicBezTo>
                    <a:pt x="278" y="428"/>
                    <a:pt x="278" y="429"/>
                    <a:pt x="278" y="429"/>
                  </a:cubicBezTo>
                  <a:cubicBezTo>
                    <a:pt x="278" y="429"/>
                    <a:pt x="278" y="429"/>
                    <a:pt x="278" y="429"/>
                  </a:cubicBezTo>
                  <a:cubicBezTo>
                    <a:pt x="278" y="429"/>
                    <a:pt x="278" y="430"/>
                    <a:pt x="278" y="430"/>
                  </a:cubicBezTo>
                  <a:cubicBezTo>
                    <a:pt x="278" y="430"/>
                    <a:pt x="278" y="430"/>
                    <a:pt x="279" y="430"/>
                  </a:cubicBezTo>
                  <a:cubicBezTo>
                    <a:pt x="280" y="440"/>
                    <a:pt x="281" y="450"/>
                    <a:pt x="282" y="460"/>
                  </a:cubicBezTo>
                  <a:cubicBezTo>
                    <a:pt x="282" y="460"/>
                    <a:pt x="282" y="460"/>
                    <a:pt x="282" y="460"/>
                  </a:cubicBezTo>
                  <a:cubicBezTo>
                    <a:pt x="283" y="460"/>
                    <a:pt x="283" y="461"/>
                    <a:pt x="283" y="462"/>
                  </a:cubicBezTo>
                  <a:cubicBezTo>
                    <a:pt x="283" y="462"/>
                    <a:pt x="283" y="462"/>
                    <a:pt x="283" y="462"/>
                  </a:cubicBezTo>
                  <a:cubicBezTo>
                    <a:pt x="283" y="462"/>
                    <a:pt x="283" y="462"/>
                    <a:pt x="283" y="462"/>
                  </a:cubicBezTo>
                  <a:cubicBezTo>
                    <a:pt x="284" y="462"/>
                    <a:pt x="284" y="462"/>
                    <a:pt x="284" y="462"/>
                  </a:cubicBezTo>
                  <a:cubicBezTo>
                    <a:pt x="284" y="463"/>
                    <a:pt x="284" y="463"/>
                    <a:pt x="284" y="463"/>
                  </a:cubicBezTo>
                  <a:cubicBezTo>
                    <a:pt x="284" y="463"/>
                    <a:pt x="284" y="463"/>
                    <a:pt x="284" y="463"/>
                  </a:cubicBezTo>
                  <a:cubicBezTo>
                    <a:pt x="284" y="464"/>
                    <a:pt x="285" y="465"/>
                    <a:pt x="285" y="466"/>
                  </a:cubicBezTo>
                  <a:cubicBezTo>
                    <a:pt x="285" y="466"/>
                    <a:pt x="285" y="466"/>
                    <a:pt x="285" y="466"/>
                  </a:cubicBezTo>
                  <a:cubicBezTo>
                    <a:pt x="285" y="466"/>
                    <a:pt x="285" y="466"/>
                    <a:pt x="285" y="466"/>
                  </a:cubicBezTo>
                  <a:cubicBezTo>
                    <a:pt x="285" y="466"/>
                    <a:pt x="285" y="466"/>
                    <a:pt x="286" y="466"/>
                  </a:cubicBezTo>
                  <a:cubicBezTo>
                    <a:pt x="286" y="466"/>
                    <a:pt x="286" y="467"/>
                    <a:pt x="286" y="467"/>
                  </a:cubicBezTo>
                  <a:cubicBezTo>
                    <a:pt x="286" y="467"/>
                    <a:pt x="286" y="467"/>
                    <a:pt x="286" y="467"/>
                  </a:cubicBezTo>
                  <a:cubicBezTo>
                    <a:pt x="286" y="467"/>
                    <a:pt x="286" y="467"/>
                    <a:pt x="286" y="468"/>
                  </a:cubicBezTo>
                  <a:cubicBezTo>
                    <a:pt x="286" y="468"/>
                    <a:pt x="286" y="468"/>
                    <a:pt x="286" y="468"/>
                  </a:cubicBezTo>
                  <a:cubicBezTo>
                    <a:pt x="286" y="468"/>
                    <a:pt x="286" y="469"/>
                    <a:pt x="287" y="469"/>
                  </a:cubicBezTo>
                  <a:cubicBezTo>
                    <a:pt x="287" y="469"/>
                    <a:pt x="287" y="469"/>
                    <a:pt x="287" y="469"/>
                  </a:cubicBezTo>
                  <a:cubicBezTo>
                    <a:pt x="287" y="470"/>
                    <a:pt x="288" y="471"/>
                    <a:pt x="288" y="472"/>
                  </a:cubicBezTo>
                  <a:cubicBezTo>
                    <a:pt x="288" y="472"/>
                    <a:pt x="288" y="472"/>
                    <a:pt x="288" y="472"/>
                  </a:cubicBezTo>
                  <a:cubicBezTo>
                    <a:pt x="288" y="473"/>
                    <a:pt x="289" y="473"/>
                    <a:pt x="289" y="474"/>
                  </a:cubicBezTo>
                  <a:cubicBezTo>
                    <a:pt x="289" y="474"/>
                    <a:pt x="289" y="474"/>
                    <a:pt x="289" y="474"/>
                  </a:cubicBezTo>
                  <a:cubicBezTo>
                    <a:pt x="289" y="474"/>
                    <a:pt x="289" y="474"/>
                    <a:pt x="289" y="475"/>
                  </a:cubicBezTo>
                  <a:cubicBezTo>
                    <a:pt x="289" y="475"/>
                    <a:pt x="289" y="475"/>
                    <a:pt x="289" y="475"/>
                  </a:cubicBezTo>
                  <a:cubicBezTo>
                    <a:pt x="290" y="475"/>
                    <a:pt x="290" y="476"/>
                    <a:pt x="290" y="477"/>
                  </a:cubicBezTo>
                  <a:cubicBezTo>
                    <a:pt x="290" y="477"/>
                    <a:pt x="290" y="477"/>
                    <a:pt x="290" y="477"/>
                  </a:cubicBezTo>
                  <a:cubicBezTo>
                    <a:pt x="290" y="477"/>
                    <a:pt x="290" y="477"/>
                    <a:pt x="290" y="477"/>
                  </a:cubicBezTo>
                  <a:cubicBezTo>
                    <a:pt x="291" y="477"/>
                    <a:pt x="291" y="477"/>
                    <a:pt x="291" y="477"/>
                  </a:cubicBezTo>
                  <a:cubicBezTo>
                    <a:pt x="291" y="478"/>
                    <a:pt x="291" y="478"/>
                    <a:pt x="291" y="478"/>
                  </a:cubicBezTo>
                  <a:cubicBezTo>
                    <a:pt x="291" y="478"/>
                    <a:pt x="291" y="478"/>
                    <a:pt x="291" y="478"/>
                  </a:cubicBezTo>
                  <a:cubicBezTo>
                    <a:pt x="291" y="479"/>
                    <a:pt x="291" y="479"/>
                    <a:pt x="291" y="480"/>
                  </a:cubicBezTo>
                  <a:cubicBezTo>
                    <a:pt x="292" y="480"/>
                    <a:pt x="292" y="480"/>
                    <a:pt x="292" y="480"/>
                  </a:cubicBezTo>
                  <a:cubicBezTo>
                    <a:pt x="292" y="480"/>
                    <a:pt x="292" y="480"/>
                    <a:pt x="292" y="481"/>
                  </a:cubicBezTo>
                  <a:cubicBezTo>
                    <a:pt x="292" y="481"/>
                    <a:pt x="292" y="481"/>
                    <a:pt x="292" y="481"/>
                  </a:cubicBezTo>
                  <a:cubicBezTo>
                    <a:pt x="292" y="481"/>
                    <a:pt x="292" y="481"/>
                    <a:pt x="292" y="482"/>
                  </a:cubicBezTo>
                  <a:cubicBezTo>
                    <a:pt x="292" y="482"/>
                    <a:pt x="292" y="482"/>
                    <a:pt x="293" y="482"/>
                  </a:cubicBezTo>
                  <a:cubicBezTo>
                    <a:pt x="293" y="482"/>
                    <a:pt x="293" y="483"/>
                    <a:pt x="293" y="483"/>
                  </a:cubicBezTo>
                  <a:cubicBezTo>
                    <a:pt x="293" y="483"/>
                    <a:pt x="293" y="483"/>
                    <a:pt x="293" y="483"/>
                  </a:cubicBezTo>
                  <a:cubicBezTo>
                    <a:pt x="293" y="483"/>
                    <a:pt x="293" y="484"/>
                    <a:pt x="293" y="484"/>
                  </a:cubicBezTo>
                  <a:cubicBezTo>
                    <a:pt x="293" y="484"/>
                    <a:pt x="293" y="484"/>
                    <a:pt x="294" y="484"/>
                  </a:cubicBezTo>
                  <a:cubicBezTo>
                    <a:pt x="294" y="485"/>
                    <a:pt x="294" y="485"/>
                    <a:pt x="294" y="485"/>
                  </a:cubicBezTo>
                  <a:cubicBezTo>
                    <a:pt x="294" y="485"/>
                    <a:pt x="294" y="485"/>
                    <a:pt x="294" y="485"/>
                  </a:cubicBezTo>
                  <a:cubicBezTo>
                    <a:pt x="294" y="486"/>
                    <a:pt x="294" y="486"/>
                    <a:pt x="294" y="487"/>
                  </a:cubicBezTo>
                  <a:cubicBezTo>
                    <a:pt x="294" y="487"/>
                    <a:pt x="295" y="487"/>
                    <a:pt x="295" y="487"/>
                  </a:cubicBezTo>
                  <a:cubicBezTo>
                    <a:pt x="295" y="487"/>
                    <a:pt x="295" y="487"/>
                    <a:pt x="295" y="488"/>
                  </a:cubicBezTo>
                  <a:cubicBezTo>
                    <a:pt x="295" y="488"/>
                    <a:pt x="295" y="488"/>
                    <a:pt x="295" y="488"/>
                  </a:cubicBezTo>
                  <a:cubicBezTo>
                    <a:pt x="295" y="488"/>
                    <a:pt x="295" y="489"/>
                    <a:pt x="295" y="489"/>
                  </a:cubicBezTo>
                  <a:cubicBezTo>
                    <a:pt x="295" y="489"/>
                    <a:pt x="296" y="489"/>
                    <a:pt x="296" y="489"/>
                  </a:cubicBezTo>
                  <a:cubicBezTo>
                    <a:pt x="296" y="489"/>
                    <a:pt x="296" y="489"/>
                    <a:pt x="296" y="490"/>
                  </a:cubicBezTo>
                  <a:cubicBezTo>
                    <a:pt x="296" y="490"/>
                    <a:pt x="296" y="490"/>
                    <a:pt x="296" y="490"/>
                  </a:cubicBezTo>
                  <a:cubicBezTo>
                    <a:pt x="296" y="490"/>
                    <a:pt x="296" y="491"/>
                    <a:pt x="296" y="492"/>
                  </a:cubicBezTo>
                  <a:cubicBezTo>
                    <a:pt x="296" y="492"/>
                    <a:pt x="297" y="492"/>
                    <a:pt x="297" y="492"/>
                  </a:cubicBezTo>
                  <a:cubicBezTo>
                    <a:pt x="297" y="492"/>
                    <a:pt x="297" y="492"/>
                    <a:pt x="297" y="492"/>
                  </a:cubicBezTo>
                  <a:cubicBezTo>
                    <a:pt x="297" y="492"/>
                    <a:pt x="297" y="492"/>
                    <a:pt x="297" y="492"/>
                  </a:cubicBezTo>
                  <a:cubicBezTo>
                    <a:pt x="297" y="493"/>
                    <a:pt x="297" y="494"/>
                    <a:pt x="297" y="495"/>
                  </a:cubicBezTo>
                  <a:cubicBezTo>
                    <a:pt x="298" y="495"/>
                    <a:pt x="298" y="495"/>
                    <a:pt x="298" y="495"/>
                  </a:cubicBezTo>
                  <a:cubicBezTo>
                    <a:pt x="298" y="495"/>
                    <a:pt x="298" y="495"/>
                    <a:pt x="298" y="495"/>
                  </a:cubicBezTo>
                  <a:cubicBezTo>
                    <a:pt x="298" y="495"/>
                    <a:pt x="298" y="495"/>
                    <a:pt x="298" y="495"/>
                  </a:cubicBezTo>
                  <a:cubicBezTo>
                    <a:pt x="298" y="496"/>
                    <a:pt x="298" y="496"/>
                    <a:pt x="298" y="496"/>
                  </a:cubicBezTo>
                  <a:cubicBezTo>
                    <a:pt x="298" y="496"/>
                    <a:pt x="298" y="496"/>
                    <a:pt x="298" y="496"/>
                  </a:cubicBezTo>
                  <a:cubicBezTo>
                    <a:pt x="299" y="497"/>
                    <a:pt x="299" y="498"/>
                    <a:pt x="299" y="499"/>
                  </a:cubicBezTo>
                  <a:cubicBezTo>
                    <a:pt x="299" y="499"/>
                    <a:pt x="299" y="499"/>
                    <a:pt x="299" y="499"/>
                  </a:cubicBezTo>
                  <a:cubicBezTo>
                    <a:pt x="299" y="499"/>
                    <a:pt x="299" y="499"/>
                    <a:pt x="299" y="500"/>
                  </a:cubicBezTo>
                  <a:cubicBezTo>
                    <a:pt x="300" y="502"/>
                    <a:pt x="301" y="504"/>
                    <a:pt x="298" y="505"/>
                  </a:cubicBezTo>
                  <a:cubicBezTo>
                    <a:pt x="298" y="505"/>
                    <a:pt x="293" y="506"/>
                    <a:pt x="291" y="505"/>
                  </a:cubicBezTo>
                  <a:cubicBezTo>
                    <a:pt x="291" y="505"/>
                    <a:pt x="291" y="505"/>
                    <a:pt x="291" y="505"/>
                  </a:cubicBezTo>
                  <a:cubicBezTo>
                    <a:pt x="290" y="505"/>
                    <a:pt x="289" y="505"/>
                    <a:pt x="289" y="505"/>
                  </a:cubicBezTo>
                  <a:cubicBezTo>
                    <a:pt x="286" y="504"/>
                    <a:pt x="282" y="504"/>
                    <a:pt x="279" y="503"/>
                  </a:cubicBezTo>
                  <a:cubicBezTo>
                    <a:pt x="279" y="503"/>
                    <a:pt x="278" y="503"/>
                    <a:pt x="278" y="503"/>
                  </a:cubicBezTo>
                  <a:cubicBezTo>
                    <a:pt x="278" y="503"/>
                    <a:pt x="278" y="502"/>
                    <a:pt x="278" y="502"/>
                  </a:cubicBezTo>
                  <a:cubicBezTo>
                    <a:pt x="277" y="502"/>
                    <a:pt x="276" y="502"/>
                    <a:pt x="275" y="502"/>
                  </a:cubicBezTo>
                  <a:cubicBezTo>
                    <a:pt x="275" y="501"/>
                    <a:pt x="275" y="501"/>
                    <a:pt x="275" y="501"/>
                  </a:cubicBezTo>
                  <a:cubicBezTo>
                    <a:pt x="275" y="501"/>
                    <a:pt x="274" y="501"/>
                    <a:pt x="274" y="501"/>
                  </a:cubicBezTo>
                  <a:cubicBezTo>
                    <a:pt x="274" y="501"/>
                    <a:pt x="274" y="501"/>
                    <a:pt x="274" y="501"/>
                  </a:cubicBezTo>
                  <a:cubicBezTo>
                    <a:pt x="273" y="500"/>
                    <a:pt x="273" y="500"/>
                    <a:pt x="272" y="500"/>
                  </a:cubicBezTo>
                  <a:cubicBezTo>
                    <a:pt x="272" y="500"/>
                    <a:pt x="272" y="500"/>
                    <a:pt x="272" y="500"/>
                  </a:cubicBezTo>
                  <a:cubicBezTo>
                    <a:pt x="272" y="500"/>
                    <a:pt x="272" y="500"/>
                    <a:pt x="272" y="500"/>
                  </a:cubicBezTo>
                  <a:cubicBezTo>
                    <a:pt x="272" y="500"/>
                    <a:pt x="272" y="500"/>
                    <a:pt x="272" y="499"/>
                  </a:cubicBezTo>
                  <a:cubicBezTo>
                    <a:pt x="271" y="499"/>
                    <a:pt x="271" y="499"/>
                    <a:pt x="271" y="499"/>
                  </a:cubicBezTo>
                  <a:cubicBezTo>
                    <a:pt x="271" y="499"/>
                    <a:pt x="271" y="499"/>
                    <a:pt x="271" y="499"/>
                  </a:cubicBezTo>
                  <a:cubicBezTo>
                    <a:pt x="271" y="499"/>
                    <a:pt x="270" y="499"/>
                    <a:pt x="270" y="499"/>
                  </a:cubicBezTo>
                  <a:cubicBezTo>
                    <a:pt x="270" y="499"/>
                    <a:pt x="270" y="499"/>
                    <a:pt x="270" y="499"/>
                  </a:cubicBezTo>
                  <a:cubicBezTo>
                    <a:pt x="270" y="499"/>
                    <a:pt x="270" y="499"/>
                    <a:pt x="269" y="499"/>
                  </a:cubicBezTo>
                  <a:cubicBezTo>
                    <a:pt x="269" y="499"/>
                    <a:pt x="269" y="499"/>
                    <a:pt x="269" y="498"/>
                  </a:cubicBezTo>
                  <a:cubicBezTo>
                    <a:pt x="269" y="498"/>
                    <a:pt x="268" y="498"/>
                    <a:pt x="267" y="498"/>
                  </a:cubicBezTo>
                  <a:cubicBezTo>
                    <a:pt x="267" y="497"/>
                    <a:pt x="267" y="497"/>
                    <a:pt x="267" y="497"/>
                  </a:cubicBezTo>
                  <a:cubicBezTo>
                    <a:pt x="266" y="497"/>
                    <a:pt x="266" y="497"/>
                    <a:pt x="265" y="496"/>
                  </a:cubicBezTo>
                  <a:cubicBezTo>
                    <a:pt x="265" y="496"/>
                    <a:pt x="265" y="496"/>
                    <a:pt x="265" y="496"/>
                  </a:cubicBezTo>
                  <a:cubicBezTo>
                    <a:pt x="264" y="495"/>
                    <a:pt x="263" y="495"/>
                    <a:pt x="262" y="495"/>
                  </a:cubicBezTo>
                  <a:cubicBezTo>
                    <a:pt x="262" y="495"/>
                    <a:pt x="262" y="494"/>
                    <a:pt x="262" y="494"/>
                  </a:cubicBezTo>
                  <a:cubicBezTo>
                    <a:pt x="261" y="494"/>
                    <a:pt x="261" y="494"/>
                    <a:pt x="260" y="494"/>
                  </a:cubicBezTo>
                  <a:cubicBezTo>
                    <a:pt x="260" y="493"/>
                    <a:pt x="260" y="493"/>
                    <a:pt x="260" y="493"/>
                  </a:cubicBezTo>
                  <a:cubicBezTo>
                    <a:pt x="259" y="493"/>
                    <a:pt x="259" y="493"/>
                    <a:pt x="258" y="492"/>
                  </a:cubicBezTo>
                  <a:cubicBezTo>
                    <a:pt x="258" y="492"/>
                    <a:pt x="258" y="492"/>
                    <a:pt x="258" y="492"/>
                  </a:cubicBezTo>
                  <a:cubicBezTo>
                    <a:pt x="257" y="492"/>
                    <a:pt x="257" y="492"/>
                    <a:pt x="257" y="491"/>
                  </a:cubicBezTo>
                  <a:cubicBezTo>
                    <a:pt x="256" y="491"/>
                    <a:pt x="256" y="491"/>
                    <a:pt x="256" y="491"/>
                  </a:cubicBezTo>
                  <a:cubicBezTo>
                    <a:pt x="256" y="491"/>
                    <a:pt x="256" y="491"/>
                    <a:pt x="255" y="491"/>
                  </a:cubicBezTo>
                  <a:cubicBezTo>
                    <a:pt x="255" y="491"/>
                    <a:pt x="255" y="490"/>
                    <a:pt x="255" y="490"/>
                  </a:cubicBezTo>
                  <a:cubicBezTo>
                    <a:pt x="255" y="490"/>
                    <a:pt x="255" y="490"/>
                    <a:pt x="255" y="490"/>
                  </a:cubicBezTo>
                  <a:cubicBezTo>
                    <a:pt x="255" y="490"/>
                    <a:pt x="255" y="490"/>
                    <a:pt x="254" y="490"/>
                  </a:cubicBezTo>
                  <a:cubicBezTo>
                    <a:pt x="254" y="490"/>
                    <a:pt x="253" y="489"/>
                    <a:pt x="253" y="489"/>
                  </a:cubicBezTo>
                  <a:cubicBezTo>
                    <a:pt x="253" y="489"/>
                    <a:pt x="253" y="489"/>
                    <a:pt x="253" y="489"/>
                  </a:cubicBezTo>
                  <a:cubicBezTo>
                    <a:pt x="252" y="489"/>
                    <a:pt x="252" y="489"/>
                    <a:pt x="252" y="489"/>
                  </a:cubicBezTo>
                  <a:cubicBezTo>
                    <a:pt x="252" y="489"/>
                    <a:pt x="252" y="488"/>
                    <a:pt x="252" y="488"/>
                  </a:cubicBezTo>
                  <a:cubicBezTo>
                    <a:pt x="252" y="488"/>
                    <a:pt x="251" y="488"/>
                    <a:pt x="251" y="488"/>
                  </a:cubicBezTo>
                  <a:cubicBezTo>
                    <a:pt x="251" y="488"/>
                    <a:pt x="251" y="488"/>
                    <a:pt x="251" y="488"/>
                  </a:cubicBezTo>
                  <a:cubicBezTo>
                    <a:pt x="250" y="487"/>
                    <a:pt x="250" y="487"/>
                    <a:pt x="250" y="487"/>
                  </a:cubicBezTo>
                  <a:cubicBezTo>
                    <a:pt x="249" y="487"/>
                    <a:pt x="249" y="487"/>
                    <a:pt x="249" y="487"/>
                  </a:cubicBezTo>
                  <a:cubicBezTo>
                    <a:pt x="249" y="486"/>
                    <a:pt x="248" y="486"/>
                    <a:pt x="248" y="486"/>
                  </a:cubicBezTo>
                  <a:cubicBezTo>
                    <a:pt x="248" y="486"/>
                    <a:pt x="248" y="486"/>
                    <a:pt x="248" y="486"/>
                  </a:cubicBezTo>
                  <a:cubicBezTo>
                    <a:pt x="247" y="486"/>
                    <a:pt x="247" y="486"/>
                    <a:pt x="247" y="485"/>
                  </a:cubicBezTo>
                  <a:cubicBezTo>
                    <a:pt x="247" y="485"/>
                    <a:pt x="246" y="485"/>
                    <a:pt x="246" y="485"/>
                  </a:cubicBezTo>
                  <a:cubicBezTo>
                    <a:pt x="246" y="485"/>
                    <a:pt x="245" y="485"/>
                    <a:pt x="245" y="484"/>
                  </a:cubicBezTo>
                  <a:cubicBezTo>
                    <a:pt x="245" y="484"/>
                    <a:pt x="244" y="484"/>
                    <a:pt x="244" y="483"/>
                  </a:cubicBezTo>
                  <a:cubicBezTo>
                    <a:pt x="244" y="483"/>
                    <a:pt x="243" y="483"/>
                    <a:pt x="243" y="483"/>
                  </a:cubicBezTo>
                  <a:cubicBezTo>
                    <a:pt x="243" y="483"/>
                    <a:pt x="243" y="482"/>
                    <a:pt x="242" y="482"/>
                  </a:cubicBezTo>
                  <a:cubicBezTo>
                    <a:pt x="242" y="482"/>
                    <a:pt x="242" y="482"/>
                    <a:pt x="241" y="482"/>
                  </a:cubicBezTo>
                  <a:cubicBezTo>
                    <a:pt x="241" y="481"/>
                    <a:pt x="241" y="481"/>
                    <a:pt x="241" y="481"/>
                  </a:cubicBezTo>
                  <a:cubicBezTo>
                    <a:pt x="241" y="481"/>
                    <a:pt x="240" y="481"/>
                    <a:pt x="240" y="481"/>
                  </a:cubicBezTo>
                  <a:cubicBezTo>
                    <a:pt x="240" y="480"/>
                    <a:pt x="240" y="480"/>
                    <a:pt x="239" y="480"/>
                  </a:cubicBezTo>
                  <a:cubicBezTo>
                    <a:pt x="239" y="480"/>
                    <a:pt x="239" y="480"/>
                    <a:pt x="239" y="480"/>
                  </a:cubicBezTo>
                  <a:cubicBezTo>
                    <a:pt x="238" y="479"/>
                    <a:pt x="238" y="479"/>
                    <a:pt x="238" y="478"/>
                  </a:cubicBezTo>
                  <a:cubicBezTo>
                    <a:pt x="238" y="478"/>
                    <a:pt x="238" y="478"/>
                    <a:pt x="237" y="478"/>
                  </a:cubicBezTo>
                  <a:cubicBezTo>
                    <a:pt x="237" y="478"/>
                    <a:pt x="237" y="478"/>
                    <a:pt x="237" y="477"/>
                  </a:cubicBezTo>
                  <a:cubicBezTo>
                    <a:pt x="236" y="477"/>
                    <a:pt x="236" y="477"/>
                    <a:pt x="236" y="477"/>
                  </a:cubicBezTo>
                  <a:cubicBezTo>
                    <a:pt x="236" y="477"/>
                    <a:pt x="236" y="477"/>
                    <a:pt x="236" y="477"/>
                  </a:cubicBezTo>
                  <a:cubicBezTo>
                    <a:pt x="235" y="477"/>
                    <a:pt x="235" y="477"/>
                    <a:pt x="235" y="477"/>
                  </a:cubicBezTo>
                  <a:cubicBezTo>
                    <a:pt x="235" y="477"/>
                    <a:pt x="235" y="476"/>
                    <a:pt x="234" y="476"/>
                  </a:cubicBezTo>
                  <a:cubicBezTo>
                    <a:pt x="234" y="476"/>
                    <a:pt x="234" y="476"/>
                    <a:pt x="233" y="476"/>
                  </a:cubicBezTo>
                  <a:cubicBezTo>
                    <a:pt x="233" y="476"/>
                    <a:pt x="233" y="475"/>
                    <a:pt x="233" y="475"/>
                  </a:cubicBezTo>
                  <a:cubicBezTo>
                    <a:pt x="233" y="475"/>
                    <a:pt x="232" y="475"/>
                    <a:pt x="232" y="475"/>
                  </a:cubicBezTo>
                  <a:cubicBezTo>
                    <a:pt x="232" y="475"/>
                    <a:pt x="232" y="475"/>
                    <a:pt x="232" y="474"/>
                  </a:cubicBezTo>
                  <a:cubicBezTo>
                    <a:pt x="231" y="474"/>
                    <a:pt x="231" y="474"/>
                    <a:pt x="230" y="474"/>
                  </a:cubicBezTo>
                  <a:cubicBezTo>
                    <a:pt x="230" y="474"/>
                    <a:pt x="230" y="473"/>
                    <a:pt x="230" y="473"/>
                  </a:cubicBezTo>
                  <a:cubicBezTo>
                    <a:pt x="229" y="473"/>
                    <a:pt x="229" y="473"/>
                    <a:pt x="229" y="473"/>
                  </a:cubicBezTo>
                  <a:cubicBezTo>
                    <a:pt x="226" y="472"/>
                    <a:pt x="225" y="471"/>
                    <a:pt x="221" y="471"/>
                  </a:cubicBezTo>
                  <a:cubicBezTo>
                    <a:pt x="221" y="472"/>
                    <a:pt x="221" y="472"/>
                    <a:pt x="220" y="472"/>
                  </a:cubicBezTo>
                  <a:cubicBezTo>
                    <a:pt x="220" y="472"/>
                    <a:pt x="220" y="473"/>
                    <a:pt x="220" y="473"/>
                  </a:cubicBezTo>
                  <a:cubicBezTo>
                    <a:pt x="220" y="473"/>
                    <a:pt x="220" y="473"/>
                    <a:pt x="220" y="473"/>
                  </a:cubicBezTo>
                  <a:cubicBezTo>
                    <a:pt x="220" y="473"/>
                    <a:pt x="220" y="474"/>
                    <a:pt x="220" y="474"/>
                  </a:cubicBezTo>
                  <a:cubicBezTo>
                    <a:pt x="220" y="474"/>
                    <a:pt x="220" y="474"/>
                    <a:pt x="219" y="474"/>
                  </a:cubicBezTo>
                  <a:cubicBezTo>
                    <a:pt x="219" y="474"/>
                    <a:pt x="219" y="474"/>
                    <a:pt x="219" y="475"/>
                  </a:cubicBezTo>
                  <a:cubicBezTo>
                    <a:pt x="219" y="475"/>
                    <a:pt x="219" y="475"/>
                    <a:pt x="219" y="475"/>
                  </a:cubicBezTo>
                  <a:cubicBezTo>
                    <a:pt x="219" y="475"/>
                    <a:pt x="219" y="475"/>
                    <a:pt x="219" y="476"/>
                  </a:cubicBezTo>
                  <a:cubicBezTo>
                    <a:pt x="219" y="476"/>
                    <a:pt x="219" y="476"/>
                    <a:pt x="219" y="476"/>
                  </a:cubicBezTo>
                  <a:cubicBezTo>
                    <a:pt x="219" y="476"/>
                    <a:pt x="219" y="476"/>
                    <a:pt x="219" y="477"/>
                  </a:cubicBezTo>
                  <a:cubicBezTo>
                    <a:pt x="219" y="477"/>
                    <a:pt x="219" y="477"/>
                    <a:pt x="218" y="477"/>
                  </a:cubicBezTo>
                  <a:cubicBezTo>
                    <a:pt x="218" y="481"/>
                    <a:pt x="217" y="486"/>
                    <a:pt x="216" y="490"/>
                  </a:cubicBezTo>
                  <a:cubicBezTo>
                    <a:pt x="216" y="491"/>
                    <a:pt x="216" y="492"/>
                    <a:pt x="216" y="493"/>
                  </a:cubicBezTo>
                  <a:cubicBezTo>
                    <a:pt x="216" y="493"/>
                    <a:pt x="216" y="493"/>
                    <a:pt x="216" y="493"/>
                  </a:cubicBezTo>
                  <a:cubicBezTo>
                    <a:pt x="216" y="494"/>
                    <a:pt x="216" y="495"/>
                    <a:pt x="216" y="496"/>
                  </a:cubicBezTo>
                  <a:cubicBezTo>
                    <a:pt x="215" y="496"/>
                    <a:pt x="215" y="496"/>
                    <a:pt x="215" y="496"/>
                  </a:cubicBezTo>
                  <a:cubicBezTo>
                    <a:pt x="215" y="496"/>
                    <a:pt x="215" y="497"/>
                    <a:pt x="215" y="498"/>
                  </a:cubicBezTo>
                  <a:cubicBezTo>
                    <a:pt x="215" y="498"/>
                    <a:pt x="215" y="498"/>
                    <a:pt x="215" y="498"/>
                  </a:cubicBezTo>
                  <a:cubicBezTo>
                    <a:pt x="215" y="499"/>
                    <a:pt x="215" y="499"/>
                    <a:pt x="215" y="500"/>
                  </a:cubicBezTo>
                  <a:cubicBezTo>
                    <a:pt x="215" y="500"/>
                    <a:pt x="215" y="500"/>
                    <a:pt x="215" y="500"/>
                  </a:cubicBezTo>
                  <a:cubicBezTo>
                    <a:pt x="215" y="500"/>
                    <a:pt x="215" y="501"/>
                    <a:pt x="215" y="502"/>
                  </a:cubicBezTo>
                  <a:cubicBezTo>
                    <a:pt x="214" y="502"/>
                    <a:pt x="214" y="502"/>
                    <a:pt x="214" y="502"/>
                  </a:cubicBezTo>
                  <a:cubicBezTo>
                    <a:pt x="214" y="502"/>
                    <a:pt x="214" y="502"/>
                    <a:pt x="214" y="503"/>
                  </a:cubicBezTo>
                  <a:cubicBezTo>
                    <a:pt x="214" y="503"/>
                    <a:pt x="214" y="503"/>
                    <a:pt x="214" y="503"/>
                  </a:cubicBezTo>
                  <a:cubicBezTo>
                    <a:pt x="214" y="503"/>
                    <a:pt x="214" y="503"/>
                    <a:pt x="214" y="503"/>
                  </a:cubicBezTo>
                  <a:cubicBezTo>
                    <a:pt x="214" y="503"/>
                    <a:pt x="214" y="503"/>
                    <a:pt x="213" y="503"/>
                  </a:cubicBezTo>
                  <a:cubicBezTo>
                    <a:pt x="213" y="504"/>
                    <a:pt x="213" y="504"/>
                    <a:pt x="213" y="504"/>
                  </a:cubicBezTo>
                  <a:cubicBezTo>
                    <a:pt x="213" y="504"/>
                    <a:pt x="213" y="504"/>
                    <a:pt x="212" y="505"/>
                  </a:cubicBezTo>
                  <a:cubicBezTo>
                    <a:pt x="212" y="505"/>
                    <a:pt x="212" y="505"/>
                    <a:pt x="212" y="505"/>
                  </a:cubicBezTo>
                  <a:cubicBezTo>
                    <a:pt x="212" y="506"/>
                    <a:pt x="211" y="507"/>
                    <a:pt x="210" y="507"/>
                  </a:cubicBezTo>
                  <a:cubicBezTo>
                    <a:pt x="210" y="507"/>
                    <a:pt x="210" y="508"/>
                    <a:pt x="210" y="508"/>
                  </a:cubicBezTo>
                  <a:cubicBezTo>
                    <a:pt x="209" y="509"/>
                    <a:pt x="208" y="510"/>
                    <a:pt x="207" y="511"/>
                  </a:cubicBezTo>
                  <a:cubicBezTo>
                    <a:pt x="204" y="514"/>
                    <a:pt x="202" y="516"/>
                    <a:pt x="199" y="518"/>
                  </a:cubicBezTo>
                  <a:cubicBezTo>
                    <a:pt x="198" y="520"/>
                    <a:pt x="197" y="521"/>
                    <a:pt x="195" y="523"/>
                  </a:cubicBezTo>
                  <a:cubicBezTo>
                    <a:pt x="195" y="523"/>
                    <a:pt x="195" y="523"/>
                    <a:pt x="195" y="523"/>
                  </a:cubicBezTo>
                  <a:cubicBezTo>
                    <a:pt x="194" y="523"/>
                    <a:pt x="194" y="524"/>
                    <a:pt x="193" y="524"/>
                  </a:cubicBezTo>
                  <a:cubicBezTo>
                    <a:pt x="193" y="525"/>
                    <a:pt x="192" y="525"/>
                    <a:pt x="192" y="525"/>
                  </a:cubicBezTo>
                  <a:cubicBezTo>
                    <a:pt x="192" y="525"/>
                    <a:pt x="192" y="526"/>
                    <a:pt x="192" y="526"/>
                  </a:cubicBezTo>
                  <a:cubicBezTo>
                    <a:pt x="192" y="526"/>
                    <a:pt x="191" y="526"/>
                    <a:pt x="191" y="526"/>
                  </a:cubicBezTo>
                  <a:cubicBezTo>
                    <a:pt x="190" y="527"/>
                    <a:pt x="190" y="527"/>
                    <a:pt x="189" y="528"/>
                  </a:cubicBezTo>
                  <a:cubicBezTo>
                    <a:pt x="188" y="529"/>
                    <a:pt x="187" y="529"/>
                    <a:pt x="187" y="530"/>
                  </a:cubicBezTo>
                  <a:cubicBezTo>
                    <a:pt x="186" y="530"/>
                    <a:pt x="186" y="530"/>
                    <a:pt x="186" y="530"/>
                  </a:cubicBezTo>
                  <a:cubicBezTo>
                    <a:pt x="185" y="526"/>
                    <a:pt x="182" y="524"/>
                    <a:pt x="179" y="522"/>
                  </a:cubicBezTo>
                  <a:cubicBezTo>
                    <a:pt x="179" y="522"/>
                    <a:pt x="179" y="522"/>
                    <a:pt x="179" y="522"/>
                  </a:cubicBezTo>
                  <a:cubicBezTo>
                    <a:pt x="178" y="521"/>
                    <a:pt x="178" y="521"/>
                    <a:pt x="177" y="520"/>
                  </a:cubicBezTo>
                  <a:cubicBezTo>
                    <a:pt x="177" y="520"/>
                    <a:pt x="177" y="520"/>
                    <a:pt x="177" y="519"/>
                  </a:cubicBezTo>
                  <a:cubicBezTo>
                    <a:pt x="177" y="519"/>
                    <a:pt x="177" y="519"/>
                    <a:pt x="176" y="519"/>
                  </a:cubicBezTo>
                  <a:cubicBezTo>
                    <a:pt x="176" y="519"/>
                    <a:pt x="176" y="518"/>
                    <a:pt x="176" y="518"/>
                  </a:cubicBezTo>
                  <a:cubicBezTo>
                    <a:pt x="176" y="518"/>
                    <a:pt x="176" y="518"/>
                    <a:pt x="176" y="518"/>
                  </a:cubicBezTo>
                  <a:cubicBezTo>
                    <a:pt x="176" y="517"/>
                    <a:pt x="176" y="517"/>
                    <a:pt x="176" y="517"/>
                  </a:cubicBezTo>
                  <a:cubicBezTo>
                    <a:pt x="176" y="517"/>
                    <a:pt x="175" y="517"/>
                    <a:pt x="175" y="517"/>
                  </a:cubicBezTo>
                  <a:cubicBezTo>
                    <a:pt x="175" y="516"/>
                    <a:pt x="175" y="515"/>
                    <a:pt x="175" y="515"/>
                  </a:cubicBezTo>
                  <a:cubicBezTo>
                    <a:pt x="175" y="515"/>
                    <a:pt x="175" y="515"/>
                    <a:pt x="174" y="515"/>
                  </a:cubicBezTo>
                  <a:cubicBezTo>
                    <a:pt x="174" y="514"/>
                    <a:pt x="174" y="514"/>
                    <a:pt x="174" y="514"/>
                  </a:cubicBezTo>
                  <a:cubicBezTo>
                    <a:pt x="174" y="514"/>
                    <a:pt x="174" y="514"/>
                    <a:pt x="174" y="514"/>
                  </a:cubicBezTo>
                  <a:cubicBezTo>
                    <a:pt x="174" y="513"/>
                    <a:pt x="174" y="513"/>
                    <a:pt x="174" y="512"/>
                  </a:cubicBezTo>
                  <a:cubicBezTo>
                    <a:pt x="174" y="512"/>
                    <a:pt x="173" y="512"/>
                    <a:pt x="173" y="512"/>
                  </a:cubicBezTo>
                  <a:cubicBezTo>
                    <a:pt x="173" y="512"/>
                    <a:pt x="173" y="512"/>
                    <a:pt x="173" y="511"/>
                  </a:cubicBezTo>
                  <a:cubicBezTo>
                    <a:pt x="173" y="511"/>
                    <a:pt x="173" y="511"/>
                    <a:pt x="173" y="511"/>
                  </a:cubicBezTo>
                  <a:cubicBezTo>
                    <a:pt x="173" y="511"/>
                    <a:pt x="173" y="511"/>
                    <a:pt x="173" y="511"/>
                  </a:cubicBezTo>
                  <a:cubicBezTo>
                    <a:pt x="173" y="511"/>
                    <a:pt x="173" y="511"/>
                    <a:pt x="173" y="511"/>
                  </a:cubicBezTo>
                  <a:cubicBezTo>
                    <a:pt x="173" y="510"/>
                    <a:pt x="173" y="510"/>
                    <a:pt x="173" y="510"/>
                  </a:cubicBezTo>
                  <a:cubicBezTo>
                    <a:pt x="170" y="503"/>
                    <a:pt x="168" y="495"/>
                    <a:pt x="166" y="488"/>
                  </a:cubicBezTo>
                  <a:cubicBezTo>
                    <a:pt x="166" y="487"/>
                    <a:pt x="166" y="487"/>
                    <a:pt x="166" y="487"/>
                  </a:cubicBezTo>
                  <a:cubicBezTo>
                    <a:pt x="165" y="487"/>
                    <a:pt x="165" y="487"/>
                    <a:pt x="165" y="487"/>
                  </a:cubicBezTo>
                  <a:cubicBezTo>
                    <a:pt x="165" y="486"/>
                    <a:pt x="165" y="486"/>
                    <a:pt x="165" y="485"/>
                  </a:cubicBezTo>
                  <a:cubicBezTo>
                    <a:pt x="165" y="485"/>
                    <a:pt x="165" y="485"/>
                    <a:pt x="165" y="485"/>
                  </a:cubicBezTo>
                  <a:cubicBezTo>
                    <a:pt x="165" y="485"/>
                    <a:pt x="165" y="485"/>
                    <a:pt x="165" y="484"/>
                  </a:cubicBezTo>
                  <a:cubicBezTo>
                    <a:pt x="165" y="484"/>
                    <a:pt x="165" y="484"/>
                    <a:pt x="165" y="484"/>
                  </a:cubicBezTo>
                  <a:cubicBezTo>
                    <a:pt x="165" y="484"/>
                    <a:pt x="165" y="484"/>
                    <a:pt x="165" y="483"/>
                  </a:cubicBezTo>
                  <a:cubicBezTo>
                    <a:pt x="164" y="483"/>
                    <a:pt x="164" y="483"/>
                    <a:pt x="164" y="483"/>
                  </a:cubicBezTo>
                  <a:cubicBezTo>
                    <a:pt x="164" y="483"/>
                    <a:pt x="164" y="483"/>
                    <a:pt x="164" y="483"/>
                  </a:cubicBezTo>
                  <a:cubicBezTo>
                    <a:pt x="164" y="483"/>
                    <a:pt x="164" y="483"/>
                    <a:pt x="164" y="483"/>
                  </a:cubicBezTo>
                  <a:cubicBezTo>
                    <a:pt x="164" y="482"/>
                    <a:pt x="164" y="482"/>
                    <a:pt x="164" y="482"/>
                  </a:cubicBezTo>
                  <a:cubicBezTo>
                    <a:pt x="164" y="482"/>
                    <a:pt x="164" y="482"/>
                    <a:pt x="163" y="482"/>
                  </a:cubicBezTo>
                  <a:cubicBezTo>
                    <a:pt x="163" y="481"/>
                    <a:pt x="163" y="481"/>
                    <a:pt x="163" y="480"/>
                  </a:cubicBezTo>
                  <a:cubicBezTo>
                    <a:pt x="163" y="480"/>
                    <a:pt x="163" y="480"/>
                    <a:pt x="163" y="480"/>
                  </a:cubicBezTo>
                  <a:cubicBezTo>
                    <a:pt x="163" y="480"/>
                    <a:pt x="163" y="480"/>
                    <a:pt x="163" y="479"/>
                  </a:cubicBezTo>
                  <a:cubicBezTo>
                    <a:pt x="163" y="479"/>
                    <a:pt x="163" y="479"/>
                    <a:pt x="162" y="479"/>
                  </a:cubicBezTo>
                  <a:cubicBezTo>
                    <a:pt x="162" y="479"/>
                    <a:pt x="162" y="479"/>
                    <a:pt x="162" y="478"/>
                  </a:cubicBezTo>
                  <a:cubicBezTo>
                    <a:pt x="162" y="478"/>
                    <a:pt x="162" y="478"/>
                    <a:pt x="162" y="478"/>
                  </a:cubicBezTo>
                  <a:cubicBezTo>
                    <a:pt x="162" y="478"/>
                    <a:pt x="162" y="478"/>
                    <a:pt x="162" y="478"/>
                  </a:cubicBezTo>
                  <a:cubicBezTo>
                    <a:pt x="162" y="478"/>
                    <a:pt x="162" y="478"/>
                    <a:pt x="161" y="477"/>
                  </a:cubicBezTo>
                  <a:cubicBezTo>
                    <a:pt x="161" y="477"/>
                    <a:pt x="161" y="477"/>
                    <a:pt x="161" y="477"/>
                  </a:cubicBezTo>
                  <a:cubicBezTo>
                    <a:pt x="161" y="476"/>
                    <a:pt x="160" y="476"/>
                    <a:pt x="159" y="475"/>
                  </a:cubicBezTo>
                  <a:cubicBezTo>
                    <a:pt x="159" y="475"/>
                    <a:pt x="158" y="475"/>
                    <a:pt x="158" y="475"/>
                  </a:cubicBezTo>
                  <a:cubicBezTo>
                    <a:pt x="158" y="475"/>
                    <a:pt x="158" y="475"/>
                    <a:pt x="158" y="475"/>
                  </a:cubicBezTo>
                  <a:cubicBezTo>
                    <a:pt x="157" y="475"/>
                    <a:pt x="156" y="475"/>
                    <a:pt x="156" y="475"/>
                  </a:cubicBezTo>
                  <a:cubicBezTo>
                    <a:pt x="156" y="475"/>
                    <a:pt x="156" y="474"/>
                    <a:pt x="156" y="474"/>
                  </a:cubicBezTo>
                  <a:cubicBezTo>
                    <a:pt x="155" y="474"/>
                    <a:pt x="155" y="474"/>
                    <a:pt x="154" y="474"/>
                  </a:cubicBezTo>
                  <a:cubicBezTo>
                    <a:pt x="154" y="474"/>
                    <a:pt x="154" y="474"/>
                    <a:pt x="154" y="474"/>
                  </a:cubicBezTo>
                  <a:cubicBezTo>
                    <a:pt x="154" y="474"/>
                    <a:pt x="153" y="474"/>
                    <a:pt x="153" y="474"/>
                  </a:cubicBezTo>
                  <a:cubicBezTo>
                    <a:pt x="153" y="474"/>
                    <a:pt x="153" y="474"/>
                    <a:pt x="153" y="474"/>
                  </a:cubicBezTo>
                  <a:cubicBezTo>
                    <a:pt x="153" y="473"/>
                    <a:pt x="152" y="473"/>
                    <a:pt x="152" y="473"/>
                  </a:cubicBezTo>
                  <a:cubicBezTo>
                    <a:pt x="151" y="473"/>
                    <a:pt x="151" y="472"/>
                    <a:pt x="150" y="471"/>
                  </a:cubicBezTo>
                  <a:cubicBezTo>
                    <a:pt x="150" y="471"/>
                    <a:pt x="149" y="471"/>
                    <a:pt x="149" y="471"/>
                  </a:cubicBezTo>
                  <a:cubicBezTo>
                    <a:pt x="149" y="471"/>
                    <a:pt x="149" y="471"/>
                    <a:pt x="149" y="471"/>
                  </a:cubicBezTo>
                  <a:cubicBezTo>
                    <a:pt x="149" y="471"/>
                    <a:pt x="148" y="471"/>
                    <a:pt x="148" y="471"/>
                  </a:cubicBezTo>
                  <a:cubicBezTo>
                    <a:pt x="148" y="471"/>
                    <a:pt x="148" y="471"/>
                    <a:pt x="148" y="470"/>
                  </a:cubicBezTo>
                  <a:cubicBezTo>
                    <a:pt x="147" y="470"/>
                    <a:pt x="147" y="470"/>
                    <a:pt x="146" y="470"/>
                  </a:cubicBezTo>
                  <a:cubicBezTo>
                    <a:pt x="146" y="470"/>
                    <a:pt x="146" y="470"/>
                    <a:pt x="146" y="469"/>
                  </a:cubicBezTo>
                  <a:cubicBezTo>
                    <a:pt x="146" y="469"/>
                    <a:pt x="145" y="469"/>
                    <a:pt x="145" y="469"/>
                  </a:cubicBezTo>
                  <a:cubicBezTo>
                    <a:pt x="145" y="469"/>
                    <a:pt x="145" y="469"/>
                    <a:pt x="145" y="469"/>
                  </a:cubicBezTo>
                  <a:cubicBezTo>
                    <a:pt x="144" y="469"/>
                    <a:pt x="144" y="469"/>
                    <a:pt x="144" y="469"/>
                  </a:cubicBezTo>
                  <a:cubicBezTo>
                    <a:pt x="144" y="469"/>
                    <a:pt x="144" y="468"/>
                    <a:pt x="144" y="468"/>
                  </a:cubicBezTo>
                  <a:cubicBezTo>
                    <a:pt x="143" y="468"/>
                    <a:pt x="143" y="468"/>
                    <a:pt x="143" y="468"/>
                  </a:cubicBezTo>
                  <a:cubicBezTo>
                    <a:pt x="143" y="468"/>
                    <a:pt x="143" y="468"/>
                    <a:pt x="143" y="468"/>
                  </a:cubicBezTo>
                  <a:cubicBezTo>
                    <a:pt x="142" y="468"/>
                    <a:pt x="142" y="468"/>
                    <a:pt x="142" y="468"/>
                  </a:cubicBezTo>
                  <a:cubicBezTo>
                    <a:pt x="142" y="468"/>
                    <a:pt x="142" y="468"/>
                    <a:pt x="142" y="468"/>
                  </a:cubicBezTo>
                  <a:cubicBezTo>
                    <a:pt x="141" y="468"/>
                    <a:pt x="141" y="467"/>
                    <a:pt x="140" y="467"/>
                  </a:cubicBezTo>
                  <a:cubicBezTo>
                    <a:pt x="140" y="467"/>
                    <a:pt x="140" y="467"/>
                    <a:pt x="140" y="467"/>
                  </a:cubicBezTo>
                  <a:cubicBezTo>
                    <a:pt x="140" y="467"/>
                    <a:pt x="139" y="467"/>
                    <a:pt x="139" y="467"/>
                  </a:cubicBezTo>
                  <a:cubicBezTo>
                    <a:pt x="139" y="466"/>
                    <a:pt x="139" y="466"/>
                    <a:pt x="139" y="466"/>
                  </a:cubicBezTo>
                  <a:cubicBezTo>
                    <a:pt x="138" y="466"/>
                    <a:pt x="137" y="466"/>
                    <a:pt x="137" y="466"/>
                  </a:cubicBezTo>
                  <a:cubicBezTo>
                    <a:pt x="137" y="465"/>
                    <a:pt x="137" y="465"/>
                    <a:pt x="137" y="465"/>
                  </a:cubicBezTo>
                  <a:cubicBezTo>
                    <a:pt x="136" y="465"/>
                    <a:pt x="136" y="465"/>
                    <a:pt x="136" y="465"/>
                  </a:cubicBezTo>
                  <a:cubicBezTo>
                    <a:pt x="136" y="465"/>
                    <a:pt x="136" y="465"/>
                    <a:pt x="136" y="465"/>
                  </a:cubicBezTo>
                  <a:cubicBezTo>
                    <a:pt x="136" y="465"/>
                    <a:pt x="135" y="465"/>
                    <a:pt x="135" y="465"/>
                  </a:cubicBezTo>
                  <a:cubicBezTo>
                    <a:pt x="135" y="465"/>
                    <a:pt x="135" y="465"/>
                    <a:pt x="135" y="465"/>
                  </a:cubicBezTo>
                  <a:cubicBezTo>
                    <a:pt x="135" y="465"/>
                    <a:pt x="135" y="465"/>
                    <a:pt x="134" y="465"/>
                  </a:cubicBezTo>
                  <a:cubicBezTo>
                    <a:pt x="134" y="464"/>
                    <a:pt x="134" y="464"/>
                    <a:pt x="134" y="464"/>
                  </a:cubicBezTo>
                  <a:cubicBezTo>
                    <a:pt x="134" y="464"/>
                    <a:pt x="134" y="464"/>
                    <a:pt x="134" y="464"/>
                  </a:cubicBezTo>
                  <a:cubicBezTo>
                    <a:pt x="134" y="464"/>
                    <a:pt x="134" y="464"/>
                    <a:pt x="134" y="464"/>
                  </a:cubicBezTo>
                  <a:cubicBezTo>
                    <a:pt x="134" y="464"/>
                    <a:pt x="133" y="464"/>
                    <a:pt x="133" y="464"/>
                  </a:cubicBezTo>
                  <a:cubicBezTo>
                    <a:pt x="133" y="464"/>
                    <a:pt x="133" y="464"/>
                    <a:pt x="133" y="463"/>
                  </a:cubicBezTo>
                  <a:cubicBezTo>
                    <a:pt x="133" y="463"/>
                    <a:pt x="133" y="463"/>
                    <a:pt x="132" y="463"/>
                  </a:cubicBezTo>
                  <a:cubicBezTo>
                    <a:pt x="132" y="463"/>
                    <a:pt x="131" y="462"/>
                    <a:pt x="131" y="462"/>
                  </a:cubicBezTo>
                  <a:cubicBezTo>
                    <a:pt x="131" y="462"/>
                    <a:pt x="130" y="462"/>
                    <a:pt x="130" y="462"/>
                  </a:cubicBezTo>
                  <a:cubicBezTo>
                    <a:pt x="130" y="461"/>
                    <a:pt x="130" y="461"/>
                    <a:pt x="129" y="460"/>
                  </a:cubicBezTo>
                  <a:cubicBezTo>
                    <a:pt x="129" y="460"/>
                    <a:pt x="129" y="460"/>
                    <a:pt x="129" y="460"/>
                  </a:cubicBezTo>
                  <a:cubicBezTo>
                    <a:pt x="128" y="460"/>
                    <a:pt x="127" y="459"/>
                    <a:pt x="127" y="458"/>
                  </a:cubicBezTo>
                  <a:cubicBezTo>
                    <a:pt x="127" y="458"/>
                    <a:pt x="126" y="458"/>
                    <a:pt x="126" y="458"/>
                  </a:cubicBezTo>
                  <a:cubicBezTo>
                    <a:pt x="125" y="457"/>
                    <a:pt x="125" y="457"/>
                    <a:pt x="124" y="456"/>
                  </a:cubicBezTo>
                  <a:cubicBezTo>
                    <a:pt x="124" y="456"/>
                    <a:pt x="123" y="456"/>
                    <a:pt x="123" y="456"/>
                  </a:cubicBezTo>
                  <a:cubicBezTo>
                    <a:pt x="122" y="455"/>
                    <a:pt x="122" y="454"/>
                    <a:pt x="121" y="453"/>
                  </a:cubicBezTo>
                  <a:cubicBezTo>
                    <a:pt x="121" y="453"/>
                    <a:pt x="120" y="453"/>
                    <a:pt x="120" y="453"/>
                  </a:cubicBezTo>
                  <a:cubicBezTo>
                    <a:pt x="119" y="452"/>
                    <a:pt x="118" y="451"/>
                    <a:pt x="118" y="450"/>
                  </a:cubicBezTo>
                  <a:cubicBezTo>
                    <a:pt x="118" y="450"/>
                    <a:pt x="117" y="450"/>
                    <a:pt x="117" y="450"/>
                  </a:cubicBezTo>
                  <a:cubicBezTo>
                    <a:pt x="117" y="450"/>
                    <a:pt x="117" y="450"/>
                    <a:pt x="117" y="449"/>
                  </a:cubicBezTo>
                  <a:cubicBezTo>
                    <a:pt x="117" y="449"/>
                    <a:pt x="116" y="449"/>
                    <a:pt x="116" y="449"/>
                  </a:cubicBezTo>
                  <a:cubicBezTo>
                    <a:pt x="115" y="448"/>
                    <a:pt x="113" y="446"/>
                    <a:pt x="112" y="445"/>
                  </a:cubicBezTo>
                  <a:cubicBezTo>
                    <a:pt x="112" y="445"/>
                    <a:pt x="112" y="445"/>
                    <a:pt x="111" y="445"/>
                  </a:cubicBezTo>
                  <a:cubicBezTo>
                    <a:pt x="110" y="443"/>
                    <a:pt x="109" y="442"/>
                    <a:pt x="107" y="440"/>
                  </a:cubicBezTo>
                  <a:cubicBezTo>
                    <a:pt x="107" y="440"/>
                    <a:pt x="107" y="440"/>
                    <a:pt x="106" y="440"/>
                  </a:cubicBezTo>
                  <a:cubicBezTo>
                    <a:pt x="105" y="439"/>
                    <a:pt x="104" y="438"/>
                    <a:pt x="103" y="437"/>
                  </a:cubicBezTo>
                  <a:cubicBezTo>
                    <a:pt x="102" y="436"/>
                    <a:pt x="101" y="435"/>
                    <a:pt x="101" y="435"/>
                  </a:cubicBezTo>
                  <a:cubicBezTo>
                    <a:pt x="100" y="434"/>
                    <a:pt x="100" y="434"/>
                    <a:pt x="99" y="433"/>
                  </a:cubicBezTo>
                  <a:cubicBezTo>
                    <a:pt x="99" y="433"/>
                    <a:pt x="99" y="433"/>
                    <a:pt x="98" y="433"/>
                  </a:cubicBezTo>
                  <a:cubicBezTo>
                    <a:pt x="98" y="432"/>
                    <a:pt x="97" y="431"/>
                    <a:pt x="96" y="430"/>
                  </a:cubicBezTo>
                  <a:cubicBezTo>
                    <a:pt x="96" y="430"/>
                    <a:pt x="96" y="430"/>
                    <a:pt x="95" y="430"/>
                  </a:cubicBezTo>
                  <a:cubicBezTo>
                    <a:pt x="95" y="430"/>
                    <a:pt x="94" y="429"/>
                    <a:pt x="94" y="428"/>
                  </a:cubicBezTo>
                  <a:cubicBezTo>
                    <a:pt x="93" y="428"/>
                    <a:pt x="93" y="428"/>
                    <a:pt x="93" y="428"/>
                  </a:cubicBezTo>
                  <a:cubicBezTo>
                    <a:pt x="92" y="428"/>
                    <a:pt x="92" y="427"/>
                    <a:pt x="91" y="426"/>
                  </a:cubicBezTo>
                  <a:cubicBezTo>
                    <a:pt x="91" y="426"/>
                    <a:pt x="91" y="426"/>
                    <a:pt x="91" y="426"/>
                  </a:cubicBezTo>
                  <a:cubicBezTo>
                    <a:pt x="90" y="426"/>
                    <a:pt x="90" y="425"/>
                    <a:pt x="89" y="425"/>
                  </a:cubicBezTo>
                  <a:cubicBezTo>
                    <a:pt x="89" y="425"/>
                    <a:pt x="89" y="425"/>
                    <a:pt x="89" y="425"/>
                  </a:cubicBezTo>
                  <a:cubicBezTo>
                    <a:pt x="88" y="424"/>
                    <a:pt x="88" y="424"/>
                    <a:pt x="88" y="424"/>
                  </a:cubicBezTo>
                  <a:cubicBezTo>
                    <a:pt x="88" y="424"/>
                    <a:pt x="87" y="424"/>
                    <a:pt x="87" y="424"/>
                  </a:cubicBezTo>
                  <a:cubicBezTo>
                    <a:pt x="87" y="423"/>
                    <a:pt x="87" y="423"/>
                    <a:pt x="87" y="423"/>
                  </a:cubicBezTo>
                  <a:cubicBezTo>
                    <a:pt x="86" y="423"/>
                    <a:pt x="86" y="423"/>
                    <a:pt x="86" y="423"/>
                  </a:cubicBezTo>
                  <a:cubicBezTo>
                    <a:pt x="85" y="422"/>
                    <a:pt x="85" y="421"/>
                    <a:pt x="84" y="421"/>
                  </a:cubicBezTo>
                  <a:cubicBezTo>
                    <a:pt x="84" y="421"/>
                    <a:pt x="84" y="421"/>
                    <a:pt x="84" y="421"/>
                  </a:cubicBezTo>
                  <a:cubicBezTo>
                    <a:pt x="83" y="420"/>
                    <a:pt x="82" y="419"/>
                    <a:pt x="82" y="418"/>
                  </a:cubicBezTo>
                  <a:cubicBezTo>
                    <a:pt x="80" y="417"/>
                    <a:pt x="79" y="416"/>
                    <a:pt x="78" y="415"/>
                  </a:cubicBezTo>
                  <a:cubicBezTo>
                    <a:pt x="78" y="415"/>
                    <a:pt x="78" y="414"/>
                    <a:pt x="78" y="414"/>
                  </a:cubicBezTo>
                  <a:cubicBezTo>
                    <a:pt x="77" y="414"/>
                    <a:pt x="77" y="413"/>
                    <a:pt x="76" y="413"/>
                  </a:cubicBezTo>
                  <a:cubicBezTo>
                    <a:pt x="76" y="413"/>
                    <a:pt x="76" y="413"/>
                    <a:pt x="76" y="412"/>
                  </a:cubicBezTo>
                  <a:cubicBezTo>
                    <a:pt x="76" y="412"/>
                    <a:pt x="76" y="412"/>
                    <a:pt x="76" y="412"/>
                  </a:cubicBezTo>
                  <a:cubicBezTo>
                    <a:pt x="76" y="412"/>
                    <a:pt x="76" y="412"/>
                    <a:pt x="76" y="411"/>
                  </a:cubicBezTo>
                  <a:cubicBezTo>
                    <a:pt x="75" y="411"/>
                    <a:pt x="75" y="411"/>
                    <a:pt x="75" y="411"/>
                  </a:cubicBezTo>
                  <a:cubicBezTo>
                    <a:pt x="75" y="410"/>
                    <a:pt x="75" y="410"/>
                    <a:pt x="75" y="410"/>
                  </a:cubicBezTo>
                  <a:cubicBezTo>
                    <a:pt x="74" y="410"/>
                    <a:pt x="74" y="410"/>
                    <a:pt x="74" y="410"/>
                  </a:cubicBezTo>
                  <a:cubicBezTo>
                    <a:pt x="74" y="409"/>
                    <a:pt x="74" y="409"/>
                    <a:pt x="74" y="408"/>
                  </a:cubicBezTo>
                  <a:cubicBezTo>
                    <a:pt x="73" y="408"/>
                    <a:pt x="73" y="408"/>
                    <a:pt x="73" y="408"/>
                  </a:cubicBezTo>
                  <a:cubicBezTo>
                    <a:pt x="73" y="408"/>
                    <a:pt x="73" y="407"/>
                    <a:pt x="73" y="407"/>
                  </a:cubicBezTo>
                  <a:cubicBezTo>
                    <a:pt x="73" y="407"/>
                    <a:pt x="73" y="407"/>
                    <a:pt x="73" y="407"/>
                  </a:cubicBezTo>
                  <a:cubicBezTo>
                    <a:pt x="73" y="407"/>
                    <a:pt x="73" y="407"/>
                    <a:pt x="73" y="406"/>
                  </a:cubicBezTo>
                  <a:cubicBezTo>
                    <a:pt x="72" y="406"/>
                    <a:pt x="72" y="406"/>
                    <a:pt x="72" y="406"/>
                  </a:cubicBezTo>
                  <a:cubicBezTo>
                    <a:pt x="72" y="406"/>
                    <a:pt x="72" y="406"/>
                    <a:pt x="72" y="406"/>
                  </a:cubicBezTo>
                  <a:cubicBezTo>
                    <a:pt x="72" y="406"/>
                    <a:pt x="72" y="406"/>
                    <a:pt x="72" y="406"/>
                  </a:cubicBezTo>
                  <a:cubicBezTo>
                    <a:pt x="72" y="406"/>
                    <a:pt x="72" y="405"/>
                    <a:pt x="72" y="405"/>
                  </a:cubicBezTo>
                  <a:cubicBezTo>
                    <a:pt x="72" y="405"/>
                    <a:pt x="72" y="405"/>
                    <a:pt x="71" y="405"/>
                  </a:cubicBezTo>
                  <a:cubicBezTo>
                    <a:pt x="71" y="405"/>
                    <a:pt x="71" y="405"/>
                    <a:pt x="71" y="404"/>
                  </a:cubicBezTo>
                  <a:cubicBezTo>
                    <a:pt x="71" y="404"/>
                    <a:pt x="71" y="404"/>
                    <a:pt x="71" y="404"/>
                  </a:cubicBezTo>
                  <a:cubicBezTo>
                    <a:pt x="71" y="404"/>
                    <a:pt x="71" y="404"/>
                    <a:pt x="71" y="404"/>
                  </a:cubicBezTo>
                  <a:cubicBezTo>
                    <a:pt x="71" y="404"/>
                    <a:pt x="71" y="404"/>
                    <a:pt x="71" y="404"/>
                  </a:cubicBezTo>
                  <a:cubicBezTo>
                    <a:pt x="71" y="403"/>
                    <a:pt x="70" y="402"/>
                    <a:pt x="70" y="402"/>
                  </a:cubicBezTo>
                  <a:cubicBezTo>
                    <a:pt x="70" y="402"/>
                    <a:pt x="70" y="402"/>
                    <a:pt x="70" y="402"/>
                  </a:cubicBezTo>
                  <a:cubicBezTo>
                    <a:pt x="70" y="401"/>
                    <a:pt x="70" y="401"/>
                    <a:pt x="70" y="400"/>
                  </a:cubicBezTo>
                  <a:cubicBezTo>
                    <a:pt x="70" y="400"/>
                    <a:pt x="70" y="400"/>
                    <a:pt x="69" y="400"/>
                  </a:cubicBezTo>
                  <a:cubicBezTo>
                    <a:pt x="69" y="400"/>
                    <a:pt x="69" y="400"/>
                    <a:pt x="69" y="400"/>
                  </a:cubicBezTo>
                  <a:cubicBezTo>
                    <a:pt x="69" y="400"/>
                    <a:pt x="69" y="400"/>
                    <a:pt x="69" y="400"/>
                  </a:cubicBezTo>
                  <a:cubicBezTo>
                    <a:pt x="69" y="399"/>
                    <a:pt x="69" y="398"/>
                    <a:pt x="69" y="398"/>
                  </a:cubicBezTo>
                  <a:cubicBezTo>
                    <a:pt x="69" y="398"/>
                    <a:pt x="68" y="398"/>
                    <a:pt x="68" y="398"/>
                  </a:cubicBezTo>
                  <a:cubicBezTo>
                    <a:pt x="68" y="397"/>
                    <a:pt x="68" y="397"/>
                    <a:pt x="68" y="397"/>
                  </a:cubicBezTo>
                  <a:cubicBezTo>
                    <a:pt x="68" y="397"/>
                    <a:pt x="68" y="397"/>
                    <a:pt x="68" y="397"/>
                  </a:cubicBezTo>
                  <a:cubicBezTo>
                    <a:pt x="68" y="396"/>
                    <a:pt x="68" y="395"/>
                    <a:pt x="67" y="394"/>
                  </a:cubicBezTo>
                  <a:cubicBezTo>
                    <a:pt x="67" y="394"/>
                    <a:pt x="67" y="394"/>
                    <a:pt x="67" y="394"/>
                  </a:cubicBezTo>
                  <a:cubicBezTo>
                    <a:pt x="67" y="393"/>
                    <a:pt x="67" y="393"/>
                    <a:pt x="67" y="392"/>
                  </a:cubicBezTo>
                  <a:cubicBezTo>
                    <a:pt x="67" y="392"/>
                    <a:pt x="67" y="392"/>
                    <a:pt x="67" y="392"/>
                  </a:cubicBezTo>
                  <a:cubicBezTo>
                    <a:pt x="67" y="392"/>
                    <a:pt x="67" y="392"/>
                    <a:pt x="67" y="391"/>
                  </a:cubicBezTo>
                  <a:cubicBezTo>
                    <a:pt x="66" y="391"/>
                    <a:pt x="66" y="391"/>
                    <a:pt x="66" y="391"/>
                  </a:cubicBezTo>
                  <a:cubicBezTo>
                    <a:pt x="66" y="391"/>
                    <a:pt x="66" y="390"/>
                    <a:pt x="66" y="390"/>
                  </a:cubicBezTo>
                  <a:cubicBezTo>
                    <a:pt x="66" y="390"/>
                    <a:pt x="66" y="390"/>
                    <a:pt x="66" y="390"/>
                  </a:cubicBezTo>
                  <a:cubicBezTo>
                    <a:pt x="66" y="390"/>
                    <a:pt x="66" y="389"/>
                    <a:pt x="66" y="389"/>
                  </a:cubicBezTo>
                  <a:cubicBezTo>
                    <a:pt x="66" y="389"/>
                    <a:pt x="66" y="389"/>
                    <a:pt x="66" y="389"/>
                  </a:cubicBezTo>
                  <a:cubicBezTo>
                    <a:pt x="66" y="388"/>
                    <a:pt x="66" y="388"/>
                    <a:pt x="66" y="387"/>
                  </a:cubicBezTo>
                  <a:cubicBezTo>
                    <a:pt x="65" y="387"/>
                    <a:pt x="65" y="387"/>
                    <a:pt x="65" y="387"/>
                  </a:cubicBezTo>
                  <a:cubicBezTo>
                    <a:pt x="65" y="387"/>
                    <a:pt x="65" y="386"/>
                    <a:pt x="65" y="386"/>
                  </a:cubicBezTo>
                  <a:cubicBezTo>
                    <a:pt x="65" y="386"/>
                    <a:pt x="65" y="386"/>
                    <a:pt x="65" y="386"/>
                  </a:cubicBezTo>
                  <a:cubicBezTo>
                    <a:pt x="65" y="385"/>
                    <a:pt x="65" y="385"/>
                    <a:pt x="65" y="384"/>
                  </a:cubicBezTo>
                  <a:cubicBezTo>
                    <a:pt x="65" y="384"/>
                    <a:pt x="65" y="384"/>
                    <a:pt x="65" y="384"/>
                  </a:cubicBezTo>
                  <a:cubicBezTo>
                    <a:pt x="65" y="384"/>
                    <a:pt x="65" y="383"/>
                    <a:pt x="65" y="383"/>
                  </a:cubicBezTo>
                  <a:cubicBezTo>
                    <a:pt x="64" y="383"/>
                    <a:pt x="64" y="383"/>
                    <a:pt x="64" y="383"/>
                  </a:cubicBezTo>
                  <a:cubicBezTo>
                    <a:pt x="64" y="382"/>
                    <a:pt x="64" y="382"/>
                    <a:pt x="64" y="381"/>
                  </a:cubicBezTo>
                  <a:cubicBezTo>
                    <a:pt x="64" y="381"/>
                    <a:pt x="64" y="381"/>
                    <a:pt x="64" y="381"/>
                  </a:cubicBezTo>
                  <a:cubicBezTo>
                    <a:pt x="64" y="381"/>
                    <a:pt x="64" y="380"/>
                    <a:pt x="64" y="379"/>
                  </a:cubicBezTo>
                  <a:cubicBezTo>
                    <a:pt x="64" y="379"/>
                    <a:pt x="64" y="379"/>
                    <a:pt x="63" y="379"/>
                  </a:cubicBezTo>
                  <a:cubicBezTo>
                    <a:pt x="63" y="378"/>
                    <a:pt x="63" y="377"/>
                    <a:pt x="63" y="376"/>
                  </a:cubicBezTo>
                  <a:cubicBezTo>
                    <a:pt x="63" y="376"/>
                    <a:pt x="63" y="376"/>
                    <a:pt x="63" y="376"/>
                  </a:cubicBezTo>
                  <a:cubicBezTo>
                    <a:pt x="63" y="376"/>
                    <a:pt x="63" y="375"/>
                    <a:pt x="63" y="375"/>
                  </a:cubicBezTo>
                  <a:cubicBezTo>
                    <a:pt x="63" y="375"/>
                    <a:pt x="63" y="375"/>
                    <a:pt x="63" y="375"/>
                  </a:cubicBezTo>
                  <a:cubicBezTo>
                    <a:pt x="63" y="375"/>
                    <a:pt x="63" y="374"/>
                    <a:pt x="63" y="373"/>
                  </a:cubicBezTo>
                  <a:cubicBezTo>
                    <a:pt x="64" y="373"/>
                    <a:pt x="64" y="373"/>
                    <a:pt x="64" y="373"/>
                  </a:cubicBezTo>
                  <a:cubicBezTo>
                    <a:pt x="64" y="373"/>
                    <a:pt x="64" y="373"/>
                    <a:pt x="64" y="372"/>
                  </a:cubicBezTo>
                  <a:cubicBezTo>
                    <a:pt x="64" y="372"/>
                    <a:pt x="64" y="372"/>
                    <a:pt x="64" y="372"/>
                  </a:cubicBezTo>
                  <a:cubicBezTo>
                    <a:pt x="64" y="372"/>
                    <a:pt x="64" y="371"/>
                    <a:pt x="64" y="371"/>
                  </a:cubicBezTo>
                  <a:cubicBezTo>
                    <a:pt x="64" y="371"/>
                    <a:pt x="64" y="371"/>
                    <a:pt x="65" y="371"/>
                  </a:cubicBezTo>
                  <a:cubicBezTo>
                    <a:pt x="65" y="371"/>
                    <a:pt x="65" y="370"/>
                    <a:pt x="65" y="370"/>
                  </a:cubicBezTo>
                  <a:cubicBezTo>
                    <a:pt x="65" y="370"/>
                    <a:pt x="65" y="370"/>
                    <a:pt x="65" y="370"/>
                  </a:cubicBezTo>
                  <a:cubicBezTo>
                    <a:pt x="65" y="370"/>
                    <a:pt x="65" y="369"/>
                    <a:pt x="65" y="369"/>
                  </a:cubicBezTo>
                  <a:cubicBezTo>
                    <a:pt x="65" y="369"/>
                    <a:pt x="65" y="369"/>
                    <a:pt x="65" y="369"/>
                  </a:cubicBezTo>
                  <a:cubicBezTo>
                    <a:pt x="65" y="368"/>
                    <a:pt x="65" y="367"/>
                    <a:pt x="66" y="367"/>
                  </a:cubicBezTo>
                  <a:cubicBezTo>
                    <a:pt x="66" y="367"/>
                    <a:pt x="66" y="367"/>
                    <a:pt x="66" y="367"/>
                  </a:cubicBezTo>
                  <a:cubicBezTo>
                    <a:pt x="67" y="360"/>
                    <a:pt x="69" y="354"/>
                    <a:pt x="70" y="347"/>
                  </a:cubicBezTo>
                  <a:cubicBezTo>
                    <a:pt x="70" y="345"/>
                    <a:pt x="70" y="344"/>
                    <a:pt x="70" y="342"/>
                  </a:cubicBezTo>
                  <a:cubicBezTo>
                    <a:pt x="71" y="342"/>
                    <a:pt x="71" y="342"/>
                    <a:pt x="71" y="342"/>
                  </a:cubicBezTo>
                  <a:cubicBezTo>
                    <a:pt x="71" y="341"/>
                    <a:pt x="71" y="340"/>
                    <a:pt x="71" y="340"/>
                  </a:cubicBezTo>
                  <a:cubicBezTo>
                    <a:pt x="71" y="340"/>
                    <a:pt x="71" y="340"/>
                    <a:pt x="71" y="340"/>
                  </a:cubicBezTo>
                  <a:cubicBezTo>
                    <a:pt x="71" y="339"/>
                    <a:pt x="71" y="338"/>
                    <a:pt x="71" y="337"/>
                  </a:cubicBezTo>
                  <a:cubicBezTo>
                    <a:pt x="71" y="337"/>
                    <a:pt x="71" y="337"/>
                    <a:pt x="71" y="337"/>
                  </a:cubicBezTo>
                  <a:cubicBezTo>
                    <a:pt x="71" y="336"/>
                    <a:pt x="71" y="335"/>
                    <a:pt x="71" y="334"/>
                  </a:cubicBezTo>
                  <a:cubicBezTo>
                    <a:pt x="72" y="334"/>
                    <a:pt x="72" y="334"/>
                    <a:pt x="72" y="334"/>
                  </a:cubicBezTo>
                  <a:cubicBezTo>
                    <a:pt x="72" y="333"/>
                    <a:pt x="72" y="332"/>
                    <a:pt x="72" y="331"/>
                  </a:cubicBezTo>
                  <a:cubicBezTo>
                    <a:pt x="72" y="331"/>
                    <a:pt x="72" y="331"/>
                    <a:pt x="72" y="331"/>
                  </a:cubicBezTo>
                  <a:cubicBezTo>
                    <a:pt x="72" y="329"/>
                    <a:pt x="72" y="328"/>
                    <a:pt x="72" y="327"/>
                  </a:cubicBezTo>
                  <a:cubicBezTo>
                    <a:pt x="72" y="327"/>
                    <a:pt x="72" y="327"/>
                    <a:pt x="73" y="327"/>
                  </a:cubicBezTo>
                  <a:cubicBezTo>
                    <a:pt x="73" y="326"/>
                    <a:pt x="73" y="324"/>
                    <a:pt x="73" y="323"/>
                  </a:cubicBezTo>
                  <a:cubicBezTo>
                    <a:pt x="73" y="323"/>
                    <a:pt x="73" y="323"/>
                    <a:pt x="73" y="323"/>
                  </a:cubicBezTo>
                  <a:cubicBezTo>
                    <a:pt x="73" y="320"/>
                    <a:pt x="73" y="317"/>
                    <a:pt x="73" y="314"/>
                  </a:cubicBezTo>
                  <a:cubicBezTo>
                    <a:pt x="73" y="314"/>
                    <a:pt x="73" y="314"/>
                    <a:pt x="74" y="314"/>
                  </a:cubicBezTo>
                  <a:cubicBezTo>
                    <a:pt x="74" y="312"/>
                    <a:pt x="74" y="311"/>
                    <a:pt x="74" y="309"/>
                  </a:cubicBezTo>
                  <a:cubicBezTo>
                    <a:pt x="74" y="309"/>
                    <a:pt x="74" y="309"/>
                    <a:pt x="74" y="309"/>
                  </a:cubicBezTo>
                  <a:cubicBezTo>
                    <a:pt x="74" y="308"/>
                    <a:pt x="74" y="306"/>
                    <a:pt x="74" y="305"/>
                  </a:cubicBezTo>
                  <a:cubicBezTo>
                    <a:pt x="74" y="302"/>
                    <a:pt x="74" y="300"/>
                    <a:pt x="74" y="297"/>
                  </a:cubicBezTo>
                  <a:cubicBezTo>
                    <a:pt x="74" y="297"/>
                    <a:pt x="75" y="297"/>
                    <a:pt x="75" y="297"/>
                  </a:cubicBezTo>
                  <a:cubicBezTo>
                    <a:pt x="75" y="295"/>
                    <a:pt x="75" y="293"/>
                    <a:pt x="75" y="291"/>
                  </a:cubicBezTo>
                  <a:cubicBezTo>
                    <a:pt x="75" y="291"/>
                    <a:pt x="75" y="291"/>
                    <a:pt x="75" y="291"/>
                  </a:cubicBezTo>
                  <a:cubicBezTo>
                    <a:pt x="75" y="290"/>
                    <a:pt x="75" y="288"/>
                    <a:pt x="75" y="286"/>
                  </a:cubicBezTo>
                  <a:cubicBezTo>
                    <a:pt x="75" y="286"/>
                    <a:pt x="75" y="286"/>
                    <a:pt x="75" y="286"/>
                  </a:cubicBezTo>
                  <a:cubicBezTo>
                    <a:pt x="75" y="284"/>
                    <a:pt x="75" y="283"/>
                    <a:pt x="75" y="281"/>
                  </a:cubicBezTo>
                  <a:cubicBezTo>
                    <a:pt x="75" y="281"/>
                    <a:pt x="75" y="281"/>
                    <a:pt x="75" y="281"/>
                  </a:cubicBezTo>
                  <a:cubicBezTo>
                    <a:pt x="75" y="281"/>
                    <a:pt x="75" y="281"/>
                    <a:pt x="75" y="281"/>
                  </a:cubicBezTo>
                  <a:cubicBezTo>
                    <a:pt x="75" y="281"/>
                    <a:pt x="75" y="281"/>
                    <a:pt x="75" y="281"/>
                  </a:cubicBezTo>
                  <a:cubicBezTo>
                    <a:pt x="75" y="280"/>
                    <a:pt x="75" y="280"/>
                    <a:pt x="75" y="279"/>
                  </a:cubicBezTo>
                  <a:cubicBezTo>
                    <a:pt x="75" y="279"/>
                    <a:pt x="74" y="279"/>
                    <a:pt x="74" y="279"/>
                  </a:cubicBezTo>
                  <a:cubicBezTo>
                    <a:pt x="74" y="279"/>
                    <a:pt x="74" y="279"/>
                    <a:pt x="74" y="279"/>
                  </a:cubicBezTo>
                  <a:cubicBezTo>
                    <a:pt x="74" y="279"/>
                    <a:pt x="74" y="279"/>
                    <a:pt x="74" y="279"/>
                  </a:cubicBezTo>
                  <a:cubicBezTo>
                    <a:pt x="74" y="278"/>
                    <a:pt x="74" y="278"/>
                    <a:pt x="74" y="278"/>
                  </a:cubicBezTo>
                  <a:cubicBezTo>
                    <a:pt x="74" y="278"/>
                    <a:pt x="74" y="278"/>
                    <a:pt x="74" y="278"/>
                  </a:cubicBezTo>
                  <a:cubicBezTo>
                    <a:pt x="74" y="278"/>
                    <a:pt x="74" y="277"/>
                    <a:pt x="74" y="277"/>
                  </a:cubicBezTo>
                  <a:cubicBezTo>
                    <a:pt x="73" y="277"/>
                    <a:pt x="73" y="277"/>
                    <a:pt x="73" y="277"/>
                  </a:cubicBezTo>
                  <a:cubicBezTo>
                    <a:pt x="73" y="276"/>
                    <a:pt x="73" y="276"/>
                    <a:pt x="73" y="275"/>
                  </a:cubicBezTo>
                  <a:cubicBezTo>
                    <a:pt x="73" y="275"/>
                    <a:pt x="73" y="275"/>
                    <a:pt x="73" y="275"/>
                  </a:cubicBezTo>
                  <a:cubicBezTo>
                    <a:pt x="73" y="275"/>
                    <a:pt x="73" y="275"/>
                    <a:pt x="73" y="274"/>
                  </a:cubicBezTo>
                  <a:cubicBezTo>
                    <a:pt x="72" y="274"/>
                    <a:pt x="72" y="274"/>
                    <a:pt x="72" y="274"/>
                  </a:cubicBezTo>
                  <a:cubicBezTo>
                    <a:pt x="72" y="274"/>
                    <a:pt x="72" y="274"/>
                    <a:pt x="72" y="274"/>
                  </a:cubicBezTo>
                  <a:cubicBezTo>
                    <a:pt x="72" y="274"/>
                    <a:pt x="72" y="274"/>
                    <a:pt x="72" y="274"/>
                  </a:cubicBezTo>
                  <a:cubicBezTo>
                    <a:pt x="72" y="273"/>
                    <a:pt x="72" y="273"/>
                    <a:pt x="72" y="272"/>
                  </a:cubicBezTo>
                  <a:cubicBezTo>
                    <a:pt x="72" y="272"/>
                    <a:pt x="72" y="272"/>
                    <a:pt x="71" y="272"/>
                  </a:cubicBezTo>
                  <a:cubicBezTo>
                    <a:pt x="71" y="272"/>
                    <a:pt x="71" y="272"/>
                    <a:pt x="71" y="271"/>
                  </a:cubicBezTo>
                  <a:cubicBezTo>
                    <a:pt x="71" y="271"/>
                    <a:pt x="71" y="271"/>
                    <a:pt x="71" y="271"/>
                  </a:cubicBezTo>
                  <a:cubicBezTo>
                    <a:pt x="71" y="271"/>
                    <a:pt x="71" y="271"/>
                    <a:pt x="71" y="270"/>
                  </a:cubicBezTo>
                  <a:cubicBezTo>
                    <a:pt x="71" y="270"/>
                    <a:pt x="71" y="270"/>
                    <a:pt x="71" y="270"/>
                  </a:cubicBezTo>
                  <a:cubicBezTo>
                    <a:pt x="71" y="270"/>
                    <a:pt x="71" y="270"/>
                    <a:pt x="71" y="269"/>
                  </a:cubicBezTo>
                  <a:cubicBezTo>
                    <a:pt x="71" y="269"/>
                    <a:pt x="71" y="269"/>
                    <a:pt x="70" y="269"/>
                  </a:cubicBezTo>
                  <a:cubicBezTo>
                    <a:pt x="70" y="269"/>
                    <a:pt x="70" y="269"/>
                    <a:pt x="70" y="268"/>
                  </a:cubicBezTo>
                  <a:cubicBezTo>
                    <a:pt x="70" y="268"/>
                    <a:pt x="70" y="268"/>
                    <a:pt x="70" y="268"/>
                  </a:cubicBezTo>
                  <a:cubicBezTo>
                    <a:pt x="70" y="268"/>
                    <a:pt x="70" y="268"/>
                    <a:pt x="70" y="267"/>
                  </a:cubicBezTo>
                  <a:cubicBezTo>
                    <a:pt x="70" y="267"/>
                    <a:pt x="70" y="267"/>
                    <a:pt x="70" y="267"/>
                  </a:cubicBezTo>
                  <a:cubicBezTo>
                    <a:pt x="70" y="267"/>
                    <a:pt x="70" y="267"/>
                    <a:pt x="70" y="266"/>
                  </a:cubicBezTo>
                  <a:cubicBezTo>
                    <a:pt x="70" y="266"/>
                    <a:pt x="70" y="266"/>
                    <a:pt x="69" y="266"/>
                  </a:cubicBezTo>
                  <a:cubicBezTo>
                    <a:pt x="69" y="266"/>
                    <a:pt x="69" y="266"/>
                    <a:pt x="69" y="265"/>
                  </a:cubicBezTo>
                  <a:cubicBezTo>
                    <a:pt x="69" y="265"/>
                    <a:pt x="69" y="265"/>
                    <a:pt x="69" y="265"/>
                  </a:cubicBezTo>
                  <a:cubicBezTo>
                    <a:pt x="69" y="265"/>
                    <a:pt x="69" y="264"/>
                    <a:pt x="69" y="264"/>
                  </a:cubicBezTo>
                  <a:cubicBezTo>
                    <a:pt x="69" y="264"/>
                    <a:pt x="69" y="264"/>
                    <a:pt x="69" y="264"/>
                  </a:cubicBezTo>
                  <a:cubicBezTo>
                    <a:pt x="68" y="263"/>
                    <a:pt x="68" y="262"/>
                    <a:pt x="68" y="261"/>
                  </a:cubicBezTo>
                  <a:cubicBezTo>
                    <a:pt x="68" y="261"/>
                    <a:pt x="68" y="261"/>
                    <a:pt x="68" y="261"/>
                  </a:cubicBezTo>
                  <a:cubicBezTo>
                    <a:pt x="67" y="259"/>
                    <a:pt x="67" y="258"/>
                    <a:pt x="67" y="257"/>
                  </a:cubicBezTo>
                  <a:cubicBezTo>
                    <a:pt x="67" y="257"/>
                    <a:pt x="67" y="257"/>
                    <a:pt x="67" y="257"/>
                  </a:cubicBezTo>
                  <a:cubicBezTo>
                    <a:pt x="66" y="256"/>
                    <a:pt x="66" y="255"/>
                    <a:pt x="66" y="254"/>
                  </a:cubicBezTo>
                  <a:cubicBezTo>
                    <a:pt x="64" y="248"/>
                    <a:pt x="63" y="240"/>
                    <a:pt x="60" y="233"/>
                  </a:cubicBezTo>
                  <a:cubicBezTo>
                    <a:pt x="60" y="232"/>
                    <a:pt x="60" y="231"/>
                    <a:pt x="60" y="230"/>
                  </a:cubicBezTo>
                  <a:cubicBezTo>
                    <a:pt x="60" y="230"/>
                    <a:pt x="60" y="230"/>
                    <a:pt x="60" y="230"/>
                  </a:cubicBezTo>
                  <a:cubicBezTo>
                    <a:pt x="60" y="230"/>
                    <a:pt x="60" y="229"/>
                    <a:pt x="60" y="229"/>
                  </a:cubicBezTo>
                  <a:cubicBezTo>
                    <a:pt x="59" y="229"/>
                    <a:pt x="59" y="229"/>
                    <a:pt x="59" y="229"/>
                  </a:cubicBezTo>
                  <a:cubicBezTo>
                    <a:pt x="59" y="228"/>
                    <a:pt x="59" y="228"/>
                    <a:pt x="59" y="228"/>
                  </a:cubicBezTo>
                  <a:cubicBezTo>
                    <a:pt x="59" y="228"/>
                    <a:pt x="59" y="228"/>
                    <a:pt x="59" y="228"/>
                  </a:cubicBezTo>
                  <a:cubicBezTo>
                    <a:pt x="59" y="227"/>
                    <a:pt x="59" y="226"/>
                    <a:pt x="59" y="225"/>
                  </a:cubicBezTo>
                  <a:cubicBezTo>
                    <a:pt x="58" y="225"/>
                    <a:pt x="58" y="225"/>
                    <a:pt x="58" y="225"/>
                  </a:cubicBezTo>
                  <a:cubicBezTo>
                    <a:pt x="58" y="224"/>
                    <a:pt x="58" y="224"/>
                    <a:pt x="58" y="223"/>
                  </a:cubicBezTo>
                  <a:cubicBezTo>
                    <a:pt x="58" y="223"/>
                    <a:pt x="58" y="223"/>
                    <a:pt x="58" y="223"/>
                  </a:cubicBezTo>
                  <a:cubicBezTo>
                    <a:pt x="58" y="222"/>
                    <a:pt x="58" y="222"/>
                    <a:pt x="58" y="221"/>
                  </a:cubicBezTo>
                  <a:cubicBezTo>
                    <a:pt x="56" y="216"/>
                    <a:pt x="54" y="210"/>
                    <a:pt x="52" y="204"/>
                  </a:cubicBezTo>
                  <a:cubicBezTo>
                    <a:pt x="51" y="204"/>
                    <a:pt x="51" y="204"/>
                    <a:pt x="51" y="204"/>
                  </a:cubicBezTo>
                  <a:cubicBezTo>
                    <a:pt x="51" y="204"/>
                    <a:pt x="51" y="203"/>
                    <a:pt x="51" y="203"/>
                  </a:cubicBezTo>
                  <a:cubicBezTo>
                    <a:pt x="51" y="203"/>
                    <a:pt x="51" y="203"/>
                    <a:pt x="51" y="203"/>
                  </a:cubicBezTo>
                  <a:cubicBezTo>
                    <a:pt x="51" y="203"/>
                    <a:pt x="51" y="202"/>
                    <a:pt x="51" y="202"/>
                  </a:cubicBezTo>
                  <a:cubicBezTo>
                    <a:pt x="50" y="202"/>
                    <a:pt x="50" y="202"/>
                    <a:pt x="50" y="202"/>
                  </a:cubicBezTo>
                  <a:cubicBezTo>
                    <a:pt x="50" y="201"/>
                    <a:pt x="50" y="201"/>
                    <a:pt x="50" y="200"/>
                  </a:cubicBezTo>
                  <a:cubicBezTo>
                    <a:pt x="50" y="200"/>
                    <a:pt x="50" y="200"/>
                    <a:pt x="49" y="200"/>
                  </a:cubicBezTo>
                  <a:cubicBezTo>
                    <a:pt x="49" y="200"/>
                    <a:pt x="49" y="200"/>
                    <a:pt x="49" y="199"/>
                  </a:cubicBezTo>
                  <a:cubicBezTo>
                    <a:pt x="49" y="199"/>
                    <a:pt x="49" y="199"/>
                    <a:pt x="49" y="199"/>
                  </a:cubicBezTo>
                  <a:cubicBezTo>
                    <a:pt x="49" y="199"/>
                    <a:pt x="49" y="199"/>
                    <a:pt x="49" y="199"/>
                  </a:cubicBezTo>
                  <a:cubicBezTo>
                    <a:pt x="49" y="199"/>
                    <a:pt x="49" y="199"/>
                    <a:pt x="49" y="199"/>
                  </a:cubicBezTo>
                  <a:cubicBezTo>
                    <a:pt x="49" y="198"/>
                    <a:pt x="49" y="198"/>
                    <a:pt x="49" y="198"/>
                  </a:cubicBezTo>
                  <a:cubicBezTo>
                    <a:pt x="49" y="198"/>
                    <a:pt x="48" y="198"/>
                    <a:pt x="48" y="198"/>
                  </a:cubicBezTo>
                  <a:cubicBezTo>
                    <a:pt x="48" y="197"/>
                    <a:pt x="48" y="197"/>
                    <a:pt x="48" y="196"/>
                  </a:cubicBezTo>
                  <a:cubicBezTo>
                    <a:pt x="47" y="196"/>
                    <a:pt x="47" y="196"/>
                    <a:pt x="47" y="196"/>
                  </a:cubicBezTo>
                  <a:cubicBezTo>
                    <a:pt x="47" y="195"/>
                    <a:pt x="47" y="195"/>
                    <a:pt x="47" y="195"/>
                  </a:cubicBezTo>
                  <a:cubicBezTo>
                    <a:pt x="46" y="194"/>
                    <a:pt x="46" y="194"/>
                    <a:pt x="46" y="194"/>
                  </a:cubicBezTo>
                  <a:cubicBezTo>
                    <a:pt x="46" y="194"/>
                    <a:pt x="46" y="193"/>
                    <a:pt x="46" y="193"/>
                  </a:cubicBezTo>
                  <a:cubicBezTo>
                    <a:pt x="45" y="193"/>
                    <a:pt x="45" y="193"/>
                    <a:pt x="45" y="193"/>
                  </a:cubicBezTo>
                  <a:cubicBezTo>
                    <a:pt x="45" y="193"/>
                    <a:pt x="45" y="192"/>
                    <a:pt x="45" y="192"/>
                  </a:cubicBezTo>
                  <a:cubicBezTo>
                    <a:pt x="45" y="192"/>
                    <a:pt x="44" y="192"/>
                    <a:pt x="44" y="191"/>
                  </a:cubicBezTo>
                  <a:cubicBezTo>
                    <a:pt x="44" y="191"/>
                    <a:pt x="44" y="191"/>
                    <a:pt x="44" y="191"/>
                  </a:cubicBezTo>
                  <a:cubicBezTo>
                    <a:pt x="43" y="190"/>
                    <a:pt x="43" y="190"/>
                    <a:pt x="42" y="190"/>
                  </a:cubicBezTo>
                  <a:cubicBezTo>
                    <a:pt x="42" y="189"/>
                    <a:pt x="42" y="189"/>
                    <a:pt x="42" y="189"/>
                  </a:cubicBezTo>
                  <a:cubicBezTo>
                    <a:pt x="42" y="189"/>
                    <a:pt x="42" y="189"/>
                    <a:pt x="42" y="189"/>
                  </a:cubicBezTo>
                  <a:cubicBezTo>
                    <a:pt x="42" y="188"/>
                    <a:pt x="41" y="188"/>
                    <a:pt x="41" y="188"/>
                  </a:cubicBezTo>
                  <a:cubicBezTo>
                    <a:pt x="41" y="188"/>
                    <a:pt x="41" y="188"/>
                    <a:pt x="41" y="188"/>
                  </a:cubicBezTo>
                  <a:cubicBezTo>
                    <a:pt x="41" y="187"/>
                    <a:pt x="41" y="187"/>
                    <a:pt x="41" y="187"/>
                  </a:cubicBezTo>
                  <a:cubicBezTo>
                    <a:pt x="40" y="186"/>
                    <a:pt x="40" y="186"/>
                    <a:pt x="39" y="185"/>
                  </a:cubicBezTo>
                  <a:cubicBezTo>
                    <a:pt x="39" y="185"/>
                    <a:pt x="39" y="185"/>
                    <a:pt x="39" y="185"/>
                  </a:cubicBezTo>
                  <a:cubicBezTo>
                    <a:pt x="38" y="184"/>
                    <a:pt x="38" y="184"/>
                    <a:pt x="37" y="183"/>
                  </a:cubicBezTo>
                  <a:cubicBezTo>
                    <a:pt x="37" y="183"/>
                    <a:pt x="37" y="183"/>
                    <a:pt x="37" y="183"/>
                  </a:cubicBezTo>
                  <a:cubicBezTo>
                    <a:pt x="37" y="182"/>
                    <a:pt x="36" y="182"/>
                    <a:pt x="36" y="182"/>
                  </a:cubicBezTo>
                  <a:cubicBezTo>
                    <a:pt x="36" y="181"/>
                    <a:pt x="36" y="181"/>
                    <a:pt x="36" y="181"/>
                  </a:cubicBezTo>
                  <a:cubicBezTo>
                    <a:pt x="35" y="181"/>
                    <a:pt x="35" y="180"/>
                    <a:pt x="35" y="180"/>
                  </a:cubicBezTo>
                  <a:cubicBezTo>
                    <a:pt x="35" y="180"/>
                    <a:pt x="35" y="180"/>
                    <a:pt x="35" y="179"/>
                  </a:cubicBezTo>
                  <a:cubicBezTo>
                    <a:pt x="35" y="179"/>
                    <a:pt x="34" y="179"/>
                    <a:pt x="34" y="179"/>
                  </a:cubicBezTo>
                  <a:cubicBezTo>
                    <a:pt x="34" y="179"/>
                    <a:pt x="34" y="178"/>
                    <a:pt x="34" y="178"/>
                  </a:cubicBezTo>
                  <a:cubicBezTo>
                    <a:pt x="34" y="178"/>
                    <a:pt x="33" y="178"/>
                    <a:pt x="33" y="178"/>
                  </a:cubicBezTo>
                  <a:cubicBezTo>
                    <a:pt x="33" y="178"/>
                    <a:pt x="33" y="178"/>
                    <a:pt x="33" y="177"/>
                  </a:cubicBezTo>
                  <a:cubicBezTo>
                    <a:pt x="33" y="177"/>
                    <a:pt x="33" y="177"/>
                    <a:pt x="33" y="177"/>
                  </a:cubicBezTo>
                  <a:cubicBezTo>
                    <a:pt x="33" y="177"/>
                    <a:pt x="32" y="176"/>
                    <a:pt x="32" y="176"/>
                  </a:cubicBezTo>
                  <a:cubicBezTo>
                    <a:pt x="32" y="176"/>
                    <a:pt x="32" y="175"/>
                    <a:pt x="32" y="175"/>
                  </a:cubicBezTo>
                  <a:cubicBezTo>
                    <a:pt x="31" y="174"/>
                    <a:pt x="31" y="173"/>
                    <a:pt x="31" y="172"/>
                  </a:cubicBezTo>
                  <a:cubicBezTo>
                    <a:pt x="30" y="172"/>
                    <a:pt x="30" y="172"/>
                    <a:pt x="30" y="172"/>
                  </a:cubicBezTo>
                  <a:cubicBezTo>
                    <a:pt x="30" y="171"/>
                    <a:pt x="30" y="171"/>
                    <a:pt x="30" y="170"/>
                  </a:cubicBezTo>
                  <a:cubicBezTo>
                    <a:pt x="29" y="170"/>
                    <a:pt x="29" y="170"/>
                    <a:pt x="29" y="170"/>
                  </a:cubicBezTo>
                  <a:cubicBezTo>
                    <a:pt x="29" y="170"/>
                    <a:pt x="29" y="170"/>
                    <a:pt x="29" y="169"/>
                  </a:cubicBezTo>
                  <a:cubicBezTo>
                    <a:pt x="29" y="169"/>
                    <a:pt x="29" y="169"/>
                    <a:pt x="29" y="169"/>
                  </a:cubicBezTo>
                  <a:cubicBezTo>
                    <a:pt x="29" y="169"/>
                    <a:pt x="29" y="169"/>
                    <a:pt x="29" y="169"/>
                  </a:cubicBezTo>
                  <a:cubicBezTo>
                    <a:pt x="29" y="169"/>
                    <a:pt x="29" y="169"/>
                    <a:pt x="28" y="169"/>
                  </a:cubicBezTo>
                  <a:cubicBezTo>
                    <a:pt x="28" y="168"/>
                    <a:pt x="28" y="168"/>
                    <a:pt x="28" y="168"/>
                  </a:cubicBezTo>
                  <a:cubicBezTo>
                    <a:pt x="28" y="168"/>
                    <a:pt x="28" y="168"/>
                    <a:pt x="28" y="168"/>
                  </a:cubicBezTo>
                  <a:cubicBezTo>
                    <a:pt x="28" y="168"/>
                    <a:pt x="28" y="167"/>
                    <a:pt x="28" y="167"/>
                  </a:cubicBezTo>
                  <a:cubicBezTo>
                    <a:pt x="28" y="167"/>
                    <a:pt x="28" y="167"/>
                    <a:pt x="28" y="167"/>
                  </a:cubicBezTo>
                  <a:cubicBezTo>
                    <a:pt x="28" y="167"/>
                    <a:pt x="28" y="167"/>
                    <a:pt x="28" y="167"/>
                  </a:cubicBezTo>
                  <a:cubicBezTo>
                    <a:pt x="28" y="167"/>
                    <a:pt x="28" y="167"/>
                    <a:pt x="27" y="167"/>
                  </a:cubicBezTo>
                  <a:cubicBezTo>
                    <a:pt x="27" y="166"/>
                    <a:pt x="27" y="166"/>
                    <a:pt x="27" y="166"/>
                  </a:cubicBezTo>
                  <a:cubicBezTo>
                    <a:pt x="27" y="166"/>
                    <a:pt x="27" y="166"/>
                    <a:pt x="27" y="166"/>
                  </a:cubicBezTo>
                  <a:cubicBezTo>
                    <a:pt x="27" y="166"/>
                    <a:pt x="27" y="165"/>
                    <a:pt x="27" y="165"/>
                  </a:cubicBezTo>
                  <a:cubicBezTo>
                    <a:pt x="27" y="165"/>
                    <a:pt x="27" y="165"/>
                    <a:pt x="26" y="165"/>
                  </a:cubicBezTo>
                  <a:cubicBezTo>
                    <a:pt x="26" y="165"/>
                    <a:pt x="26" y="164"/>
                    <a:pt x="26" y="164"/>
                  </a:cubicBezTo>
                  <a:cubicBezTo>
                    <a:pt x="26" y="164"/>
                    <a:pt x="26" y="164"/>
                    <a:pt x="26" y="164"/>
                  </a:cubicBezTo>
                  <a:cubicBezTo>
                    <a:pt x="26" y="164"/>
                    <a:pt x="26" y="164"/>
                    <a:pt x="26" y="163"/>
                  </a:cubicBezTo>
                  <a:cubicBezTo>
                    <a:pt x="26" y="163"/>
                    <a:pt x="26" y="163"/>
                    <a:pt x="26" y="163"/>
                  </a:cubicBezTo>
                  <a:cubicBezTo>
                    <a:pt x="26" y="163"/>
                    <a:pt x="26" y="163"/>
                    <a:pt x="26" y="163"/>
                  </a:cubicBezTo>
                  <a:cubicBezTo>
                    <a:pt x="26" y="163"/>
                    <a:pt x="25" y="163"/>
                    <a:pt x="25" y="163"/>
                  </a:cubicBezTo>
                  <a:cubicBezTo>
                    <a:pt x="25" y="162"/>
                    <a:pt x="25" y="162"/>
                    <a:pt x="25" y="162"/>
                  </a:cubicBezTo>
                  <a:cubicBezTo>
                    <a:pt x="25" y="162"/>
                    <a:pt x="25" y="162"/>
                    <a:pt x="25" y="162"/>
                  </a:cubicBezTo>
                  <a:cubicBezTo>
                    <a:pt x="25" y="162"/>
                    <a:pt x="25" y="161"/>
                    <a:pt x="25" y="161"/>
                  </a:cubicBezTo>
                  <a:cubicBezTo>
                    <a:pt x="24" y="160"/>
                    <a:pt x="24" y="160"/>
                    <a:pt x="24" y="160"/>
                  </a:cubicBezTo>
                  <a:cubicBezTo>
                    <a:pt x="24" y="160"/>
                    <a:pt x="24" y="160"/>
                    <a:pt x="24" y="160"/>
                  </a:cubicBezTo>
                  <a:cubicBezTo>
                    <a:pt x="24" y="160"/>
                    <a:pt x="24" y="160"/>
                    <a:pt x="24" y="160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23" y="159"/>
                    <a:pt x="23" y="159"/>
                    <a:pt x="23" y="159"/>
                  </a:cubicBezTo>
                  <a:cubicBezTo>
                    <a:pt x="23" y="159"/>
                    <a:pt x="23" y="158"/>
                    <a:pt x="23" y="158"/>
                  </a:cubicBezTo>
                  <a:cubicBezTo>
                    <a:pt x="23" y="158"/>
                    <a:pt x="23" y="158"/>
                    <a:pt x="23" y="158"/>
                  </a:cubicBezTo>
                  <a:cubicBezTo>
                    <a:pt x="23" y="158"/>
                    <a:pt x="23" y="158"/>
                    <a:pt x="23" y="157"/>
                  </a:cubicBezTo>
                  <a:cubicBezTo>
                    <a:pt x="23" y="157"/>
                    <a:pt x="22" y="157"/>
                    <a:pt x="22" y="157"/>
                  </a:cubicBezTo>
                  <a:cubicBezTo>
                    <a:pt x="22" y="157"/>
                    <a:pt x="22" y="157"/>
                    <a:pt x="22" y="156"/>
                  </a:cubicBezTo>
                  <a:cubicBezTo>
                    <a:pt x="22" y="156"/>
                    <a:pt x="22" y="156"/>
                    <a:pt x="22" y="156"/>
                  </a:cubicBezTo>
                  <a:cubicBezTo>
                    <a:pt x="22" y="156"/>
                    <a:pt x="22" y="156"/>
                    <a:pt x="22" y="156"/>
                  </a:cubicBezTo>
                  <a:cubicBezTo>
                    <a:pt x="22" y="156"/>
                    <a:pt x="22" y="156"/>
                    <a:pt x="21" y="156"/>
                  </a:cubicBezTo>
                  <a:cubicBezTo>
                    <a:pt x="21" y="155"/>
                    <a:pt x="21" y="155"/>
                    <a:pt x="21" y="155"/>
                  </a:cubicBezTo>
                  <a:cubicBezTo>
                    <a:pt x="21" y="155"/>
                    <a:pt x="21" y="155"/>
                    <a:pt x="21" y="155"/>
                  </a:cubicBezTo>
                  <a:cubicBezTo>
                    <a:pt x="21" y="155"/>
                    <a:pt x="21" y="155"/>
                    <a:pt x="21" y="154"/>
                  </a:cubicBezTo>
                  <a:cubicBezTo>
                    <a:pt x="21" y="154"/>
                    <a:pt x="21" y="154"/>
                    <a:pt x="20" y="154"/>
                  </a:cubicBezTo>
                  <a:cubicBezTo>
                    <a:pt x="20" y="153"/>
                    <a:pt x="20" y="153"/>
                    <a:pt x="20" y="152"/>
                  </a:cubicBezTo>
                  <a:cubicBezTo>
                    <a:pt x="20" y="152"/>
                    <a:pt x="19" y="152"/>
                    <a:pt x="19" y="151"/>
                  </a:cubicBezTo>
                  <a:cubicBezTo>
                    <a:pt x="19" y="151"/>
                    <a:pt x="19" y="150"/>
                    <a:pt x="18" y="149"/>
                  </a:cubicBezTo>
                  <a:cubicBezTo>
                    <a:pt x="18" y="149"/>
                    <a:pt x="18" y="149"/>
                    <a:pt x="18" y="149"/>
                  </a:cubicBezTo>
                  <a:cubicBezTo>
                    <a:pt x="18" y="149"/>
                    <a:pt x="18" y="149"/>
                    <a:pt x="18" y="148"/>
                  </a:cubicBezTo>
                  <a:cubicBezTo>
                    <a:pt x="18" y="148"/>
                    <a:pt x="17" y="148"/>
                    <a:pt x="17" y="148"/>
                  </a:cubicBezTo>
                  <a:cubicBezTo>
                    <a:pt x="17" y="148"/>
                    <a:pt x="17" y="148"/>
                    <a:pt x="17" y="148"/>
                  </a:cubicBezTo>
                  <a:cubicBezTo>
                    <a:pt x="17" y="148"/>
                    <a:pt x="17" y="148"/>
                    <a:pt x="17" y="148"/>
                  </a:cubicBezTo>
                  <a:cubicBezTo>
                    <a:pt x="17" y="147"/>
                    <a:pt x="17" y="147"/>
                    <a:pt x="17" y="147"/>
                  </a:cubicBezTo>
                  <a:cubicBezTo>
                    <a:pt x="17" y="147"/>
                    <a:pt x="17" y="147"/>
                    <a:pt x="17" y="147"/>
                  </a:cubicBezTo>
                  <a:cubicBezTo>
                    <a:pt x="17" y="147"/>
                    <a:pt x="17" y="146"/>
                    <a:pt x="17" y="146"/>
                  </a:cubicBezTo>
                  <a:cubicBezTo>
                    <a:pt x="16" y="146"/>
                    <a:pt x="16" y="146"/>
                    <a:pt x="16" y="146"/>
                  </a:cubicBezTo>
                  <a:cubicBezTo>
                    <a:pt x="16" y="146"/>
                    <a:pt x="16" y="145"/>
                    <a:pt x="16" y="145"/>
                  </a:cubicBezTo>
                  <a:cubicBezTo>
                    <a:pt x="16" y="145"/>
                    <a:pt x="16" y="145"/>
                    <a:pt x="16" y="145"/>
                  </a:cubicBezTo>
                  <a:cubicBezTo>
                    <a:pt x="16" y="145"/>
                    <a:pt x="16" y="145"/>
                    <a:pt x="16" y="144"/>
                  </a:cubicBezTo>
                  <a:cubicBezTo>
                    <a:pt x="15" y="144"/>
                    <a:pt x="15" y="144"/>
                    <a:pt x="15" y="144"/>
                  </a:cubicBezTo>
                  <a:cubicBezTo>
                    <a:pt x="15" y="144"/>
                    <a:pt x="15" y="144"/>
                    <a:pt x="15" y="144"/>
                  </a:cubicBezTo>
                  <a:cubicBezTo>
                    <a:pt x="15" y="144"/>
                    <a:pt x="15" y="144"/>
                    <a:pt x="15" y="144"/>
                  </a:cubicBezTo>
                  <a:cubicBezTo>
                    <a:pt x="15" y="144"/>
                    <a:pt x="15" y="143"/>
                    <a:pt x="15" y="143"/>
                  </a:cubicBezTo>
                  <a:cubicBezTo>
                    <a:pt x="15" y="143"/>
                    <a:pt x="14" y="143"/>
                    <a:pt x="14" y="143"/>
                  </a:cubicBezTo>
                  <a:cubicBezTo>
                    <a:pt x="14" y="143"/>
                    <a:pt x="14" y="142"/>
                    <a:pt x="14" y="142"/>
                  </a:cubicBezTo>
                  <a:cubicBezTo>
                    <a:pt x="14" y="142"/>
                    <a:pt x="14" y="142"/>
                    <a:pt x="14" y="142"/>
                  </a:cubicBezTo>
                  <a:cubicBezTo>
                    <a:pt x="14" y="142"/>
                    <a:pt x="14" y="142"/>
                    <a:pt x="14" y="141"/>
                  </a:cubicBezTo>
                  <a:cubicBezTo>
                    <a:pt x="14" y="141"/>
                    <a:pt x="14" y="141"/>
                    <a:pt x="13" y="141"/>
                  </a:cubicBezTo>
                  <a:cubicBezTo>
                    <a:pt x="13" y="141"/>
                    <a:pt x="13" y="141"/>
                    <a:pt x="13" y="141"/>
                  </a:cubicBezTo>
                  <a:cubicBezTo>
                    <a:pt x="13" y="141"/>
                    <a:pt x="13" y="141"/>
                    <a:pt x="13" y="141"/>
                  </a:cubicBezTo>
                  <a:cubicBezTo>
                    <a:pt x="13" y="140"/>
                    <a:pt x="13" y="140"/>
                    <a:pt x="13" y="140"/>
                  </a:cubicBezTo>
                  <a:cubicBezTo>
                    <a:pt x="13" y="140"/>
                    <a:pt x="13" y="140"/>
                    <a:pt x="13" y="140"/>
                  </a:cubicBezTo>
                  <a:cubicBezTo>
                    <a:pt x="13" y="140"/>
                    <a:pt x="13" y="139"/>
                    <a:pt x="13" y="139"/>
                  </a:cubicBezTo>
                  <a:cubicBezTo>
                    <a:pt x="13" y="139"/>
                    <a:pt x="13" y="139"/>
                    <a:pt x="12" y="139"/>
                  </a:cubicBezTo>
                  <a:cubicBezTo>
                    <a:pt x="12" y="139"/>
                    <a:pt x="12" y="138"/>
                    <a:pt x="12" y="138"/>
                  </a:cubicBezTo>
                  <a:cubicBezTo>
                    <a:pt x="12" y="138"/>
                    <a:pt x="12" y="138"/>
                    <a:pt x="11" y="138"/>
                  </a:cubicBezTo>
                  <a:cubicBezTo>
                    <a:pt x="11" y="137"/>
                    <a:pt x="11" y="137"/>
                    <a:pt x="11" y="137"/>
                  </a:cubicBezTo>
                  <a:cubicBezTo>
                    <a:pt x="11" y="137"/>
                    <a:pt x="11" y="137"/>
                    <a:pt x="11" y="137"/>
                  </a:cubicBezTo>
                  <a:cubicBezTo>
                    <a:pt x="11" y="137"/>
                    <a:pt x="11" y="136"/>
                    <a:pt x="11" y="136"/>
                  </a:cubicBezTo>
                  <a:cubicBezTo>
                    <a:pt x="11" y="136"/>
                    <a:pt x="11" y="136"/>
                    <a:pt x="11" y="136"/>
                  </a:cubicBezTo>
                  <a:cubicBezTo>
                    <a:pt x="11" y="136"/>
                    <a:pt x="11" y="136"/>
                    <a:pt x="11" y="135"/>
                  </a:cubicBezTo>
                  <a:cubicBezTo>
                    <a:pt x="11" y="135"/>
                    <a:pt x="10" y="135"/>
                    <a:pt x="10" y="135"/>
                  </a:cubicBezTo>
                  <a:cubicBezTo>
                    <a:pt x="10" y="135"/>
                    <a:pt x="10" y="135"/>
                    <a:pt x="10" y="135"/>
                  </a:cubicBezTo>
                  <a:cubicBezTo>
                    <a:pt x="10" y="135"/>
                    <a:pt x="10" y="135"/>
                    <a:pt x="10" y="135"/>
                  </a:cubicBezTo>
                  <a:cubicBezTo>
                    <a:pt x="10" y="134"/>
                    <a:pt x="10" y="134"/>
                    <a:pt x="10" y="134"/>
                  </a:cubicBezTo>
                  <a:cubicBezTo>
                    <a:pt x="10" y="134"/>
                    <a:pt x="10" y="134"/>
                    <a:pt x="10" y="134"/>
                  </a:cubicBezTo>
                  <a:cubicBezTo>
                    <a:pt x="10" y="134"/>
                    <a:pt x="10" y="134"/>
                    <a:pt x="10" y="133"/>
                  </a:cubicBezTo>
                  <a:cubicBezTo>
                    <a:pt x="9" y="133"/>
                    <a:pt x="9" y="133"/>
                    <a:pt x="9" y="133"/>
                  </a:cubicBezTo>
                  <a:cubicBezTo>
                    <a:pt x="9" y="133"/>
                    <a:pt x="9" y="133"/>
                    <a:pt x="9" y="133"/>
                  </a:cubicBezTo>
                  <a:cubicBezTo>
                    <a:pt x="9" y="133"/>
                    <a:pt x="9" y="133"/>
                    <a:pt x="9" y="133"/>
                  </a:cubicBezTo>
                  <a:cubicBezTo>
                    <a:pt x="9" y="132"/>
                    <a:pt x="8" y="131"/>
                    <a:pt x="8" y="131"/>
                  </a:cubicBezTo>
                  <a:cubicBezTo>
                    <a:pt x="8" y="131"/>
                    <a:pt x="8" y="131"/>
                    <a:pt x="8" y="131"/>
                  </a:cubicBezTo>
                  <a:cubicBezTo>
                    <a:pt x="8" y="130"/>
                    <a:pt x="8" y="130"/>
                    <a:pt x="8" y="129"/>
                  </a:cubicBezTo>
                  <a:cubicBezTo>
                    <a:pt x="8" y="129"/>
                    <a:pt x="8" y="129"/>
                    <a:pt x="7" y="129"/>
                  </a:cubicBezTo>
                  <a:cubicBezTo>
                    <a:pt x="7" y="129"/>
                    <a:pt x="7" y="129"/>
                    <a:pt x="7" y="129"/>
                  </a:cubicBezTo>
                  <a:cubicBezTo>
                    <a:pt x="7" y="129"/>
                    <a:pt x="7" y="129"/>
                    <a:pt x="7" y="129"/>
                  </a:cubicBezTo>
                  <a:cubicBezTo>
                    <a:pt x="7" y="128"/>
                    <a:pt x="7" y="127"/>
                    <a:pt x="6" y="127"/>
                  </a:cubicBezTo>
                  <a:cubicBezTo>
                    <a:pt x="6" y="127"/>
                    <a:pt x="6" y="127"/>
                    <a:pt x="6" y="127"/>
                  </a:cubicBezTo>
                  <a:cubicBezTo>
                    <a:pt x="6" y="126"/>
                    <a:pt x="6" y="126"/>
                    <a:pt x="6" y="126"/>
                  </a:cubicBezTo>
                  <a:cubicBezTo>
                    <a:pt x="6" y="126"/>
                    <a:pt x="6" y="126"/>
                    <a:pt x="6" y="126"/>
                  </a:cubicBezTo>
                  <a:cubicBezTo>
                    <a:pt x="6" y="125"/>
                    <a:pt x="6" y="125"/>
                    <a:pt x="6" y="125"/>
                  </a:cubicBezTo>
                  <a:cubicBezTo>
                    <a:pt x="6" y="125"/>
                    <a:pt x="6" y="125"/>
                    <a:pt x="5" y="125"/>
                  </a:cubicBezTo>
                  <a:cubicBezTo>
                    <a:pt x="5" y="124"/>
                    <a:pt x="5" y="124"/>
                    <a:pt x="5" y="123"/>
                  </a:cubicBezTo>
                  <a:cubicBezTo>
                    <a:pt x="5" y="123"/>
                    <a:pt x="5" y="123"/>
                    <a:pt x="5" y="123"/>
                  </a:cubicBezTo>
                  <a:cubicBezTo>
                    <a:pt x="5" y="123"/>
                    <a:pt x="5" y="123"/>
                    <a:pt x="5" y="122"/>
                  </a:cubicBezTo>
                  <a:cubicBezTo>
                    <a:pt x="5" y="122"/>
                    <a:pt x="4" y="122"/>
                    <a:pt x="4" y="122"/>
                  </a:cubicBezTo>
                  <a:cubicBezTo>
                    <a:pt x="4" y="122"/>
                    <a:pt x="4" y="121"/>
                    <a:pt x="4" y="121"/>
                  </a:cubicBezTo>
                  <a:cubicBezTo>
                    <a:pt x="4" y="121"/>
                    <a:pt x="4" y="121"/>
                    <a:pt x="4" y="121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4" y="120"/>
                    <a:pt x="3" y="120"/>
                    <a:pt x="3" y="120"/>
                  </a:cubicBezTo>
                  <a:cubicBezTo>
                    <a:pt x="3" y="119"/>
                    <a:pt x="3" y="118"/>
                    <a:pt x="3" y="117"/>
                  </a:cubicBezTo>
                  <a:cubicBezTo>
                    <a:pt x="3" y="117"/>
                    <a:pt x="3" y="117"/>
                    <a:pt x="3" y="117"/>
                  </a:cubicBezTo>
                  <a:cubicBezTo>
                    <a:pt x="3" y="114"/>
                    <a:pt x="3" y="111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7"/>
                    <a:pt x="3" y="106"/>
                    <a:pt x="3" y="105"/>
                  </a:cubicBezTo>
                  <a:cubicBezTo>
                    <a:pt x="2" y="105"/>
                    <a:pt x="2" y="105"/>
                    <a:pt x="2" y="105"/>
                  </a:cubicBezTo>
                  <a:cubicBezTo>
                    <a:pt x="2" y="104"/>
                    <a:pt x="2" y="104"/>
                    <a:pt x="2" y="103"/>
                  </a:cubicBezTo>
                  <a:cubicBezTo>
                    <a:pt x="2" y="103"/>
                    <a:pt x="2" y="103"/>
                    <a:pt x="2" y="103"/>
                  </a:cubicBezTo>
                  <a:cubicBezTo>
                    <a:pt x="2" y="103"/>
                    <a:pt x="2" y="102"/>
                    <a:pt x="2" y="101"/>
                  </a:cubicBezTo>
                  <a:cubicBezTo>
                    <a:pt x="2" y="101"/>
                    <a:pt x="2" y="101"/>
                    <a:pt x="2" y="101"/>
                  </a:cubicBezTo>
                  <a:cubicBezTo>
                    <a:pt x="2" y="100"/>
                    <a:pt x="2" y="99"/>
                    <a:pt x="2" y="98"/>
                  </a:cubicBezTo>
                  <a:cubicBezTo>
                    <a:pt x="1" y="98"/>
                    <a:pt x="1" y="98"/>
                    <a:pt x="1" y="98"/>
                  </a:cubicBezTo>
                  <a:cubicBezTo>
                    <a:pt x="1" y="96"/>
                    <a:pt x="1" y="95"/>
                    <a:pt x="1" y="93"/>
                  </a:cubicBezTo>
                  <a:cubicBezTo>
                    <a:pt x="1" y="93"/>
                    <a:pt x="1" y="93"/>
                    <a:pt x="1" y="93"/>
                  </a:cubicBezTo>
                  <a:cubicBezTo>
                    <a:pt x="1" y="91"/>
                    <a:pt x="1" y="89"/>
                    <a:pt x="1" y="87"/>
                  </a:cubicBezTo>
                  <a:cubicBezTo>
                    <a:pt x="0" y="85"/>
                    <a:pt x="1" y="82"/>
                    <a:pt x="1" y="80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78"/>
                    <a:pt x="0" y="76"/>
                    <a:pt x="0" y="74"/>
                  </a:cubicBezTo>
                  <a:cubicBezTo>
                    <a:pt x="1" y="73"/>
                    <a:pt x="2" y="72"/>
                    <a:pt x="4" y="71"/>
                  </a:cubicBezTo>
                  <a:cubicBezTo>
                    <a:pt x="4" y="71"/>
                    <a:pt x="4" y="71"/>
                    <a:pt x="4" y="70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6" y="69"/>
                    <a:pt x="7" y="68"/>
                    <a:pt x="7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9" y="67"/>
                    <a:pt x="10" y="66"/>
                    <a:pt x="10" y="65"/>
                  </a:cubicBezTo>
                  <a:cubicBezTo>
                    <a:pt x="11" y="65"/>
                    <a:pt x="11" y="65"/>
                    <a:pt x="11" y="65"/>
                  </a:cubicBezTo>
                  <a:cubicBezTo>
                    <a:pt x="12" y="64"/>
                    <a:pt x="13" y="63"/>
                    <a:pt x="13" y="62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61"/>
                    <a:pt x="16" y="60"/>
                    <a:pt x="17" y="60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18" y="59"/>
                    <a:pt x="19" y="58"/>
                    <a:pt x="20" y="57"/>
                  </a:cubicBezTo>
                  <a:cubicBezTo>
                    <a:pt x="20" y="57"/>
                    <a:pt x="20" y="57"/>
                    <a:pt x="20" y="57"/>
                  </a:cubicBezTo>
                  <a:cubicBezTo>
                    <a:pt x="21" y="56"/>
                    <a:pt x="22" y="55"/>
                    <a:pt x="23" y="54"/>
                  </a:cubicBezTo>
                  <a:cubicBezTo>
                    <a:pt x="23" y="54"/>
                    <a:pt x="23" y="54"/>
                    <a:pt x="24" y="54"/>
                  </a:cubicBezTo>
                  <a:cubicBezTo>
                    <a:pt x="24" y="53"/>
                    <a:pt x="25" y="52"/>
                    <a:pt x="26" y="51"/>
                  </a:cubicBezTo>
                  <a:cubicBezTo>
                    <a:pt x="26" y="51"/>
                    <a:pt x="26" y="51"/>
                    <a:pt x="27" y="51"/>
                  </a:cubicBezTo>
                  <a:cubicBezTo>
                    <a:pt x="27" y="51"/>
                    <a:pt x="27" y="50"/>
                    <a:pt x="27" y="50"/>
                  </a:cubicBezTo>
                  <a:cubicBezTo>
                    <a:pt x="28" y="50"/>
                    <a:pt x="28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29" y="49"/>
                    <a:pt x="30" y="49"/>
                  </a:cubicBezTo>
                  <a:cubicBezTo>
                    <a:pt x="30" y="48"/>
                    <a:pt x="31" y="47"/>
                    <a:pt x="32" y="46"/>
                  </a:cubicBezTo>
                  <a:cubicBezTo>
                    <a:pt x="32" y="46"/>
                    <a:pt x="32" y="46"/>
                    <a:pt x="33" y="46"/>
                  </a:cubicBezTo>
                  <a:cubicBezTo>
                    <a:pt x="33" y="45"/>
                    <a:pt x="34" y="44"/>
                    <a:pt x="35" y="43"/>
                  </a:cubicBezTo>
                  <a:cubicBezTo>
                    <a:pt x="35" y="43"/>
                    <a:pt x="36" y="43"/>
                    <a:pt x="36" y="43"/>
                  </a:cubicBezTo>
                  <a:cubicBezTo>
                    <a:pt x="37" y="42"/>
                    <a:pt x="37" y="41"/>
                    <a:pt x="38" y="40"/>
                  </a:cubicBezTo>
                  <a:cubicBezTo>
                    <a:pt x="43" y="37"/>
                    <a:pt x="47" y="33"/>
                    <a:pt x="51" y="29"/>
                  </a:cubicBezTo>
                  <a:cubicBezTo>
                    <a:pt x="52" y="29"/>
                    <a:pt x="52" y="28"/>
                    <a:pt x="53" y="27"/>
                  </a:cubicBezTo>
                  <a:cubicBezTo>
                    <a:pt x="55" y="25"/>
                    <a:pt x="57" y="23"/>
                    <a:pt x="60" y="21"/>
                  </a:cubicBezTo>
                  <a:cubicBezTo>
                    <a:pt x="61" y="19"/>
                    <a:pt x="63" y="17"/>
                    <a:pt x="65" y="15"/>
                  </a:cubicBezTo>
                  <a:cubicBezTo>
                    <a:pt x="68" y="12"/>
                    <a:pt x="72" y="9"/>
                    <a:pt x="75" y="6"/>
                  </a:cubicBezTo>
                  <a:cubicBezTo>
                    <a:pt x="77" y="4"/>
                    <a:pt x="79" y="2"/>
                    <a:pt x="81" y="0"/>
                  </a:cubicBezTo>
                  <a:cubicBezTo>
                    <a:pt x="81" y="0"/>
                    <a:pt x="81" y="0"/>
                    <a:pt x="81" y="0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</a:ln>
            <a:effectLst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64800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4000" b="1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0000"/>
                </a:solidFill>
                <a:latin typeface="UKIJ Qolyazma" pitchFamily="18" charset="0"/>
                <a:cs typeface="UKIJ Qolyazma" pitchFamily="18" charset="0"/>
              </a:endParaRPr>
            </a:p>
          </p:txBody>
        </p:sp>
        <p:sp>
          <p:nvSpPr>
            <p:cNvPr id="117" name="Freeform 28">
              <a:extLst>
                <a:ext uri="{FF2B5EF4-FFF2-40B4-BE49-F238E27FC236}">
                  <a16:creationId xmlns:a16="http://schemas.microsoft.com/office/drawing/2014/main" id="{1483FEC4-3E65-7BDF-D566-5A55D062B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6785" y="2593639"/>
              <a:ext cx="870819" cy="957284"/>
            </a:xfrm>
            <a:custGeom>
              <a:avLst/>
              <a:gdLst>
                <a:gd name="T0" fmla="*/ 312 w 400"/>
                <a:gd name="T1" fmla="*/ 105 h 440"/>
                <a:gd name="T2" fmla="*/ 323 w 400"/>
                <a:gd name="T3" fmla="*/ 109 h 440"/>
                <a:gd name="T4" fmla="*/ 333 w 400"/>
                <a:gd name="T5" fmla="*/ 117 h 440"/>
                <a:gd name="T6" fmla="*/ 342 w 400"/>
                <a:gd name="T7" fmla="*/ 129 h 440"/>
                <a:gd name="T8" fmla="*/ 356 w 400"/>
                <a:gd name="T9" fmla="*/ 124 h 440"/>
                <a:gd name="T10" fmla="*/ 375 w 400"/>
                <a:gd name="T11" fmla="*/ 124 h 440"/>
                <a:gd name="T12" fmla="*/ 388 w 400"/>
                <a:gd name="T13" fmla="*/ 153 h 440"/>
                <a:gd name="T14" fmla="*/ 392 w 400"/>
                <a:gd name="T15" fmla="*/ 166 h 440"/>
                <a:gd name="T16" fmla="*/ 396 w 400"/>
                <a:gd name="T17" fmla="*/ 175 h 440"/>
                <a:gd name="T18" fmla="*/ 397 w 400"/>
                <a:gd name="T19" fmla="*/ 237 h 440"/>
                <a:gd name="T20" fmla="*/ 379 w 400"/>
                <a:gd name="T21" fmla="*/ 272 h 440"/>
                <a:gd name="T22" fmla="*/ 366 w 400"/>
                <a:gd name="T23" fmla="*/ 277 h 440"/>
                <a:gd name="T24" fmla="*/ 348 w 400"/>
                <a:gd name="T25" fmla="*/ 272 h 440"/>
                <a:gd name="T26" fmla="*/ 340 w 400"/>
                <a:gd name="T27" fmla="*/ 262 h 440"/>
                <a:gd name="T28" fmla="*/ 286 w 400"/>
                <a:gd name="T29" fmla="*/ 280 h 440"/>
                <a:gd name="T30" fmla="*/ 272 w 400"/>
                <a:gd name="T31" fmla="*/ 285 h 440"/>
                <a:gd name="T32" fmla="*/ 262 w 400"/>
                <a:gd name="T33" fmla="*/ 297 h 440"/>
                <a:gd name="T34" fmla="*/ 258 w 400"/>
                <a:gd name="T35" fmla="*/ 308 h 440"/>
                <a:gd name="T36" fmla="*/ 259 w 400"/>
                <a:gd name="T37" fmla="*/ 335 h 440"/>
                <a:gd name="T38" fmla="*/ 231 w 400"/>
                <a:gd name="T39" fmla="*/ 428 h 440"/>
                <a:gd name="T40" fmla="*/ 177 w 400"/>
                <a:gd name="T41" fmla="*/ 440 h 440"/>
                <a:gd name="T42" fmla="*/ 160 w 400"/>
                <a:gd name="T43" fmla="*/ 434 h 440"/>
                <a:gd name="T44" fmla="*/ 143 w 400"/>
                <a:gd name="T45" fmla="*/ 419 h 440"/>
                <a:gd name="T46" fmla="*/ 122 w 400"/>
                <a:gd name="T47" fmla="*/ 396 h 440"/>
                <a:gd name="T48" fmla="*/ 112 w 400"/>
                <a:gd name="T49" fmla="*/ 384 h 440"/>
                <a:gd name="T50" fmla="*/ 106 w 400"/>
                <a:gd name="T51" fmla="*/ 375 h 440"/>
                <a:gd name="T52" fmla="*/ 82 w 400"/>
                <a:gd name="T53" fmla="*/ 381 h 440"/>
                <a:gd name="T54" fmla="*/ 63 w 400"/>
                <a:gd name="T55" fmla="*/ 395 h 440"/>
                <a:gd name="T56" fmla="*/ 57 w 400"/>
                <a:gd name="T57" fmla="*/ 386 h 440"/>
                <a:gd name="T58" fmla="*/ 51 w 400"/>
                <a:gd name="T59" fmla="*/ 367 h 440"/>
                <a:gd name="T60" fmla="*/ 45 w 400"/>
                <a:gd name="T61" fmla="*/ 356 h 440"/>
                <a:gd name="T62" fmla="*/ 26 w 400"/>
                <a:gd name="T63" fmla="*/ 336 h 440"/>
                <a:gd name="T64" fmla="*/ 13 w 400"/>
                <a:gd name="T65" fmla="*/ 328 h 440"/>
                <a:gd name="T66" fmla="*/ 1 w 400"/>
                <a:gd name="T67" fmla="*/ 315 h 440"/>
                <a:gd name="T68" fmla="*/ 4 w 400"/>
                <a:gd name="T69" fmla="*/ 295 h 440"/>
                <a:gd name="T70" fmla="*/ 37 w 400"/>
                <a:gd name="T71" fmla="*/ 259 h 440"/>
                <a:gd name="T72" fmla="*/ 51 w 400"/>
                <a:gd name="T73" fmla="*/ 241 h 440"/>
                <a:gd name="T74" fmla="*/ 62 w 400"/>
                <a:gd name="T75" fmla="*/ 227 h 440"/>
                <a:gd name="T76" fmla="*/ 72 w 400"/>
                <a:gd name="T77" fmla="*/ 223 h 440"/>
                <a:gd name="T78" fmla="*/ 82 w 400"/>
                <a:gd name="T79" fmla="*/ 218 h 440"/>
                <a:gd name="T80" fmla="*/ 95 w 400"/>
                <a:gd name="T81" fmla="*/ 208 h 440"/>
                <a:gd name="T82" fmla="*/ 95 w 400"/>
                <a:gd name="T83" fmla="*/ 185 h 440"/>
                <a:gd name="T84" fmla="*/ 87 w 400"/>
                <a:gd name="T85" fmla="*/ 171 h 440"/>
                <a:gd name="T86" fmla="*/ 77 w 400"/>
                <a:gd name="T87" fmla="*/ 157 h 440"/>
                <a:gd name="T88" fmla="*/ 75 w 400"/>
                <a:gd name="T89" fmla="*/ 137 h 440"/>
                <a:gd name="T90" fmla="*/ 81 w 400"/>
                <a:gd name="T91" fmla="*/ 125 h 440"/>
                <a:gd name="T92" fmla="*/ 90 w 400"/>
                <a:gd name="T93" fmla="*/ 112 h 440"/>
                <a:gd name="T94" fmla="*/ 95 w 400"/>
                <a:gd name="T95" fmla="*/ 101 h 440"/>
                <a:gd name="T96" fmla="*/ 98 w 400"/>
                <a:gd name="T97" fmla="*/ 94 h 440"/>
                <a:gd name="T98" fmla="*/ 106 w 400"/>
                <a:gd name="T99" fmla="*/ 81 h 440"/>
                <a:gd name="T100" fmla="*/ 113 w 400"/>
                <a:gd name="T101" fmla="*/ 70 h 440"/>
                <a:gd name="T102" fmla="*/ 131 w 400"/>
                <a:gd name="T103" fmla="*/ 52 h 440"/>
                <a:gd name="T104" fmla="*/ 140 w 400"/>
                <a:gd name="T105" fmla="*/ 47 h 440"/>
                <a:gd name="T106" fmla="*/ 148 w 400"/>
                <a:gd name="T107" fmla="*/ 43 h 440"/>
                <a:gd name="T108" fmla="*/ 159 w 400"/>
                <a:gd name="T109" fmla="*/ 36 h 440"/>
                <a:gd name="T110" fmla="*/ 171 w 400"/>
                <a:gd name="T111" fmla="*/ 29 h 440"/>
                <a:gd name="T112" fmla="*/ 201 w 400"/>
                <a:gd name="T113" fmla="*/ 6 h 440"/>
                <a:gd name="T114" fmla="*/ 222 w 400"/>
                <a:gd name="T115" fmla="*/ 4 h 440"/>
                <a:gd name="T116" fmla="*/ 234 w 400"/>
                <a:gd name="T117" fmla="*/ 11 h 440"/>
                <a:gd name="T118" fmla="*/ 251 w 400"/>
                <a:gd name="T119" fmla="*/ 23 h 440"/>
                <a:gd name="T120" fmla="*/ 281 w 400"/>
                <a:gd name="T121" fmla="*/ 53 h 440"/>
                <a:gd name="T122" fmla="*/ 288 w 400"/>
                <a:gd name="T123" fmla="*/ 63 h 440"/>
                <a:gd name="T124" fmla="*/ 295 w 400"/>
                <a:gd name="T125" fmla="*/ 73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00" h="440">
                  <a:moveTo>
                    <a:pt x="299" y="100"/>
                  </a:moveTo>
                  <a:cubicBezTo>
                    <a:pt x="301" y="100"/>
                    <a:pt x="303" y="101"/>
                    <a:pt x="304" y="101"/>
                  </a:cubicBezTo>
                  <a:cubicBezTo>
                    <a:pt x="304" y="101"/>
                    <a:pt x="304" y="102"/>
                    <a:pt x="304" y="102"/>
                  </a:cubicBezTo>
                  <a:cubicBezTo>
                    <a:pt x="305" y="102"/>
                    <a:pt x="305" y="102"/>
                    <a:pt x="305" y="102"/>
                  </a:cubicBezTo>
                  <a:cubicBezTo>
                    <a:pt x="305" y="102"/>
                    <a:pt x="305" y="102"/>
                    <a:pt x="305" y="102"/>
                  </a:cubicBezTo>
                  <a:cubicBezTo>
                    <a:pt x="305" y="102"/>
                    <a:pt x="306" y="102"/>
                    <a:pt x="306" y="102"/>
                  </a:cubicBezTo>
                  <a:cubicBezTo>
                    <a:pt x="306" y="102"/>
                    <a:pt x="306" y="102"/>
                    <a:pt x="306" y="102"/>
                  </a:cubicBezTo>
                  <a:cubicBezTo>
                    <a:pt x="306" y="102"/>
                    <a:pt x="307" y="102"/>
                    <a:pt x="307" y="102"/>
                  </a:cubicBezTo>
                  <a:cubicBezTo>
                    <a:pt x="307" y="103"/>
                    <a:pt x="307" y="103"/>
                    <a:pt x="307" y="103"/>
                  </a:cubicBezTo>
                  <a:cubicBezTo>
                    <a:pt x="307" y="103"/>
                    <a:pt x="308" y="103"/>
                    <a:pt x="308" y="103"/>
                  </a:cubicBezTo>
                  <a:cubicBezTo>
                    <a:pt x="308" y="103"/>
                    <a:pt x="308" y="103"/>
                    <a:pt x="308" y="103"/>
                  </a:cubicBezTo>
                  <a:cubicBezTo>
                    <a:pt x="308" y="103"/>
                    <a:pt x="308" y="103"/>
                    <a:pt x="309" y="103"/>
                  </a:cubicBezTo>
                  <a:cubicBezTo>
                    <a:pt x="309" y="103"/>
                    <a:pt x="309" y="103"/>
                    <a:pt x="309" y="103"/>
                  </a:cubicBezTo>
                  <a:cubicBezTo>
                    <a:pt x="309" y="104"/>
                    <a:pt x="310" y="104"/>
                    <a:pt x="311" y="104"/>
                  </a:cubicBezTo>
                  <a:cubicBezTo>
                    <a:pt x="311" y="104"/>
                    <a:pt x="311" y="104"/>
                    <a:pt x="311" y="104"/>
                  </a:cubicBezTo>
                  <a:cubicBezTo>
                    <a:pt x="311" y="104"/>
                    <a:pt x="311" y="104"/>
                    <a:pt x="311" y="104"/>
                  </a:cubicBezTo>
                  <a:cubicBezTo>
                    <a:pt x="311" y="104"/>
                    <a:pt x="311" y="104"/>
                    <a:pt x="311" y="105"/>
                  </a:cubicBezTo>
                  <a:cubicBezTo>
                    <a:pt x="312" y="105"/>
                    <a:pt x="312" y="105"/>
                    <a:pt x="312" y="105"/>
                  </a:cubicBezTo>
                  <a:cubicBezTo>
                    <a:pt x="312" y="105"/>
                    <a:pt x="312" y="105"/>
                    <a:pt x="312" y="105"/>
                  </a:cubicBezTo>
                  <a:cubicBezTo>
                    <a:pt x="313" y="105"/>
                    <a:pt x="313" y="105"/>
                    <a:pt x="313" y="105"/>
                  </a:cubicBezTo>
                  <a:cubicBezTo>
                    <a:pt x="313" y="105"/>
                    <a:pt x="313" y="105"/>
                    <a:pt x="313" y="105"/>
                  </a:cubicBezTo>
                  <a:cubicBezTo>
                    <a:pt x="314" y="105"/>
                    <a:pt x="314" y="105"/>
                    <a:pt x="315" y="106"/>
                  </a:cubicBezTo>
                  <a:cubicBezTo>
                    <a:pt x="315" y="106"/>
                    <a:pt x="315" y="106"/>
                    <a:pt x="315" y="106"/>
                  </a:cubicBezTo>
                  <a:cubicBezTo>
                    <a:pt x="315" y="106"/>
                    <a:pt x="316" y="106"/>
                    <a:pt x="316" y="106"/>
                  </a:cubicBezTo>
                  <a:cubicBezTo>
                    <a:pt x="316" y="106"/>
                    <a:pt x="316" y="106"/>
                    <a:pt x="316" y="106"/>
                  </a:cubicBezTo>
                  <a:cubicBezTo>
                    <a:pt x="316" y="106"/>
                    <a:pt x="316" y="106"/>
                    <a:pt x="317" y="106"/>
                  </a:cubicBezTo>
                  <a:cubicBezTo>
                    <a:pt x="317" y="106"/>
                    <a:pt x="317" y="106"/>
                    <a:pt x="317" y="107"/>
                  </a:cubicBezTo>
                  <a:cubicBezTo>
                    <a:pt x="317" y="107"/>
                    <a:pt x="318" y="107"/>
                    <a:pt x="319" y="107"/>
                  </a:cubicBezTo>
                  <a:cubicBezTo>
                    <a:pt x="319" y="107"/>
                    <a:pt x="319" y="107"/>
                    <a:pt x="319" y="107"/>
                  </a:cubicBezTo>
                  <a:cubicBezTo>
                    <a:pt x="319" y="107"/>
                    <a:pt x="319" y="107"/>
                    <a:pt x="319" y="107"/>
                  </a:cubicBezTo>
                  <a:cubicBezTo>
                    <a:pt x="319" y="107"/>
                    <a:pt x="319" y="108"/>
                    <a:pt x="319" y="108"/>
                  </a:cubicBezTo>
                  <a:cubicBezTo>
                    <a:pt x="320" y="108"/>
                    <a:pt x="320" y="108"/>
                    <a:pt x="320" y="108"/>
                  </a:cubicBezTo>
                  <a:cubicBezTo>
                    <a:pt x="320" y="108"/>
                    <a:pt x="320" y="108"/>
                    <a:pt x="320" y="108"/>
                  </a:cubicBezTo>
                  <a:cubicBezTo>
                    <a:pt x="321" y="108"/>
                    <a:pt x="321" y="108"/>
                    <a:pt x="321" y="108"/>
                  </a:cubicBezTo>
                  <a:cubicBezTo>
                    <a:pt x="321" y="108"/>
                    <a:pt x="321" y="108"/>
                    <a:pt x="321" y="108"/>
                  </a:cubicBezTo>
                  <a:cubicBezTo>
                    <a:pt x="322" y="108"/>
                    <a:pt x="322" y="108"/>
                    <a:pt x="322" y="108"/>
                  </a:cubicBezTo>
                  <a:cubicBezTo>
                    <a:pt x="322" y="108"/>
                    <a:pt x="322" y="109"/>
                    <a:pt x="322" y="109"/>
                  </a:cubicBezTo>
                  <a:cubicBezTo>
                    <a:pt x="322" y="109"/>
                    <a:pt x="323" y="109"/>
                    <a:pt x="323" y="109"/>
                  </a:cubicBezTo>
                  <a:cubicBezTo>
                    <a:pt x="323" y="109"/>
                    <a:pt x="323" y="109"/>
                    <a:pt x="323" y="109"/>
                  </a:cubicBezTo>
                  <a:cubicBezTo>
                    <a:pt x="323" y="109"/>
                    <a:pt x="324" y="109"/>
                    <a:pt x="324" y="109"/>
                  </a:cubicBezTo>
                  <a:cubicBezTo>
                    <a:pt x="324" y="109"/>
                    <a:pt x="324" y="109"/>
                    <a:pt x="324" y="109"/>
                  </a:cubicBezTo>
                  <a:cubicBezTo>
                    <a:pt x="324" y="109"/>
                    <a:pt x="324" y="109"/>
                    <a:pt x="325" y="109"/>
                  </a:cubicBezTo>
                  <a:cubicBezTo>
                    <a:pt x="325" y="110"/>
                    <a:pt x="325" y="110"/>
                    <a:pt x="325" y="110"/>
                  </a:cubicBezTo>
                  <a:cubicBezTo>
                    <a:pt x="325" y="110"/>
                    <a:pt x="325" y="110"/>
                    <a:pt x="326" y="110"/>
                  </a:cubicBezTo>
                  <a:cubicBezTo>
                    <a:pt x="326" y="110"/>
                    <a:pt x="326" y="110"/>
                    <a:pt x="326" y="110"/>
                  </a:cubicBezTo>
                  <a:cubicBezTo>
                    <a:pt x="326" y="110"/>
                    <a:pt x="326" y="110"/>
                    <a:pt x="327" y="110"/>
                  </a:cubicBezTo>
                  <a:cubicBezTo>
                    <a:pt x="327" y="110"/>
                    <a:pt x="327" y="110"/>
                    <a:pt x="327" y="110"/>
                  </a:cubicBezTo>
                  <a:cubicBezTo>
                    <a:pt x="327" y="111"/>
                    <a:pt x="328" y="111"/>
                    <a:pt x="329" y="111"/>
                  </a:cubicBezTo>
                  <a:cubicBezTo>
                    <a:pt x="329" y="111"/>
                    <a:pt x="329" y="112"/>
                    <a:pt x="330" y="112"/>
                  </a:cubicBezTo>
                  <a:cubicBezTo>
                    <a:pt x="330" y="112"/>
                    <a:pt x="330" y="112"/>
                    <a:pt x="330" y="112"/>
                  </a:cubicBezTo>
                  <a:cubicBezTo>
                    <a:pt x="330" y="112"/>
                    <a:pt x="330" y="113"/>
                    <a:pt x="330" y="113"/>
                  </a:cubicBezTo>
                  <a:cubicBezTo>
                    <a:pt x="330" y="113"/>
                    <a:pt x="330" y="113"/>
                    <a:pt x="331" y="113"/>
                  </a:cubicBezTo>
                  <a:cubicBezTo>
                    <a:pt x="331" y="113"/>
                    <a:pt x="331" y="114"/>
                    <a:pt x="331" y="114"/>
                  </a:cubicBezTo>
                  <a:cubicBezTo>
                    <a:pt x="331" y="114"/>
                    <a:pt x="331" y="114"/>
                    <a:pt x="332" y="115"/>
                  </a:cubicBezTo>
                  <a:cubicBezTo>
                    <a:pt x="332" y="115"/>
                    <a:pt x="332" y="115"/>
                    <a:pt x="332" y="115"/>
                  </a:cubicBezTo>
                  <a:cubicBezTo>
                    <a:pt x="332" y="116"/>
                    <a:pt x="332" y="116"/>
                    <a:pt x="333" y="116"/>
                  </a:cubicBezTo>
                  <a:cubicBezTo>
                    <a:pt x="333" y="116"/>
                    <a:pt x="333" y="117"/>
                    <a:pt x="333" y="117"/>
                  </a:cubicBezTo>
                  <a:cubicBezTo>
                    <a:pt x="333" y="117"/>
                    <a:pt x="333" y="117"/>
                    <a:pt x="334" y="117"/>
                  </a:cubicBezTo>
                  <a:cubicBezTo>
                    <a:pt x="334" y="118"/>
                    <a:pt x="334" y="118"/>
                    <a:pt x="334" y="118"/>
                  </a:cubicBezTo>
                  <a:cubicBezTo>
                    <a:pt x="334" y="118"/>
                    <a:pt x="334" y="118"/>
                    <a:pt x="334" y="118"/>
                  </a:cubicBezTo>
                  <a:cubicBezTo>
                    <a:pt x="334" y="119"/>
                    <a:pt x="334" y="119"/>
                    <a:pt x="334" y="119"/>
                  </a:cubicBezTo>
                  <a:cubicBezTo>
                    <a:pt x="335" y="119"/>
                    <a:pt x="335" y="120"/>
                    <a:pt x="336" y="120"/>
                  </a:cubicBezTo>
                  <a:cubicBezTo>
                    <a:pt x="336" y="120"/>
                    <a:pt x="336" y="120"/>
                    <a:pt x="336" y="121"/>
                  </a:cubicBezTo>
                  <a:cubicBezTo>
                    <a:pt x="336" y="121"/>
                    <a:pt x="336" y="121"/>
                    <a:pt x="337" y="121"/>
                  </a:cubicBezTo>
                  <a:cubicBezTo>
                    <a:pt x="337" y="122"/>
                    <a:pt x="337" y="122"/>
                    <a:pt x="337" y="122"/>
                  </a:cubicBezTo>
                  <a:cubicBezTo>
                    <a:pt x="337" y="122"/>
                    <a:pt x="337" y="123"/>
                    <a:pt x="338" y="123"/>
                  </a:cubicBezTo>
                  <a:cubicBezTo>
                    <a:pt x="338" y="123"/>
                    <a:pt x="338" y="123"/>
                    <a:pt x="338" y="123"/>
                  </a:cubicBezTo>
                  <a:cubicBezTo>
                    <a:pt x="338" y="124"/>
                    <a:pt x="338" y="124"/>
                    <a:pt x="338" y="124"/>
                  </a:cubicBezTo>
                  <a:cubicBezTo>
                    <a:pt x="338" y="124"/>
                    <a:pt x="338" y="124"/>
                    <a:pt x="338" y="124"/>
                  </a:cubicBezTo>
                  <a:cubicBezTo>
                    <a:pt x="339" y="125"/>
                    <a:pt x="339" y="125"/>
                    <a:pt x="339" y="125"/>
                  </a:cubicBezTo>
                  <a:cubicBezTo>
                    <a:pt x="339" y="125"/>
                    <a:pt x="339" y="126"/>
                    <a:pt x="339" y="126"/>
                  </a:cubicBezTo>
                  <a:cubicBezTo>
                    <a:pt x="340" y="126"/>
                    <a:pt x="340" y="126"/>
                    <a:pt x="340" y="127"/>
                  </a:cubicBezTo>
                  <a:cubicBezTo>
                    <a:pt x="340" y="127"/>
                    <a:pt x="340" y="127"/>
                    <a:pt x="340" y="127"/>
                  </a:cubicBezTo>
                  <a:cubicBezTo>
                    <a:pt x="341" y="127"/>
                    <a:pt x="341" y="128"/>
                    <a:pt x="341" y="128"/>
                  </a:cubicBezTo>
                  <a:cubicBezTo>
                    <a:pt x="341" y="128"/>
                    <a:pt x="341" y="128"/>
                    <a:pt x="341" y="129"/>
                  </a:cubicBezTo>
                  <a:cubicBezTo>
                    <a:pt x="342" y="129"/>
                    <a:pt x="342" y="129"/>
                    <a:pt x="342" y="129"/>
                  </a:cubicBezTo>
                  <a:cubicBezTo>
                    <a:pt x="342" y="129"/>
                    <a:pt x="342" y="129"/>
                    <a:pt x="342" y="130"/>
                  </a:cubicBezTo>
                  <a:cubicBezTo>
                    <a:pt x="342" y="130"/>
                    <a:pt x="342" y="130"/>
                    <a:pt x="343" y="130"/>
                  </a:cubicBezTo>
                  <a:cubicBezTo>
                    <a:pt x="343" y="130"/>
                    <a:pt x="343" y="130"/>
                    <a:pt x="344" y="130"/>
                  </a:cubicBezTo>
                  <a:cubicBezTo>
                    <a:pt x="345" y="129"/>
                    <a:pt x="347" y="129"/>
                    <a:pt x="348" y="128"/>
                  </a:cubicBezTo>
                  <a:cubicBezTo>
                    <a:pt x="348" y="128"/>
                    <a:pt x="348" y="128"/>
                    <a:pt x="348" y="128"/>
                  </a:cubicBezTo>
                  <a:cubicBezTo>
                    <a:pt x="348" y="128"/>
                    <a:pt x="349" y="128"/>
                    <a:pt x="349" y="128"/>
                  </a:cubicBezTo>
                  <a:cubicBezTo>
                    <a:pt x="349" y="128"/>
                    <a:pt x="349" y="128"/>
                    <a:pt x="349" y="128"/>
                  </a:cubicBezTo>
                  <a:cubicBezTo>
                    <a:pt x="349" y="128"/>
                    <a:pt x="349" y="128"/>
                    <a:pt x="350" y="128"/>
                  </a:cubicBezTo>
                  <a:cubicBezTo>
                    <a:pt x="350" y="127"/>
                    <a:pt x="350" y="127"/>
                    <a:pt x="350" y="127"/>
                  </a:cubicBezTo>
                  <a:cubicBezTo>
                    <a:pt x="350" y="127"/>
                    <a:pt x="350" y="127"/>
                    <a:pt x="350" y="127"/>
                  </a:cubicBezTo>
                  <a:cubicBezTo>
                    <a:pt x="350" y="127"/>
                    <a:pt x="350" y="127"/>
                    <a:pt x="350" y="127"/>
                  </a:cubicBezTo>
                  <a:cubicBezTo>
                    <a:pt x="351" y="127"/>
                    <a:pt x="352" y="126"/>
                    <a:pt x="352" y="126"/>
                  </a:cubicBezTo>
                  <a:cubicBezTo>
                    <a:pt x="352" y="126"/>
                    <a:pt x="352" y="126"/>
                    <a:pt x="352" y="126"/>
                  </a:cubicBezTo>
                  <a:cubicBezTo>
                    <a:pt x="353" y="126"/>
                    <a:pt x="353" y="126"/>
                    <a:pt x="354" y="125"/>
                  </a:cubicBezTo>
                  <a:cubicBezTo>
                    <a:pt x="354" y="125"/>
                    <a:pt x="354" y="125"/>
                    <a:pt x="354" y="125"/>
                  </a:cubicBezTo>
                  <a:cubicBezTo>
                    <a:pt x="354" y="125"/>
                    <a:pt x="355" y="125"/>
                    <a:pt x="355" y="125"/>
                  </a:cubicBezTo>
                  <a:cubicBezTo>
                    <a:pt x="355" y="125"/>
                    <a:pt x="355" y="125"/>
                    <a:pt x="355" y="124"/>
                  </a:cubicBezTo>
                  <a:cubicBezTo>
                    <a:pt x="355" y="124"/>
                    <a:pt x="356" y="124"/>
                    <a:pt x="356" y="124"/>
                  </a:cubicBezTo>
                  <a:cubicBezTo>
                    <a:pt x="356" y="124"/>
                    <a:pt x="356" y="124"/>
                    <a:pt x="356" y="124"/>
                  </a:cubicBezTo>
                  <a:cubicBezTo>
                    <a:pt x="356" y="124"/>
                    <a:pt x="356" y="124"/>
                    <a:pt x="357" y="124"/>
                  </a:cubicBezTo>
                  <a:cubicBezTo>
                    <a:pt x="357" y="124"/>
                    <a:pt x="357" y="124"/>
                    <a:pt x="357" y="124"/>
                  </a:cubicBezTo>
                  <a:cubicBezTo>
                    <a:pt x="357" y="124"/>
                    <a:pt x="357" y="124"/>
                    <a:pt x="357" y="124"/>
                  </a:cubicBezTo>
                  <a:cubicBezTo>
                    <a:pt x="357" y="124"/>
                    <a:pt x="357" y="124"/>
                    <a:pt x="357" y="123"/>
                  </a:cubicBezTo>
                  <a:cubicBezTo>
                    <a:pt x="357" y="123"/>
                    <a:pt x="358" y="123"/>
                    <a:pt x="358" y="123"/>
                  </a:cubicBezTo>
                  <a:cubicBezTo>
                    <a:pt x="358" y="123"/>
                    <a:pt x="358" y="123"/>
                    <a:pt x="358" y="123"/>
                  </a:cubicBezTo>
                  <a:cubicBezTo>
                    <a:pt x="358" y="123"/>
                    <a:pt x="358" y="123"/>
                    <a:pt x="359" y="123"/>
                  </a:cubicBezTo>
                  <a:cubicBezTo>
                    <a:pt x="359" y="123"/>
                    <a:pt x="359" y="123"/>
                    <a:pt x="359" y="123"/>
                  </a:cubicBezTo>
                  <a:cubicBezTo>
                    <a:pt x="359" y="122"/>
                    <a:pt x="360" y="122"/>
                    <a:pt x="361" y="122"/>
                  </a:cubicBezTo>
                  <a:cubicBezTo>
                    <a:pt x="363" y="121"/>
                    <a:pt x="364" y="119"/>
                    <a:pt x="367" y="119"/>
                  </a:cubicBezTo>
                  <a:cubicBezTo>
                    <a:pt x="368" y="120"/>
                    <a:pt x="369" y="120"/>
                    <a:pt x="370" y="121"/>
                  </a:cubicBezTo>
                  <a:cubicBezTo>
                    <a:pt x="370" y="121"/>
                    <a:pt x="370" y="121"/>
                    <a:pt x="370" y="122"/>
                  </a:cubicBezTo>
                  <a:cubicBezTo>
                    <a:pt x="370" y="122"/>
                    <a:pt x="371" y="122"/>
                    <a:pt x="371" y="122"/>
                  </a:cubicBezTo>
                  <a:cubicBezTo>
                    <a:pt x="371" y="122"/>
                    <a:pt x="371" y="122"/>
                    <a:pt x="371" y="122"/>
                  </a:cubicBezTo>
                  <a:cubicBezTo>
                    <a:pt x="371" y="122"/>
                    <a:pt x="372" y="122"/>
                    <a:pt x="372" y="122"/>
                  </a:cubicBezTo>
                  <a:cubicBezTo>
                    <a:pt x="372" y="123"/>
                    <a:pt x="372" y="123"/>
                    <a:pt x="372" y="123"/>
                  </a:cubicBezTo>
                  <a:cubicBezTo>
                    <a:pt x="373" y="123"/>
                    <a:pt x="373" y="123"/>
                    <a:pt x="374" y="123"/>
                  </a:cubicBezTo>
                  <a:cubicBezTo>
                    <a:pt x="374" y="124"/>
                    <a:pt x="374" y="124"/>
                    <a:pt x="374" y="124"/>
                  </a:cubicBezTo>
                  <a:cubicBezTo>
                    <a:pt x="374" y="124"/>
                    <a:pt x="374" y="124"/>
                    <a:pt x="375" y="124"/>
                  </a:cubicBezTo>
                  <a:cubicBezTo>
                    <a:pt x="375" y="124"/>
                    <a:pt x="375" y="125"/>
                    <a:pt x="375" y="125"/>
                  </a:cubicBezTo>
                  <a:cubicBezTo>
                    <a:pt x="375" y="125"/>
                    <a:pt x="376" y="125"/>
                    <a:pt x="376" y="125"/>
                  </a:cubicBezTo>
                  <a:cubicBezTo>
                    <a:pt x="376" y="125"/>
                    <a:pt x="376" y="125"/>
                    <a:pt x="376" y="125"/>
                  </a:cubicBezTo>
                  <a:cubicBezTo>
                    <a:pt x="376" y="125"/>
                    <a:pt x="377" y="125"/>
                    <a:pt x="377" y="125"/>
                  </a:cubicBezTo>
                  <a:cubicBezTo>
                    <a:pt x="377" y="126"/>
                    <a:pt x="377" y="126"/>
                    <a:pt x="377" y="126"/>
                  </a:cubicBezTo>
                  <a:cubicBezTo>
                    <a:pt x="378" y="126"/>
                    <a:pt x="378" y="126"/>
                    <a:pt x="379" y="127"/>
                  </a:cubicBezTo>
                  <a:cubicBezTo>
                    <a:pt x="379" y="127"/>
                    <a:pt x="379" y="127"/>
                    <a:pt x="379" y="127"/>
                  </a:cubicBezTo>
                  <a:cubicBezTo>
                    <a:pt x="379" y="127"/>
                    <a:pt x="379" y="127"/>
                    <a:pt x="380" y="127"/>
                  </a:cubicBezTo>
                  <a:cubicBezTo>
                    <a:pt x="380" y="127"/>
                    <a:pt x="380" y="128"/>
                    <a:pt x="380" y="128"/>
                  </a:cubicBezTo>
                  <a:cubicBezTo>
                    <a:pt x="380" y="128"/>
                    <a:pt x="380" y="128"/>
                    <a:pt x="381" y="128"/>
                  </a:cubicBezTo>
                  <a:cubicBezTo>
                    <a:pt x="381" y="128"/>
                    <a:pt x="381" y="128"/>
                    <a:pt x="381" y="129"/>
                  </a:cubicBezTo>
                  <a:cubicBezTo>
                    <a:pt x="381" y="129"/>
                    <a:pt x="382" y="129"/>
                    <a:pt x="382" y="129"/>
                  </a:cubicBezTo>
                  <a:cubicBezTo>
                    <a:pt x="382" y="129"/>
                    <a:pt x="382" y="129"/>
                    <a:pt x="382" y="129"/>
                  </a:cubicBezTo>
                  <a:cubicBezTo>
                    <a:pt x="383" y="130"/>
                    <a:pt x="384" y="129"/>
                    <a:pt x="384" y="132"/>
                  </a:cubicBezTo>
                  <a:cubicBezTo>
                    <a:pt x="384" y="132"/>
                    <a:pt x="384" y="132"/>
                    <a:pt x="384" y="132"/>
                  </a:cubicBezTo>
                  <a:cubicBezTo>
                    <a:pt x="385" y="134"/>
                    <a:pt x="385" y="136"/>
                    <a:pt x="385" y="137"/>
                  </a:cubicBezTo>
                  <a:cubicBezTo>
                    <a:pt x="385" y="137"/>
                    <a:pt x="385" y="137"/>
                    <a:pt x="386" y="137"/>
                  </a:cubicBezTo>
                  <a:cubicBezTo>
                    <a:pt x="386" y="138"/>
                    <a:pt x="386" y="139"/>
                    <a:pt x="386" y="139"/>
                  </a:cubicBezTo>
                  <a:cubicBezTo>
                    <a:pt x="387" y="144"/>
                    <a:pt x="387" y="149"/>
                    <a:pt x="388" y="153"/>
                  </a:cubicBezTo>
                  <a:cubicBezTo>
                    <a:pt x="388" y="153"/>
                    <a:pt x="388" y="154"/>
                    <a:pt x="388" y="155"/>
                  </a:cubicBezTo>
                  <a:cubicBezTo>
                    <a:pt x="388" y="155"/>
                    <a:pt x="389" y="155"/>
                    <a:pt x="389" y="155"/>
                  </a:cubicBezTo>
                  <a:cubicBezTo>
                    <a:pt x="389" y="155"/>
                    <a:pt x="389" y="156"/>
                    <a:pt x="389" y="157"/>
                  </a:cubicBezTo>
                  <a:cubicBezTo>
                    <a:pt x="389" y="157"/>
                    <a:pt x="389" y="157"/>
                    <a:pt x="389" y="157"/>
                  </a:cubicBezTo>
                  <a:cubicBezTo>
                    <a:pt x="389" y="157"/>
                    <a:pt x="389" y="158"/>
                    <a:pt x="389" y="159"/>
                  </a:cubicBezTo>
                  <a:cubicBezTo>
                    <a:pt x="389" y="159"/>
                    <a:pt x="389" y="159"/>
                    <a:pt x="389" y="159"/>
                  </a:cubicBezTo>
                  <a:cubicBezTo>
                    <a:pt x="389" y="159"/>
                    <a:pt x="390" y="160"/>
                    <a:pt x="390" y="160"/>
                  </a:cubicBezTo>
                  <a:cubicBezTo>
                    <a:pt x="390" y="160"/>
                    <a:pt x="390" y="160"/>
                    <a:pt x="390" y="160"/>
                  </a:cubicBezTo>
                  <a:cubicBezTo>
                    <a:pt x="390" y="161"/>
                    <a:pt x="390" y="161"/>
                    <a:pt x="390" y="162"/>
                  </a:cubicBezTo>
                  <a:cubicBezTo>
                    <a:pt x="391" y="162"/>
                    <a:pt x="391" y="162"/>
                    <a:pt x="391" y="162"/>
                  </a:cubicBezTo>
                  <a:cubicBezTo>
                    <a:pt x="391" y="162"/>
                    <a:pt x="391" y="163"/>
                    <a:pt x="391" y="163"/>
                  </a:cubicBezTo>
                  <a:cubicBezTo>
                    <a:pt x="391" y="163"/>
                    <a:pt x="391" y="163"/>
                    <a:pt x="391" y="163"/>
                  </a:cubicBezTo>
                  <a:cubicBezTo>
                    <a:pt x="391" y="163"/>
                    <a:pt x="391" y="163"/>
                    <a:pt x="391" y="164"/>
                  </a:cubicBezTo>
                  <a:cubicBezTo>
                    <a:pt x="391" y="164"/>
                    <a:pt x="391" y="164"/>
                    <a:pt x="391" y="164"/>
                  </a:cubicBezTo>
                  <a:cubicBezTo>
                    <a:pt x="391" y="164"/>
                    <a:pt x="391" y="164"/>
                    <a:pt x="391" y="165"/>
                  </a:cubicBezTo>
                  <a:cubicBezTo>
                    <a:pt x="392" y="165"/>
                    <a:pt x="392" y="165"/>
                    <a:pt x="392" y="165"/>
                  </a:cubicBezTo>
                  <a:cubicBezTo>
                    <a:pt x="392" y="165"/>
                    <a:pt x="392" y="165"/>
                    <a:pt x="392" y="165"/>
                  </a:cubicBezTo>
                  <a:cubicBezTo>
                    <a:pt x="392" y="165"/>
                    <a:pt x="392" y="165"/>
                    <a:pt x="392" y="165"/>
                  </a:cubicBezTo>
                  <a:cubicBezTo>
                    <a:pt x="392" y="166"/>
                    <a:pt x="392" y="166"/>
                    <a:pt x="392" y="166"/>
                  </a:cubicBezTo>
                  <a:cubicBezTo>
                    <a:pt x="392" y="166"/>
                    <a:pt x="392" y="166"/>
                    <a:pt x="393" y="166"/>
                  </a:cubicBezTo>
                  <a:cubicBezTo>
                    <a:pt x="393" y="167"/>
                    <a:pt x="393" y="167"/>
                    <a:pt x="393" y="168"/>
                  </a:cubicBezTo>
                  <a:cubicBezTo>
                    <a:pt x="393" y="168"/>
                    <a:pt x="393" y="168"/>
                    <a:pt x="393" y="168"/>
                  </a:cubicBezTo>
                  <a:cubicBezTo>
                    <a:pt x="393" y="168"/>
                    <a:pt x="393" y="169"/>
                    <a:pt x="393" y="169"/>
                  </a:cubicBezTo>
                  <a:cubicBezTo>
                    <a:pt x="393" y="169"/>
                    <a:pt x="393" y="169"/>
                    <a:pt x="394" y="169"/>
                  </a:cubicBezTo>
                  <a:cubicBezTo>
                    <a:pt x="394" y="169"/>
                    <a:pt x="394" y="169"/>
                    <a:pt x="394" y="170"/>
                  </a:cubicBezTo>
                  <a:cubicBezTo>
                    <a:pt x="394" y="170"/>
                    <a:pt x="394" y="170"/>
                    <a:pt x="394" y="170"/>
                  </a:cubicBezTo>
                  <a:cubicBezTo>
                    <a:pt x="394" y="170"/>
                    <a:pt x="394" y="170"/>
                    <a:pt x="394" y="171"/>
                  </a:cubicBezTo>
                  <a:cubicBezTo>
                    <a:pt x="394" y="171"/>
                    <a:pt x="394" y="171"/>
                    <a:pt x="394" y="171"/>
                  </a:cubicBezTo>
                  <a:cubicBezTo>
                    <a:pt x="394" y="171"/>
                    <a:pt x="394" y="171"/>
                    <a:pt x="394" y="171"/>
                  </a:cubicBezTo>
                  <a:cubicBezTo>
                    <a:pt x="394" y="171"/>
                    <a:pt x="395" y="171"/>
                    <a:pt x="395" y="171"/>
                  </a:cubicBezTo>
                  <a:cubicBezTo>
                    <a:pt x="395" y="172"/>
                    <a:pt x="395" y="172"/>
                    <a:pt x="395" y="172"/>
                  </a:cubicBezTo>
                  <a:cubicBezTo>
                    <a:pt x="395" y="172"/>
                    <a:pt x="395" y="172"/>
                    <a:pt x="395" y="172"/>
                  </a:cubicBezTo>
                  <a:cubicBezTo>
                    <a:pt x="395" y="173"/>
                    <a:pt x="395" y="173"/>
                    <a:pt x="395" y="174"/>
                  </a:cubicBezTo>
                  <a:cubicBezTo>
                    <a:pt x="395" y="174"/>
                    <a:pt x="396" y="174"/>
                    <a:pt x="396" y="174"/>
                  </a:cubicBezTo>
                  <a:cubicBezTo>
                    <a:pt x="396" y="174"/>
                    <a:pt x="396" y="174"/>
                    <a:pt x="396" y="175"/>
                  </a:cubicBezTo>
                  <a:cubicBezTo>
                    <a:pt x="396" y="175"/>
                    <a:pt x="396" y="175"/>
                    <a:pt x="396" y="175"/>
                  </a:cubicBezTo>
                  <a:cubicBezTo>
                    <a:pt x="396" y="175"/>
                    <a:pt x="396" y="175"/>
                    <a:pt x="396" y="175"/>
                  </a:cubicBezTo>
                  <a:cubicBezTo>
                    <a:pt x="396" y="175"/>
                    <a:pt x="396" y="175"/>
                    <a:pt x="396" y="175"/>
                  </a:cubicBezTo>
                  <a:cubicBezTo>
                    <a:pt x="396" y="176"/>
                    <a:pt x="397" y="177"/>
                    <a:pt x="397" y="177"/>
                  </a:cubicBezTo>
                  <a:cubicBezTo>
                    <a:pt x="397" y="177"/>
                    <a:pt x="397" y="177"/>
                    <a:pt x="397" y="177"/>
                  </a:cubicBezTo>
                  <a:cubicBezTo>
                    <a:pt x="397" y="178"/>
                    <a:pt x="397" y="178"/>
                    <a:pt x="397" y="178"/>
                  </a:cubicBezTo>
                  <a:cubicBezTo>
                    <a:pt x="397" y="178"/>
                    <a:pt x="397" y="178"/>
                    <a:pt x="397" y="178"/>
                  </a:cubicBezTo>
                  <a:cubicBezTo>
                    <a:pt x="397" y="179"/>
                    <a:pt x="397" y="179"/>
                    <a:pt x="397" y="179"/>
                  </a:cubicBezTo>
                  <a:cubicBezTo>
                    <a:pt x="398" y="179"/>
                    <a:pt x="398" y="179"/>
                    <a:pt x="398" y="179"/>
                  </a:cubicBezTo>
                  <a:cubicBezTo>
                    <a:pt x="398" y="183"/>
                    <a:pt x="398" y="188"/>
                    <a:pt x="399" y="192"/>
                  </a:cubicBezTo>
                  <a:cubicBezTo>
                    <a:pt x="400" y="196"/>
                    <a:pt x="399" y="201"/>
                    <a:pt x="399" y="205"/>
                  </a:cubicBezTo>
                  <a:cubicBezTo>
                    <a:pt x="399" y="207"/>
                    <a:pt x="399" y="210"/>
                    <a:pt x="399" y="212"/>
                  </a:cubicBezTo>
                  <a:cubicBezTo>
                    <a:pt x="399" y="216"/>
                    <a:pt x="399" y="220"/>
                    <a:pt x="398" y="224"/>
                  </a:cubicBezTo>
                  <a:cubicBezTo>
                    <a:pt x="398" y="224"/>
                    <a:pt x="398" y="224"/>
                    <a:pt x="398" y="224"/>
                  </a:cubicBezTo>
                  <a:cubicBezTo>
                    <a:pt x="398" y="225"/>
                    <a:pt x="398" y="226"/>
                    <a:pt x="398" y="227"/>
                  </a:cubicBezTo>
                  <a:cubicBezTo>
                    <a:pt x="398" y="227"/>
                    <a:pt x="398" y="227"/>
                    <a:pt x="398" y="227"/>
                  </a:cubicBezTo>
                  <a:cubicBezTo>
                    <a:pt x="398" y="228"/>
                    <a:pt x="398" y="229"/>
                    <a:pt x="398" y="230"/>
                  </a:cubicBezTo>
                  <a:cubicBezTo>
                    <a:pt x="398" y="230"/>
                    <a:pt x="398" y="230"/>
                    <a:pt x="397" y="230"/>
                  </a:cubicBezTo>
                  <a:cubicBezTo>
                    <a:pt x="397" y="231"/>
                    <a:pt x="397" y="233"/>
                    <a:pt x="397" y="234"/>
                  </a:cubicBezTo>
                  <a:cubicBezTo>
                    <a:pt x="397" y="234"/>
                    <a:pt x="397" y="234"/>
                    <a:pt x="397" y="234"/>
                  </a:cubicBezTo>
                  <a:cubicBezTo>
                    <a:pt x="397" y="235"/>
                    <a:pt x="397" y="236"/>
                    <a:pt x="397" y="237"/>
                  </a:cubicBezTo>
                  <a:cubicBezTo>
                    <a:pt x="397" y="237"/>
                    <a:pt x="397" y="237"/>
                    <a:pt x="397" y="237"/>
                  </a:cubicBezTo>
                  <a:cubicBezTo>
                    <a:pt x="397" y="239"/>
                    <a:pt x="396" y="240"/>
                    <a:pt x="396" y="242"/>
                  </a:cubicBezTo>
                  <a:cubicBezTo>
                    <a:pt x="395" y="243"/>
                    <a:pt x="395" y="244"/>
                    <a:pt x="394" y="245"/>
                  </a:cubicBezTo>
                  <a:cubicBezTo>
                    <a:pt x="394" y="245"/>
                    <a:pt x="394" y="245"/>
                    <a:pt x="394" y="245"/>
                  </a:cubicBezTo>
                  <a:cubicBezTo>
                    <a:pt x="393" y="246"/>
                    <a:pt x="393" y="246"/>
                    <a:pt x="393" y="246"/>
                  </a:cubicBezTo>
                  <a:cubicBezTo>
                    <a:pt x="391" y="248"/>
                    <a:pt x="389" y="250"/>
                    <a:pt x="388" y="252"/>
                  </a:cubicBezTo>
                  <a:cubicBezTo>
                    <a:pt x="388" y="253"/>
                    <a:pt x="388" y="253"/>
                    <a:pt x="388" y="254"/>
                  </a:cubicBezTo>
                  <a:cubicBezTo>
                    <a:pt x="387" y="257"/>
                    <a:pt x="387" y="260"/>
                    <a:pt x="386" y="263"/>
                  </a:cubicBezTo>
                  <a:cubicBezTo>
                    <a:pt x="386" y="263"/>
                    <a:pt x="386" y="264"/>
                    <a:pt x="386" y="265"/>
                  </a:cubicBezTo>
                  <a:cubicBezTo>
                    <a:pt x="386" y="265"/>
                    <a:pt x="386" y="265"/>
                    <a:pt x="386" y="265"/>
                  </a:cubicBezTo>
                  <a:cubicBezTo>
                    <a:pt x="385" y="266"/>
                    <a:pt x="386" y="267"/>
                    <a:pt x="385" y="268"/>
                  </a:cubicBezTo>
                  <a:cubicBezTo>
                    <a:pt x="384" y="269"/>
                    <a:pt x="383" y="269"/>
                    <a:pt x="382" y="270"/>
                  </a:cubicBezTo>
                  <a:cubicBezTo>
                    <a:pt x="382" y="270"/>
                    <a:pt x="382" y="270"/>
                    <a:pt x="382" y="270"/>
                  </a:cubicBezTo>
                  <a:cubicBezTo>
                    <a:pt x="382" y="270"/>
                    <a:pt x="382" y="270"/>
                    <a:pt x="381" y="270"/>
                  </a:cubicBezTo>
                  <a:cubicBezTo>
                    <a:pt x="381" y="270"/>
                    <a:pt x="381" y="271"/>
                    <a:pt x="381" y="271"/>
                  </a:cubicBezTo>
                  <a:cubicBezTo>
                    <a:pt x="381" y="271"/>
                    <a:pt x="381" y="271"/>
                    <a:pt x="381" y="271"/>
                  </a:cubicBezTo>
                  <a:cubicBezTo>
                    <a:pt x="381" y="271"/>
                    <a:pt x="381" y="271"/>
                    <a:pt x="381" y="271"/>
                  </a:cubicBezTo>
                  <a:cubicBezTo>
                    <a:pt x="380" y="271"/>
                    <a:pt x="380" y="271"/>
                    <a:pt x="380" y="271"/>
                  </a:cubicBezTo>
                  <a:cubicBezTo>
                    <a:pt x="380" y="271"/>
                    <a:pt x="380" y="271"/>
                    <a:pt x="380" y="272"/>
                  </a:cubicBezTo>
                  <a:cubicBezTo>
                    <a:pt x="379" y="272"/>
                    <a:pt x="379" y="272"/>
                    <a:pt x="379" y="272"/>
                  </a:cubicBezTo>
                  <a:cubicBezTo>
                    <a:pt x="379" y="272"/>
                    <a:pt x="379" y="272"/>
                    <a:pt x="379" y="272"/>
                  </a:cubicBezTo>
                  <a:cubicBezTo>
                    <a:pt x="379" y="272"/>
                    <a:pt x="378" y="272"/>
                    <a:pt x="378" y="272"/>
                  </a:cubicBezTo>
                  <a:cubicBezTo>
                    <a:pt x="378" y="272"/>
                    <a:pt x="378" y="272"/>
                    <a:pt x="378" y="272"/>
                  </a:cubicBezTo>
                  <a:cubicBezTo>
                    <a:pt x="378" y="272"/>
                    <a:pt x="378" y="272"/>
                    <a:pt x="377" y="272"/>
                  </a:cubicBezTo>
                  <a:cubicBezTo>
                    <a:pt x="377" y="272"/>
                    <a:pt x="377" y="273"/>
                    <a:pt x="377" y="273"/>
                  </a:cubicBezTo>
                  <a:cubicBezTo>
                    <a:pt x="377" y="273"/>
                    <a:pt x="377" y="273"/>
                    <a:pt x="377" y="273"/>
                  </a:cubicBezTo>
                  <a:cubicBezTo>
                    <a:pt x="377" y="273"/>
                    <a:pt x="377" y="273"/>
                    <a:pt x="376" y="273"/>
                  </a:cubicBezTo>
                  <a:cubicBezTo>
                    <a:pt x="376" y="274"/>
                    <a:pt x="376" y="274"/>
                    <a:pt x="375" y="274"/>
                  </a:cubicBezTo>
                  <a:cubicBezTo>
                    <a:pt x="375" y="274"/>
                    <a:pt x="375" y="274"/>
                    <a:pt x="375" y="274"/>
                  </a:cubicBezTo>
                  <a:cubicBezTo>
                    <a:pt x="375" y="274"/>
                    <a:pt x="374" y="274"/>
                    <a:pt x="374" y="274"/>
                  </a:cubicBezTo>
                  <a:cubicBezTo>
                    <a:pt x="374" y="275"/>
                    <a:pt x="374" y="275"/>
                    <a:pt x="374" y="275"/>
                  </a:cubicBezTo>
                  <a:cubicBezTo>
                    <a:pt x="373" y="275"/>
                    <a:pt x="373" y="275"/>
                    <a:pt x="372" y="275"/>
                  </a:cubicBezTo>
                  <a:cubicBezTo>
                    <a:pt x="372" y="275"/>
                    <a:pt x="372" y="275"/>
                    <a:pt x="372" y="275"/>
                  </a:cubicBezTo>
                  <a:cubicBezTo>
                    <a:pt x="372" y="275"/>
                    <a:pt x="372" y="275"/>
                    <a:pt x="371" y="275"/>
                  </a:cubicBezTo>
                  <a:cubicBezTo>
                    <a:pt x="371" y="275"/>
                    <a:pt x="371" y="275"/>
                    <a:pt x="371" y="276"/>
                  </a:cubicBezTo>
                  <a:cubicBezTo>
                    <a:pt x="370" y="276"/>
                    <a:pt x="370" y="276"/>
                    <a:pt x="369" y="276"/>
                  </a:cubicBezTo>
                  <a:cubicBezTo>
                    <a:pt x="369" y="276"/>
                    <a:pt x="369" y="276"/>
                    <a:pt x="369" y="276"/>
                  </a:cubicBezTo>
                  <a:cubicBezTo>
                    <a:pt x="368" y="276"/>
                    <a:pt x="367" y="276"/>
                    <a:pt x="366" y="277"/>
                  </a:cubicBezTo>
                  <a:cubicBezTo>
                    <a:pt x="366" y="277"/>
                    <a:pt x="366" y="277"/>
                    <a:pt x="366" y="277"/>
                  </a:cubicBezTo>
                  <a:cubicBezTo>
                    <a:pt x="364" y="277"/>
                    <a:pt x="363" y="278"/>
                    <a:pt x="361" y="278"/>
                  </a:cubicBezTo>
                  <a:cubicBezTo>
                    <a:pt x="361" y="277"/>
                    <a:pt x="361" y="277"/>
                    <a:pt x="360" y="276"/>
                  </a:cubicBezTo>
                  <a:cubicBezTo>
                    <a:pt x="360" y="276"/>
                    <a:pt x="360" y="276"/>
                    <a:pt x="360" y="276"/>
                  </a:cubicBezTo>
                  <a:cubicBezTo>
                    <a:pt x="359" y="275"/>
                    <a:pt x="359" y="274"/>
                    <a:pt x="359" y="273"/>
                  </a:cubicBezTo>
                  <a:cubicBezTo>
                    <a:pt x="359" y="273"/>
                    <a:pt x="358" y="273"/>
                    <a:pt x="358" y="273"/>
                  </a:cubicBezTo>
                  <a:cubicBezTo>
                    <a:pt x="358" y="272"/>
                    <a:pt x="358" y="272"/>
                    <a:pt x="358" y="271"/>
                  </a:cubicBezTo>
                  <a:cubicBezTo>
                    <a:pt x="357" y="271"/>
                    <a:pt x="357" y="271"/>
                    <a:pt x="357" y="271"/>
                  </a:cubicBezTo>
                  <a:cubicBezTo>
                    <a:pt x="356" y="269"/>
                    <a:pt x="357" y="268"/>
                    <a:pt x="355" y="268"/>
                  </a:cubicBezTo>
                  <a:cubicBezTo>
                    <a:pt x="354" y="269"/>
                    <a:pt x="353" y="269"/>
                    <a:pt x="352" y="270"/>
                  </a:cubicBezTo>
                  <a:cubicBezTo>
                    <a:pt x="352" y="270"/>
                    <a:pt x="352" y="270"/>
                    <a:pt x="352" y="270"/>
                  </a:cubicBezTo>
                  <a:cubicBezTo>
                    <a:pt x="352" y="270"/>
                    <a:pt x="352" y="270"/>
                    <a:pt x="352" y="270"/>
                  </a:cubicBezTo>
                  <a:cubicBezTo>
                    <a:pt x="352" y="270"/>
                    <a:pt x="352" y="270"/>
                    <a:pt x="352" y="270"/>
                  </a:cubicBezTo>
                  <a:cubicBezTo>
                    <a:pt x="351" y="270"/>
                    <a:pt x="351" y="270"/>
                    <a:pt x="351" y="270"/>
                  </a:cubicBezTo>
                  <a:cubicBezTo>
                    <a:pt x="351" y="271"/>
                    <a:pt x="351" y="271"/>
                    <a:pt x="351" y="271"/>
                  </a:cubicBezTo>
                  <a:cubicBezTo>
                    <a:pt x="350" y="271"/>
                    <a:pt x="350" y="271"/>
                    <a:pt x="350" y="271"/>
                  </a:cubicBezTo>
                  <a:cubicBezTo>
                    <a:pt x="350" y="271"/>
                    <a:pt x="350" y="271"/>
                    <a:pt x="350" y="271"/>
                  </a:cubicBezTo>
                  <a:cubicBezTo>
                    <a:pt x="350" y="271"/>
                    <a:pt x="349" y="271"/>
                    <a:pt x="349" y="271"/>
                  </a:cubicBezTo>
                  <a:cubicBezTo>
                    <a:pt x="349" y="271"/>
                    <a:pt x="349" y="272"/>
                    <a:pt x="349" y="272"/>
                  </a:cubicBezTo>
                  <a:cubicBezTo>
                    <a:pt x="349" y="272"/>
                    <a:pt x="348" y="272"/>
                    <a:pt x="348" y="272"/>
                  </a:cubicBezTo>
                  <a:cubicBezTo>
                    <a:pt x="348" y="272"/>
                    <a:pt x="348" y="272"/>
                    <a:pt x="347" y="273"/>
                  </a:cubicBezTo>
                  <a:cubicBezTo>
                    <a:pt x="347" y="273"/>
                    <a:pt x="346" y="273"/>
                    <a:pt x="345" y="273"/>
                  </a:cubicBezTo>
                  <a:cubicBezTo>
                    <a:pt x="345" y="274"/>
                    <a:pt x="345" y="274"/>
                    <a:pt x="345" y="274"/>
                  </a:cubicBezTo>
                  <a:cubicBezTo>
                    <a:pt x="344" y="274"/>
                    <a:pt x="344" y="275"/>
                    <a:pt x="343" y="275"/>
                  </a:cubicBezTo>
                  <a:cubicBezTo>
                    <a:pt x="343" y="275"/>
                    <a:pt x="343" y="275"/>
                    <a:pt x="343" y="276"/>
                  </a:cubicBezTo>
                  <a:cubicBezTo>
                    <a:pt x="342" y="276"/>
                    <a:pt x="342" y="276"/>
                    <a:pt x="342" y="276"/>
                  </a:cubicBezTo>
                  <a:cubicBezTo>
                    <a:pt x="341" y="276"/>
                    <a:pt x="340" y="277"/>
                    <a:pt x="339" y="277"/>
                  </a:cubicBezTo>
                  <a:cubicBezTo>
                    <a:pt x="339" y="277"/>
                    <a:pt x="339" y="277"/>
                    <a:pt x="339" y="277"/>
                  </a:cubicBezTo>
                  <a:cubicBezTo>
                    <a:pt x="338" y="277"/>
                    <a:pt x="338" y="277"/>
                    <a:pt x="338" y="277"/>
                  </a:cubicBezTo>
                  <a:cubicBezTo>
                    <a:pt x="337" y="276"/>
                    <a:pt x="337" y="275"/>
                    <a:pt x="336" y="275"/>
                  </a:cubicBezTo>
                  <a:cubicBezTo>
                    <a:pt x="336" y="275"/>
                    <a:pt x="336" y="275"/>
                    <a:pt x="336" y="275"/>
                  </a:cubicBezTo>
                  <a:cubicBezTo>
                    <a:pt x="335" y="275"/>
                    <a:pt x="335" y="274"/>
                    <a:pt x="335" y="274"/>
                  </a:cubicBezTo>
                  <a:cubicBezTo>
                    <a:pt x="335" y="274"/>
                    <a:pt x="334" y="274"/>
                    <a:pt x="334" y="273"/>
                  </a:cubicBezTo>
                  <a:cubicBezTo>
                    <a:pt x="334" y="273"/>
                    <a:pt x="334" y="273"/>
                    <a:pt x="334" y="273"/>
                  </a:cubicBezTo>
                  <a:cubicBezTo>
                    <a:pt x="334" y="273"/>
                    <a:pt x="334" y="273"/>
                    <a:pt x="333" y="273"/>
                  </a:cubicBezTo>
                  <a:cubicBezTo>
                    <a:pt x="333" y="272"/>
                    <a:pt x="332" y="272"/>
                    <a:pt x="332" y="271"/>
                  </a:cubicBezTo>
                  <a:cubicBezTo>
                    <a:pt x="332" y="271"/>
                    <a:pt x="332" y="271"/>
                    <a:pt x="331" y="271"/>
                  </a:cubicBezTo>
                  <a:cubicBezTo>
                    <a:pt x="331" y="271"/>
                    <a:pt x="331" y="271"/>
                    <a:pt x="331" y="270"/>
                  </a:cubicBezTo>
                  <a:cubicBezTo>
                    <a:pt x="334" y="267"/>
                    <a:pt x="337" y="265"/>
                    <a:pt x="340" y="262"/>
                  </a:cubicBezTo>
                  <a:cubicBezTo>
                    <a:pt x="340" y="262"/>
                    <a:pt x="340" y="262"/>
                    <a:pt x="340" y="262"/>
                  </a:cubicBezTo>
                  <a:cubicBezTo>
                    <a:pt x="339" y="262"/>
                    <a:pt x="338" y="262"/>
                    <a:pt x="337" y="262"/>
                  </a:cubicBezTo>
                  <a:cubicBezTo>
                    <a:pt x="336" y="262"/>
                    <a:pt x="334" y="261"/>
                    <a:pt x="333" y="262"/>
                  </a:cubicBezTo>
                  <a:cubicBezTo>
                    <a:pt x="333" y="262"/>
                    <a:pt x="333" y="262"/>
                    <a:pt x="333" y="262"/>
                  </a:cubicBezTo>
                  <a:cubicBezTo>
                    <a:pt x="332" y="262"/>
                    <a:pt x="330" y="262"/>
                    <a:pt x="329" y="262"/>
                  </a:cubicBezTo>
                  <a:cubicBezTo>
                    <a:pt x="329" y="262"/>
                    <a:pt x="329" y="262"/>
                    <a:pt x="329" y="263"/>
                  </a:cubicBezTo>
                  <a:cubicBezTo>
                    <a:pt x="326" y="263"/>
                    <a:pt x="324" y="263"/>
                    <a:pt x="321" y="263"/>
                  </a:cubicBezTo>
                  <a:cubicBezTo>
                    <a:pt x="319" y="265"/>
                    <a:pt x="317" y="267"/>
                    <a:pt x="316" y="270"/>
                  </a:cubicBezTo>
                  <a:cubicBezTo>
                    <a:pt x="315" y="270"/>
                    <a:pt x="315" y="270"/>
                    <a:pt x="315" y="270"/>
                  </a:cubicBezTo>
                  <a:cubicBezTo>
                    <a:pt x="315" y="270"/>
                    <a:pt x="314" y="270"/>
                    <a:pt x="314" y="271"/>
                  </a:cubicBezTo>
                  <a:cubicBezTo>
                    <a:pt x="314" y="271"/>
                    <a:pt x="314" y="271"/>
                    <a:pt x="313" y="271"/>
                  </a:cubicBezTo>
                  <a:cubicBezTo>
                    <a:pt x="313" y="271"/>
                    <a:pt x="313" y="271"/>
                    <a:pt x="313" y="272"/>
                  </a:cubicBezTo>
                  <a:cubicBezTo>
                    <a:pt x="313" y="272"/>
                    <a:pt x="312" y="272"/>
                    <a:pt x="312" y="272"/>
                  </a:cubicBezTo>
                  <a:cubicBezTo>
                    <a:pt x="312" y="272"/>
                    <a:pt x="312" y="272"/>
                    <a:pt x="311" y="273"/>
                  </a:cubicBezTo>
                  <a:cubicBezTo>
                    <a:pt x="311" y="273"/>
                    <a:pt x="310" y="273"/>
                    <a:pt x="310" y="273"/>
                  </a:cubicBezTo>
                  <a:cubicBezTo>
                    <a:pt x="310" y="273"/>
                    <a:pt x="310" y="273"/>
                    <a:pt x="310" y="273"/>
                  </a:cubicBezTo>
                  <a:cubicBezTo>
                    <a:pt x="309" y="274"/>
                    <a:pt x="308" y="274"/>
                    <a:pt x="307" y="274"/>
                  </a:cubicBezTo>
                  <a:cubicBezTo>
                    <a:pt x="302" y="276"/>
                    <a:pt x="296" y="277"/>
                    <a:pt x="290" y="279"/>
                  </a:cubicBezTo>
                  <a:cubicBezTo>
                    <a:pt x="289" y="279"/>
                    <a:pt x="287" y="279"/>
                    <a:pt x="286" y="280"/>
                  </a:cubicBezTo>
                  <a:cubicBezTo>
                    <a:pt x="286" y="280"/>
                    <a:pt x="286" y="280"/>
                    <a:pt x="286" y="280"/>
                  </a:cubicBezTo>
                  <a:cubicBezTo>
                    <a:pt x="286" y="280"/>
                    <a:pt x="285" y="280"/>
                    <a:pt x="285" y="280"/>
                  </a:cubicBezTo>
                  <a:cubicBezTo>
                    <a:pt x="285" y="280"/>
                    <a:pt x="285" y="280"/>
                    <a:pt x="285" y="280"/>
                  </a:cubicBezTo>
                  <a:cubicBezTo>
                    <a:pt x="284" y="281"/>
                    <a:pt x="284" y="281"/>
                    <a:pt x="283" y="281"/>
                  </a:cubicBezTo>
                  <a:cubicBezTo>
                    <a:pt x="283" y="281"/>
                    <a:pt x="283" y="281"/>
                    <a:pt x="283" y="281"/>
                  </a:cubicBezTo>
                  <a:cubicBezTo>
                    <a:pt x="282" y="281"/>
                    <a:pt x="281" y="282"/>
                    <a:pt x="280" y="282"/>
                  </a:cubicBezTo>
                  <a:cubicBezTo>
                    <a:pt x="280" y="282"/>
                    <a:pt x="280" y="282"/>
                    <a:pt x="280" y="282"/>
                  </a:cubicBezTo>
                  <a:cubicBezTo>
                    <a:pt x="280" y="282"/>
                    <a:pt x="279" y="282"/>
                    <a:pt x="279" y="282"/>
                  </a:cubicBezTo>
                  <a:cubicBezTo>
                    <a:pt x="279" y="282"/>
                    <a:pt x="279" y="282"/>
                    <a:pt x="279" y="283"/>
                  </a:cubicBezTo>
                  <a:cubicBezTo>
                    <a:pt x="279" y="283"/>
                    <a:pt x="279" y="283"/>
                    <a:pt x="278" y="283"/>
                  </a:cubicBezTo>
                  <a:cubicBezTo>
                    <a:pt x="278" y="283"/>
                    <a:pt x="278" y="283"/>
                    <a:pt x="278" y="283"/>
                  </a:cubicBezTo>
                  <a:cubicBezTo>
                    <a:pt x="277" y="283"/>
                    <a:pt x="276" y="283"/>
                    <a:pt x="275" y="284"/>
                  </a:cubicBezTo>
                  <a:cubicBezTo>
                    <a:pt x="275" y="284"/>
                    <a:pt x="275" y="284"/>
                    <a:pt x="275" y="284"/>
                  </a:cubicBezTo>
                  <a:cubicBezTo>
                    <a:pt x="275" y="284"/>
                    <a:pt x="275" y="284"/>
                    <a:pt x="274" y="284"/>
                  </a:cubicBezTo>
                  <a:cubicBezTo>
                    <a:pt x="274" y="284"/>
                    <a:pt x="274" y="284"/>
                    <a:pt x="274" y="284"/>
                  </a:cubicBezTo>
                  <a:cubicBezTo>
                    <a:pt x="274" y="284"/>
                    <a:pt x="274" y="284"/>
                    <a:pt x="273" y="284"/>
                  </a:cubicBezTo>
                  <a:cubicBezTo>
                    <a:pt x="273" y="284"/>
                    <a:pt x="273" y="284"/>
                    <a:pt x="273" y="285"/>
                  </a:cubicBezTo>
                  <a:cubicBezTo>
                    <a:pt x="273" y="285"/>
                    <a:pt x="273" y="285"/>
                    <a:pt x="272" y="285"/>
                  </a:cubicBezTo>
                  <a:cubicBezTo>
                    <a:pt x="272" y="285"/>
                    <a:pt x="272" y="285"/>
                    <a:pt x="272" y="285"/>
                  </a:cubicBezTo>
                  <a:cubicBezTo>
                    <a:pt x="272" y="285"/>
                    <a:pt x="272" y="285"/>
                    <a:pt x="271" y="285"/>
                  </a:cubicBezTo>
                  <a:cubicBezTo>
                    <a:pt x="271" y="285"/>
                    <a:pt x="271" y="285"/>
                    <a:pt x="271" y="285"/>
                  </a:cubicBezTo>
                  <a:cubicBezTo>
                    <a:pt x="270" y="285"/>
                    <a:pt x="270" y="286"/>
                    <a:pt x="269" y="286"/>
                  </a:cubicBezTo>
                  <a:cubicBezTo>
                    <a:pt x="269" y="286"/>
                    <a:pt x="269" y="286"/>
                    <a:pt x="269" y="286"/>
                  </a:cubicBezTo>
                  <a:cubicBezTo>
                    <a:pt x="268" y="286"/>
                    <a:pt x="267" y="287"/>
                    <a:pt x="266" y="287"/>
                  </a:cubicBezTo>
                  <a:cubicBezTo>
                    <a:pt x="266" y="288"/>
                    <a:pt x="266" y="289"/>
                    <a:pt x="265" y="290"/>
                  </a:cubicBezTo>
                  <a:cubicBezTo>
                    <a:pt x="265" y="290"/>
                    <a:pt x="265" y="290"/>
                    <a:pt x="265" y="290"/>
                  </a:cubicBezTo>
                  <a:cubicBezTo>
                    <a:pt x="265" y="291"/>
                    <a:pt x="265" y="291"/>
                    <a:pt x="265" y="291"/>
                  </a:cubicBezTo>
                  <a:cubicBezTo>
                    <a:pt x="265" y="291"/>
                    <a:pt x="265" y="291"/>
                    <a:pt x="265" y="291"/>
                  </a:cubicBezTo>
                  <a:cubicBezTo>
                    <a:pt x="265" y="291"/>
                    <a:pt x="265" y="292"/>
                    <a:pt x="265" y="292"/>
                  </a:cubicBezTo>
                  <a:cubicBezTo>
                    <a:pt x="264" y="292"/>
                    <a:pt x="264" y="292"/>
                    <a:pt x="264" y="292"/>
                  </a:cubicBezTo>
                  <a:cubicBezTo>
                    <a:pt x="264" y="293"/>
                    <a:pt x="264" y="293"/>
                    <a:pt x="264" y="294"/>
                  </a:cubicBezTo>
                  <a:cubicBezTo>
                    <a:pt x="264" y="294"/>
                    <a:pt x="264" y="294"/>
                    <a:pt x="263" y="294"/>
                  </a:cubicBezTo>
                  <a:cubicBezTo>
                    <a:pt x="263" y="294"/>
                    <a:pt x="263" y="295"/>
                    <a:pt x="263" y="295"/>
                  </a:cubicBezTo>
                  <a:cubicBezTo>
                    <a:pt x="263" y="295"/>
                    <a:pt x="263" y="295"/>
                    <a:pt x="263" y="295"/>
                  </a:cubicBezTo>
                  <a:cubicBezTo>
                    <a:pt x="263" y="295"/>
                    <a:pt x="263" y="295"/>
                    <a:pt x="263" y="296"/>
                  </a:cubicBezTo>
                  <a:cubicBezTo>
                    <a:pt x="263" y="296"/>
                    <a:pt x="263" y="296"/>
                    <a:pt x="263" y="296"/>
                  </a:cubicBezTo>
                  <a:cubicBezTo>
                    <a:pt x="263" y="296"/>
                    <a:pt x="263" y="296"/>
                    <a:pt x="263" y="297"/>
                  </a:cubicBezTo>
                  <a:cubicBezTo>
                    <a:pt x="263" y="297"/>
                    <a:pt x="263" y="297"/>
                    <a:pt x="262" y="297"/>
                  </a:cubicBezTo>
                  <a:cubicBezTo>
                    <a:pt x="262" y="297"/>
                    <a:pt x="262" y="298"/>
                    <a:pt x="262" y="298"/>
                  </a:cubicBezTo>
                  <a:cubicBezTo>
                    <a:pt x="262" y="298"/>
                    <a:pt x="262" y="298"/>
                    <a:pt x="262" y="298"/>
                  </a:cubicBezTo>
                  <a:cubicBezTo>
                    <a:pt x="262" y="299"/>
                    <a:pt x="262" y="299"/>
                    <a:pt x="262" y="299"/>
                  </a:cubicBezTo>
                  <a:cubicBezTo>
                    <a:pt x="262" y="299"/>
                    <a:pt x="261" y="299"/>
                    <a:pt x="261" y="299"/>
                  </a:cubicBezTo>
                  <a:cubicBezTo>
                    <a:pt x="261" y="300"/>
                    <a:pt x="261" y="300"/>
                    <a:pt x="261" y="300"/>
                  </a:cubicBezTo>
                  <a:cubicBezTo>
                    <a:pt x="261" y="300"/>
                    <a:pt x="261" y="300"/>
                    <a:pt x="261" y="300"/>
                  </a:cubicBezTo>
                  <a:cubicBezTo>
                    <a:pt x="261" y="301"/>
                    <a:pt x="261" y="301"/>
                    <a:pt x="261" y="302"/>
                  </a:cubicBezTo>
                  <a:cubicBezTo>
                    <a:pt x="261" y="302"/>
                    <a:pt x="260" y="302"/>
                    <a:pt x="260" y="302"/>
                  </a:cubicBezTo>
                  <a:cubicBezTo>
                    <a:pt x="260" y="302"/>
                    <a:pt x="260" y="302"/>
                    <a:pt x="260" y="303"/>
                  </a:cubicBezTo>
                  <a:cubicBezTo>
                    <a:pt x="260" y="303"/>
                    <a:pt x="260" y="303"/>
                    <a:pt x="260" y="303"/>
                  </a:cubicBezTo>
                  <a:cubicBezTo>
                    <a:pt x="260" y="303"/>
                    <a:pt x="260" y="303"/>
                    <a:pt x="260" y="303"/>
                  </a:cubicBezTo>
                  <a:cubicBezTo>
                    <a:pt x="260" y="303"/>
                    <a:pt x="260" y="303"/>
                    <a:pt x="260" y="303"/>
                  </a:cubicBezTo>
                  <a:cubicBezTo>
                    <a:pt x="260" y="304"/>
                    <a:pt x="259" y="305"/>
                    <a:pt x="259" y="306"/>
                  </a:cubicBezTo>
                  <a:cubicBezTo>
                    <a:pt x="259" y="306"/>
                    <a:pt x="259" y="306"/>
                    <a:pt x="259" y="306"/>
                  </a:cubicBezTo>
                  <a:cubicBezTo>
                    <a:pt x="259" y="306"/>
                    <a:pt x="259" y="306"/>
                    <a:pt x="259" y="306"/>
                  </a:cubicBezTo>
                  <a:cubicBezTo>
                    <a:pt x="259" y="306"/>
                    <a:pt x="259" y="306"/>
                    <a:pt x="259" y="306"/>
                  </a:cubicBezTo>
                  <a:cubicBezTo>
                    <a:pt x="259" y="307"/>
                    <a:pt x="259" y="307"/>
                    <a:pt x="259" y="307"/>
                  </a:cubicBezTo>
                  <a:cubicBezTo>
                    <a:pt x="258" y="307"/>
                    <a:pt x="258" y="307"/>
                    <a:pt x="258" y="307"/>
                  </a:cubicBezTo>
                  <a:cubicBezTo>
                    <a:pt x="258" y="308"/>
                    <a:pt x="258" y="308"/>
                    <a:pt x="258" y="308"/>
                  </a:cubicBezTo>
                  <a:cubicBezTo>
                    <a:pt x="258" y="308"/>
                    <a:pt x="258" y="308"/>
                    <a:pt x="258" y="308"/>
                  </a:cubicBezTo>
                  <a:cubicBezTo>
                    <a:pt x="258" y="309"/>
                    <a:pt x="258" y="309"/>
                    <a:pt x="258" y="310"/>
                  </a:cubicBezTo>
                  <a:cubicBezTo>
                    <a:pt x="257" y="310"/>
                    <a:pt x="257" y="310"/>
                    <a:pt x="257" y="310"/>
                  </a:cubicBezTo>
                  <a:cubicBezTo>
                    <a:pt x="257" y="311"/>
                    <a:pt x="258" y="315"/>
                    <a:pt x="258" y="315"/>
                  </a:cubicBezTo>
                  <a:cubicBezTo>
                    <a:pt x="258" y="316"/>
                    <a:pt x="258" y="316"/>
                    <a:pt x="258" y="317"/>
                  </a:cubicBezTo>
                  <a:cubicBezTo>
                    <a:pt x="258" y="317"/>
                    <a:pt x="258" y="317"/>
                    <a:pt x="259" y="317"/>
                  </a:cubicBezTo>
                  <a:cubicBezTo>
                    <a:pt x="259" y="317"/>
                    <a:pt x="259" y="318"/>
                    <a:pt x="259" y="318"/>
                  </a:cubicBezTo>
                  <a:cubicBezTo>
                    <a:pt x="259" y="318"/>
                    <a:pt x="259" y="318"/>
                    <a:pt x="259" y="318"/>
                  </a:cubicBezTo>
                  <a:cubicBezTo>
                    <a:pt x="259" y="319"/>
                    <a:pt x="259" y="319"/>
                    <a:pt x="259" y="320"/>
                  </a:cubicBezTo>
                  <a:cubicBezTo>
                    <a:pt x="259" y="320"/>
                    <a:pt x="259" y="320"/>
                    <a:pt x="259" y="320"/>
                  </a:cubicBezTo>
                  <a:cubicBezTo>
                    <a:pt x="259" y="320"/>
                    <a:pt x="259" y="321"/>
                    <a:pt x="259" y="321"/>
                  </a:cubicBezTo>
                  <a:cubicBezTo>
                    <a:pt x="259" y="321"/>
                    <a:pt x="260" y="321"/>
                    <a:pt x="260" y="321"/>
                  </a:cubicBezTo>
                  <a:cubicBezTo>
                    <a:pt x="260" y="321"/>
                    <a:pt x="260" y="322"/>
                    <a:pt x="260" y="322"/>
                  </a:cubicBezTo>
                  <a:cubicBezTo>
                    <a:pt x="260" y="322"/>
                    <a:pt x="260" y="322"/>
                    <a:pt x="260" y="322"/>
                  </a:cubicBezTo>
                  <a:cubicBezTo>
                    <a:pt x="260" y="323"/>
                    <a:pt x="260" y="324"/>
                    <a:pt x="260" y="324"/>
                  </a:cubicBezTo>
                  <a:cubicBezTo>
                    <a:pt x="261" y="326"/>
                    <a:pt x="262" y="329"/>
                    <a:pt x="262" y="332"/>
                  </a:cubicBezTo>
                  <a:cubicBezTo>
                    <a:pt x="262" y="332"/>
                    <a:pt x="261" y="333"/>
                    <a:pt x="261" y="333"/>
                  </a:cubicBezTo>
                  <a:cubicBezTo>
                    <a:pt x="261" y="333"/>
                    <a:pt x="261" y="333"/>
                    <a:pt x="261" y="334"/>
                  </a:cubicBezTo>
                  <a:cubicBezTo>
                    <a:pt x="260" y="334"/>
                    <a:pt x="259" y="335"/>
                    <a:pt x="259" y="335"/>
                  </a:cubicBezTo>
                  <a:cubicBezTo>
                    <a:pt x="259" y="336"/>
                    <a:pt x="259" y="336"/>
                    <a:pt x="259" y="336"/>
                  </a:cubicBezTo>
                  <a:cubicBezTo>
                    <a:pt x="258" y="337"/>
                    <a:pt x="257" y="337"/>
                    <a:pt x="256" y="338"/>
                  </a:cubicBezTo>
                  <a:cubicBezTo>
                    <a:pt x="256" y="338"/>
                    <a:pt x="256" y="339"/>
                    <a:pt x="256" y="339"/>
                  </a:cubicBezTo>
                  <a:cubicBezTo>
                    <a:pt x="255" y="339"/>
                    <a:pt x="255" y="340"/>
                    <a:pt x="254" y="341"/>
                  </a:cubicBezTo>
                  <a:cubicBezTo>
                    <a:pt x="254" y="341"/>
                    <a:pt x="254" y="341"/>
                    <a:pt x="254" y="342"/>
                  </a:cubicBezTo>
                  <a:cubicBezTo>
                    <a:pt x="253" y="342"/>
                    <a:pt x="253" y="342"/>
                    <a:pt x="253" y="342"/>
                  </a:cubicBezTo>
                  <a:cubicBezTo>
                    <a:pt x="253" y="347"/>
                    <a:pt x="253" y="352"/>
                    <a:pt x="253" y="356"/>
                  </a:cubicBezTo>
                  <a:cubicBezTo>
                    <a:pt x="252" y="357"/>
                    <a:pt x="252" y="360"/>
                    <a:pt x="252" y="361"/>
                  </a:cubicBezTo>
                  <a:cubicBezTo>
                    <a:pt x="252" y="366"/>
                    <a:pt x="252" y="370"/>
                    <a:pt x="252" y="374"/>
                  </a:cubicBezTo>
                  <a:cubicBezTo>
                    <a:pt x="252" y="378"/>
                    <a:pt x="252" y="382"/>
                    <a:pt x="252" y="386"/>
                  </a:cubicBezTo>
                  <a:cubicBezTo>
                    <a:pt x="251" y="391"/>
                    <a:pt x="250" y="396"/>
                    <a:pt x="248" y="401"/>
                  </a:cubicBezTo>
                  <a:cubicBezTo>
                    <a:pt x="248" y="401"/>
                    <a:pt x="248" y="402"/>
                    <a:pt x="248" y="402"/>
                  </a:cubicBezTo>
                  <a:cubicBezTo>
                    <a:pt x="248" y="402"/>
                    <a:pt x="248" y="402"/>
                    <a:pt x="248" y="402"/>
                  </a:cubicBezTo>
                  <a:cubicBezTo>
                    <a:pt x="248" y="403"/>
                    <a:pt x="248" y="403"/>
                    <a:pt x="248" y="404"/>
                  </a:cubicBezTo>
                  <a:cubicBezTo>
                    <a:pt x="248" y="404"/>
                    <a:pt x="248" y="404"/>
                    <a:pt x="247" y="404"/>
                  </a:cubicBezTo>
                  <a:cubicBezTo>
                    <a:pt x="247" y="406"/>
                    <a:pt x="247" y="408"/>
                    <a:pt x="246" y="409"/>
                  </a:cubicBezTo>
                  <a:cubicBezTo>
                    <a:pt x="245" y="411"/>
                    <a:pt x="243" y="411"/>
                    <a:pt x="241" y="412"/>
                  </a:cubicBezTo>
                  <a:cubicBezTo>
                    <a:pt x="238" y="414"/>
                    <a:pt x="235" y="415"/>
                    <a:pt x="232" y="417"/>
                  </a:cubicBezTo>
                  <a:cubicBezTo>
                    <a:pt x="231" y="421"/>
                    <a:pt x="231" y="424"/>
                    <a:pt x="231" y="428"/>
                  </a:cubicBezTo>
                  <a:cubicBezTo>
                    <a:pt x="231" y="428"/>
                    <a:pt x="231" y="428"/>
                    <a:pt x="231" y="428"/>
                  </a:cubicBezTo>
                  <a:cubicBezTo>
                    <a:pt x="230" y="430"/>
                    <a:pt x="231" y="432"/>
                    <a:pt x="230" y="433"/>
                  </a:cubicBezTo>
                  <a:cubicBezTo>
                    <a:pt x="230" y="433"/>
                    <a:pt x="230" y="433"/>
                    <a:pt x="230" y="433"/>
                  </a:cubicBezTo>
                  <a:cubicBezTo>
                    <a:pt x="230" y="433"/>
                    <a:pt x="229" y="433"/>
                    <a:pt x="229" y="433"/>
                  </a:cubicBezTo>
                  <a:cubicBezTo>
                    <a:pt x="229" y="433"/>
                    <a:pt x="229" y="433"/>
                    <a:pt x="229" y="433"/>
                  </a:cubicBezTo>
                  <a:cubicBezTo>
                    <a:pt x="228" y="432"/>
                    <a:pt x="227" y="432"/>
                    <a:pt x="227" y="432"/>
                  </a:cubicBezTo>
                  <a:cubicBezTo>
                    <a:pt x="227" y="432"/>
                    <a:pt x="227" y="432"/>
                    <a:pt x="227" y="432"/>
                  </a:cubicBezTo>
                  <a:cubicBezTo>
                    <a:pt x="223" y="432"/>
                    <a:pt x="220" y="432"/>
                    <a:pt x="216" y="432"/>
                  </a:cubicBezTo>
                  <a:cubicBezTo>
                    <a:pt x="216" y="432"/>
                    <a:pt x="216" y="432"/>
                    <a:pt x="216" y="432"/>
                  </a:cubicBezTo>
                  <a:cubicBezTo>
                    <a:pt x="215" y="432"/>
                    <a:pt x="214" y="432"/>
                    <a:pt x="213" y="432"/>
                  </a:cubicBezTo>
                  <a:cubicBezTo>
                    <a:pt x="212" y="433"/>
                    <a:pt x="209" y="433"/>
                    <a:pt x="208" y="434"/>
                  </a:cubicBezTo>
                  <a:cubicBezTo>
                    <a:pt x="207" y="434"/>
                    <a:pt x="207" y="434"/>
                    <a:pt x="206" y="434"/>
                  </a:cubicBezTo>
                  <a:cubicBezTo>
                    <a:pt x="201" y="435"/>
                    <a:pt x="195" y="436"/>
                    <a:pt x="190" y="437"/>
                  </a:cubicBezTo>
                  <a:cubicBezTo>
                    <a:pt x="188" y="438"/>
                    <a:pt x="186" y="438"/>
                    <a:pt x="183" y="438"/>
                  </a:cubicBezTo>
                  <a:cubicBezTo>
                    <a:pt x="183" y="439"/>
                    <a:pt x="183" y="439"/>
                    <a:pt x="183" y="439"/>
                  </a:cubicBezTo>
                  <a:cubicBezTo>
                    <a:pt x="182" y="439"/>
                    <a:pt x="181" y="439"/>
                    <a:pt x="180" y="439"/>
                  </a:cubicBezTo>
                  <a:cubicBezTo>
                    <a:pt x="180" y="439"/>
                    <a:pt x="180" y="439"/>
                    <a:pt x="180" y="440"/>
                  </a:cubicBezTo>
                  <a:cubicBezTo>
                    <a:pt x="179" y="440"/>
                    <a:pt x="178" y="440"/>
                    <a:pt x="177" y="440"/>
                  </a:cubicBezTo>
                  <a:cubicBezTo>
                    <a:pt x="177" y="440"/>
                    <a:pt x="177" y="440"/>
                    <a:pt x="177" y="440"/>
                  </a:cubicBezTo>
                  <a:cubicBezTo>
                    <a:pt x="177" y="440"/>
                    <a:pt x="176" y="440"/>
                    <a:pt x="175" y="440"/>
                  </a:cubicBezTo>
                  <a:cubicBezTo>
                    <a:pt x="175" y="440"/>
                    <a:pt x="175" y="440"/>
                    <a:pt x="175" y="440"/>
                  </a:cubicBezTo>
                  <a:cubicBezTo>
                    <a:pt x="173" y="440"/>
                    <a:pt x="172" y="440"/>
                    <a:pt x="170" y="440"/>
                  </a:cubicBezTo>
                  <a:cubicBezTo>
                    <a:pt x="170" y="440"/>
                    <a:pt x="170" y="440"/>
                    <a:pt x="170" y="440"/>
                  </a:cubicBezTo>
                  <a:cubicBezTo>
                    <a:pt x="170" y="440"/>
                    <a:pt x="169" y="440"/>
                    <a:pt x="169" y="440"/>
                  </a:cubicBezTo>
                  <a:cubicBezTo>
                    <a:pt x="169" y="439"/>
                    <a:pt x="169" y="439"/>
                    <a:pt x="169" y="439"/>
                  </a:cubicBezTo>
                  <a:cubicBezTo>
                    <a:pt x="169" y="439"/>
                    <a:pt x="168" y="439"/>
                    <a:pt x="168" y="439"/>
                  </a:cubicBezTo>
                  <a:cubicBezTo>
                    <a:pt x="168" y="439"/>
                    <a:pt x="168" y="439"/>
                    <a:pt x="168" y="438"/>
                  </a:cubicBezTo>
                  <a:cubicBezTo>
                    <a:pt x="167" y="438"/>
                    <a:pt x="167" y="438"/>
                    <a:pt x="167" y="438"/>
                  </a:cubicBezTo>
                  <a:cubicBezTo>
                    <a:pt x="167" y="438"/>
                    <a:pt x="167" y="438"/>
                    <a:pt x="167" y="438"/>
                  </a:cubicBezTo>
                  <a:cubicBezTo>
                    <a:pt x="166" y="438"/>
                    <a:pt x="166" y="438"/>
                    <a:pt x="166" y="438"/>
                  </a:cubicBezTo>
                  <a:cubicBezTo>
                    <a:pt x="166" y="437"/>
                    <a:pt x="165" y="437"/>
                    <a:pt x="165" y="437"/>
                  </a:cubicBezTo>
                  <a:cubicBezTo>
                    <a:pt x="165" y="437"/>
                    <a:pt x="165" y="437"/>
                    <a:pt x="165" y="437"/>
                  </a:cubicBezTo>
                  <a:cubicBezTo>
                    <a:pt x="164" y="436"/>
                    <a:pt x="164" y="436"/>
                    <a:pt x="163" y="435"/>
                  </a:cubicBezTo>
                  <a:cubicBezTo>
                    <a:pt x="163" y="435"/>
                    <a:pt x="163" y="435"/>
                    <a:pt x="163" y="435"/>
                  </a:cubicBezTo>
                  <a:cubicBezTo>
                    <a:pt x="163" y="435"/>
                    <a:pt x="162" y="435"/>
                    <a:pt x="162" y="434"/>
                  </a:cubicBezTo>
                  <a:cubicBezTo>
                    <a:pt x="162" y="434"/>
                    <a:pt x="162" y="434"/>
                    <a:pt x="161" y="434"/>
                  </a:cubicBezTo>
                  <a:cubicBezTo>
                    <a:pt x="161" y="434"/>
                    <a:pt x="161" y="434"/>
                    <a:pt x="161" y="434"/>
                  </a:cubicBezTo>
                  <a:cubicBezTo>
                    <a:pt x="161" y="434"/>
                    <a:pt x="161" y="434"/>
                    <a:pt x="160" y="434"/>
                  </a:cubicBezTo>
                  <a:cubicBezTo>
                    <a:pt x="160" y="433"/>
                    <a:pt x="160" y="433"/>
                    <a:pt x="160" y="433"/>
                  </a:cubicBezTo>
                  <a:cubicBezTo>
                    <a:pt x="160" y="433"/>
                    <a:pt x="159" y="433"/>
                    <a:pt x="159" y="433"/>
                  </a:cubicBezTo>
                  <a:cubicBezTo>
                    <a:pt x="159" y="433"/>
                    <a:pt x="159" y="433"/>
                    <a:pt x="159" y="433"/>
                  </a:cubicBezTo>
                  <a:cubicBezTo>
                    <a:pt x="158" y="432"/>
                    <a:pt x="157" y="432"/>
                    <a:pt x="156" y="432"/>
                  </a:cubicBezTo>
                  <a:cubicBezTo>
                    <a:pt x="156" y="431"/>
                    <a:pt x="156" y="431"/>
                    <a:pt x="156" y="431"/>
                  </a:cubicBezTo>
                  <a:cubicBezTo>
                    <a:pt x="155" y="431"/>
                    <a:pt x="155" y="431"/>
                    <a:pt x="154" y="431"/>
                  </a:cubicBezTo>
                  <a:cubicBezTo>
                    <a:pt x="154" y="431"/>
                    <a:pt x="154" y="430"/>
                    <a:pt x="154" y="430"/>
                  </a:cubicBezTo>
                  <a:cubicBezTo>
                    <a:pt x="154" y="430"/>
                    <a:pt x="154" y="430"/>
                    <a:pt x="153" y="430"/>
                  </a:cubicBezTo>
                  <a:cubicBezTo>
                    <a:pt x="153" y="430"/>
                    <a:pt x="153" y="430"/>
                    <a:pt x="153" y="429"/>
                  </a:cubicBezTo>
                  <a:cubicBezTo>
                    <a:pt x="153" y="429"/>
                    <a:pt x="152" y="429"/>
                    <a:pt x="152" y="429"/>
                  </a:cubicBezTo>
                  <a:cubicBezTo>
                    <a:pt x="152" y="429"/>
                    <a:pt x="152" y="428"/>
                    <a:pt x="151" y="428"/>
                  </a:cubicBezTo>
                  <a:cubicBezTo>
                    <a:pt x="151" y="428"/>
                    <a:pt x="151" y="428"/>
                    <a:pt x="151" y="428"/>
                  </a:cubicBezTo>
                  <a:cubicBezTo>
                    <a:pt x="150" y="427"/>
                    <a:pt x="149" y="427"/>
                    <a:pt x="149" y="426"/>
                  </a:cubicBezTo>
                  <a:cubicBezTo>
                    <a:pt x="147" y="425"/>
                    <a:pt x="146" y="424"/>
                    <a:pt x="145" y="422"/>
                  </a:cubicBezTo>
                  <a:cubicBezTo>
                    <a:pt x="145" y="422"/>
                    <a:pt x="145" y="422"/>
                    <a:pt x="145" y="422"/>
                  </a:cubicBezTo>
                  <a:cubicBezTo>
                    <a:pt x="145" y="421"/>
                    <a:pt x="144" y="421"/>
                    <a:pt x="144" y="421"/>
                  </a:cubicBezTo>
                  <a:cubicBezTo>
                    <a:pt x="144" y="421"/>
                    <a:pt x="144" y="421"/>
                    <a:pt x="144" y="420"/>
                  </a:cubicBezTo>
                  <a:cubicBezTo>
                    <a:pt x="144" y="420"/>
                    <a:pt x="143" y="420"/>
                    <a:pt x="143" y="420"/>
                  </a:cubicBezTo>
                  <a:cubicBezTo>
                    <a:pt x="143" y="420"/>
                    <a:pt x="143" y="419"/>
                    <a:pt x="143" y="419"/>
                  </a:cubicBezTo>
                  <a:cubicBezTo>
                    <a:pt x="143" y="419"/>
                    <a:pt x="143" y="419"/>
                    <a:pt x="142" y="419"/>
                  </a:cubicBezTo>
                  <a:cubicBezTo>
                    <a:pt x="142" y="418"/>
                    <a:pt x="142" y="418"/>
                    <a:pt x="142" y="418"/>
                  </a:cubicBezTo>
                  <a:cubicBezTo>
                    <a:pt x="142" y="418"/>
                    <a:pt x="142" y="418"/>
                    <a:pt x="142" y="418"/>
                  </a:cubicBezTo>
                  <a:cubicBezTo>
                    <a:pt x="142" y="417"/>
                    <a:pt x="141" y="416"/>
                    <a:pt x="141" y="415"/>
                  </a:cubicBezTo>
                  <a:cubicBezTo>
                    <a:pt x="141" y="415"/>
                    <a:pt x="141" y="415"/>
                    <a:pt x="141" y="415"/>
                  </a:cubicBezTo>
                  <a:cubicBezTo>
                    <a:pt x="141" y="415"/>
                    <a:pt x="140" y="414"/>
                    <a:pt x="140" y="413"/>
                  </a:cubicBezTo>
                  <a:cubicBezTo>
                    <a:pt x="140" y="413"/>
                    <a:pt x="140" y="413"/>
                    <a:pt x="140" y="413"/>
                  </a:cubicBezTo>
                  <a:cubicBezTo>
                    <a:pt x="140" y="413"/>
                    <a:pt x="140" y="412"/>
                    <a:pt x="140" y="412"/>
                  </a:cubicBezTo>
                  <a:cubicBezTo>
                    <a:pt x="140" y="412"/>
                    <a:pt x="140" y="412"/>
                    <a:pt x="140" y="412"/>
                  </a:cubicBezTo>
                  <a:cubicBezTo>
                    <a:pt x="140" y="411"/>
                    <a:pt x="140" y="411"/>
                    <a:pt x="140" y="410"/>
                  </a:cubicBezTo>
                  <a:cubicBezTo>
                    <a:pt x="140" y="410"/>
                    <a:pt x="139" y="410"/>
                    <a:pt x="139" y="410"/>
                  </a:cubicBezTo>
                  <a:cubicBezTo>
                    <a:pt x="139" y="409"/>
                    <a:pt x="139" y="408"/>
                    <a:pt x="139" y="408"/>
                  </a:cubicBezTo>
                  <a:cubicBezTo>
                    <a:pt x="139" y="408"/>
                    <a:pt x="139" y="408"/>
                    <a:pt x="139" y="408"/>
                  </a:cubicBezTo>
                  <a:cubicBezTo>
                    <a:pt x="139" y="407"/>
                    <a:pt x="139" y="406"/>
                    <a:pt x="139" y="405"/>
                  </a:cubicBezTo>
                  <a:cubicBezTo>
                    <a:pt x="138" y="403"/>
                    <a:pt x="138" y="400"/>
                    <a:pt x="135" y="400"/>
                  </a:cubicBezTo>
                  <a:cubicBezTo>
                    <a:pt x="134" y="398"/>
                    <a:pt x="133" y="400"/>
                    <a:pt x="131" y="399"/>
                  </a:cubicBezTo>
                  <a:cubicBezTo>
                    <a:pt x="131" y="399"/>
                    <a:pt x="131" y="399"/>
                    <a:pt x="131" y="399"/>
                  </a:cubicBezTo>
                  <a:cubicBezTo>
                    <a:pt x="130" y="399"/>
                    <a:pt x="129" y="399"/>
                    <a:pt x="128" y="399"/>
                  </a:cubicBezTo>
                  <a:cubicBezTo>
                    <a:pt x="126" y="398"/>
                    <a:pt x="124" y="397"/>
                    <a:pt x="122" y="396"/>
                  </a:cubicBezTo>
                  <a:cubicBezTo>
                    <a:pt x="122" y="396"/>
                    <a:pt x="122" y="396"/>
                    <a:pt x="122" y="396"/>
                  </a:cubicBezTo>
                  <a:cubicBezTo>
                    <a:pt x="121" y="396"/>
                    <a:pt x="121" y="396"/>
                    <a:pt x="121" y="395"/>
                  </a:cubicBezTo>
                  <a:cubicBezTo>
                    <a:pt x="121" y="395"/>
                    <a:pt x="121" y="395"/>
                    <a:pt x="120" y="395"/>
                  </a:cubicBezTo>
                  <a:cubicBezTo>
                    <a:pt x="120" y="395"/>
                    <a:pt x="120" y="395"/>
                    <a:pt x="120" y="395"/>
                  </a:cubicBezTo>
                  <a:cubicBezTo>
                    <a:pt x="119" y="394"/>
                    <a:pt x="119" y="394"/>
                    <a:pt x="119" y="393"/>
                  </a:cubicBezTo>
                  <a:cubicBezTo>
                    <a:pt x="118" y="393"/>
                    <a:pt x="117" y="392"/>
                    <a:pt x="117" y="392"/>
                  </a:cubicBezTo>
                  <a:cubicBezTo>
                    <a:pt x="117" y="391"/>
                    <a:pt x="117" y="391"/>
                    <a:pt x="117" y="391"/>
                  </a:cubicBezTo>
                  <a:cubicBezTo>
                    <a:pt x="116" y="391"/>
                    <a:pt x="116" y="390"/>
                    <a:pt x="116" y="390"/>
                  </a:cubicBezTo>
                  <a:cubicBezTo>
                    <a:pt x="116" y="390"/>
                    <a:pt x="116" y="390"/>
                    <a:pt x="116" y="390"/>
                  </a:cubicBezTo>
                  <a:cubicBezTo>
                    <a:pt x="115" y="389"/>
                    <a:pt x="115" y="389"/>
                    <a:pt x="115" y="389"/>
                  </a:cubicBezTo>
                  <a:cubicBezTo>
                    <a:pt x="115" y="388"/>
                    <a:pt x="114" y="388"/>
                    <a:pt x="114" y="387"/>
                  </a:cubicBezTo>
                  <a:cubicBezTo>
                    <a:pt x="114" y="387"/>
                    <a:pt x="114" y="387"/>
                    <a:pt x="114" y="387"/>
                  </a:cubicBezTo>
                  <a:cubicBezTo>
                    <a:pt x="114" y="387"/>
                    <a:pt x="114" y="386"/>
                    <a:pt x="113" y="386"/>
                  </a:cubicBezTo>
                  <a:cubicBezTo>
                    <a:pt x="113" y="386"/>
                    <a:pt x="113" y="386"/>
                    <a:pt x="113" y="386"/>
                  </a:cubicBezTo>
                  <a:cubicBezTo>
                    <a:pt x="113" y="385"/>
                    <a:pt x="113" y="385"/>
                    <a:pt x="113" y="385"/>
                  </a:cubicBezTo>
                  <a:cubicBezTo>
                    <a:pt x="113" y="385"/>
                    <a:pt x="113" y="385"/>
                    <a:pt x="113" y="385"/>
                  </a:cubicBezTo>
                  <a:cubicBezTo>
                    <a:pt x="113" y="385"/>
                    <a:pt x="113" y="385"/>
                    <a:pt x="113" y="384"/>
                  </a:cubicBezTo>
                  <a:cubicBezTo>
                    <a:pt x="113" y="384"/>
                    <a:pt x="113" y="384"/>
                    <a:pt x="112" y="384"/>
                  </a:cubicBezTo>
                  <a:cubicBezTo>
                    <a:pt x="112" y="384"/>
                    <a:pt x="112" y="384"/>
                    <a:pt x="112" y="384"/>
                  </a:cubicBezTo>
                  <a:cubicBezTo>
                    <a:pt x="112" y="384"/>
                    <a:pt x="112" y="384"/>
                    <a:pt x="112" y="384"/>
                  </a:cubicBezTo>
                  <a:cubicBezTo>
                    <a:pt x="112" y="383"/>
                    <a:pt x="112" y="383"/>
                    <a:pt x="112" y="383"/>
                  </a:cubicBezTo>
                  <a:cubicBezTo>
                    <a:pt x="112" y="383"/>
                    <a:pt x="112" y="383"/>
                    <a:pt x="112" y="383"/>
                  </a:cubicBezTo>
                  <a:cubicBezTo>
                    <a:pt x="112" y="383"/>
                    <a:pt x="112" y="382"/>
                    <a:pt x="112" y="382"/>
                  </a:cubicBezTo>
                  <a:cubicBezTo>
                    <a:pt x="112" y="382"/>
                    <a:pt x="111" y="382"/>
                    <a:pt x="111" y="382"/>
                  </a:cubicBezTo>
                  <a:cubicBezTo>
                    <a:pt x="111" y="382"/>
                    <a:pt x="111" y="382"/>
                    <a:pt x="111" y="381"/>
                  </a:cubicBezTo>
                  <a:cubicBezTo>
                    <a:pt x="111" y="381"/>
                    <a:pt x="111" y="381"/>
                    <a:pt x="111" y="381"/>
                  </a:cubicBezTo>
                  <a:cubicBezTo>
                    <a:pt x="111" y="381"/>
                    <a:pt x="111" y="381"/>
                    <a:pt x="111" y="381"/>
                  </a:cubicBezTo>
                  <a:cubicBezTo>
                    <a:pt x="111" y="381"/>
                    <a:pt x="111" y="381"/>
                    <a:pt x="111" y="381"/>
                  </a:cubicBezTo>
                  <a:cubicBezTo>
                    <a:pt x="111" y="381"/>
                    <a:pt x="111" y="380"/>
                    <a:pt x="111" y="380"/>
                  </a:cubicBezTo>
                  <a:cubicBezTo>
                    <a:pt x="111" y="380"/>
                    <a:pt x="110" y="380"/>
                    <a:pt x="110" y="380"/>
                  </a:cubicBezTo>
                  <a:cubicBezTo>
                    <a:pt x="110" y="380"/>
                    <a:pt x="110" y="380"/>
                    <a:pt x="110" y="379"/>
                  </a:cubicBezTo>
                  <a:cubicBezTo>
                    <a:pt x="110" y="379"/>
                    <a:pt x="110" y="379"/>
                    <a:pt x="110" y="379"/>
                  </a:cubicBezTo>
                  <a:cubicBezTo>
                    <a:pt x="109" y="379"/>
                    <a:pt x="109" y="378"/>
                    <a:pt x="109" y="378"/>
                  </a:cubicBezTo>
                  <a:cubicBezTo>
                    <a:pt x="109" y="377"/>
                    <a:pt x="108" y="377"/>
                    <a:pt x="108" y="377"/>
                  </a:cubicBezTo>
                  <a:cubicBezTo>
                    <a:pt x="108" y="376"/>
                    <a:pt x="108" y="376"/>
                    <a:pt x="108" y="376"/>
                  </a:cubicBezTo>
                  <a:cubicBezTo>
                    <a:pt x="108" y="376"/>
                    <a:pt x="107" y="376"/>
                    <a:pt x="107" y="376"/>
                  </a:cubicBezTo>
                  <a:cubicBezTo>
                    <a:pt x="107" y="375"/>
                    <a:pt x="107" y="375"/>
                    <a:pt x="107" y="375"/>
                  </a:cubicBezTo>
                  <a:cubicBezTo>
                    <a:pt x="107" y="375"/>
                    <a:pt x="107" y="375"/>
                    <a:pt x="106" y="375"/>
                  </a:cubicBezTo>
                  <a:cubicBezTo>
                    <a:pt x="106" y="375"/>
                    <a:pt x="106" y="374"/>
                    <a:pt x="106" y="374"/>
                  </a:cubicBezTo>
                  <a:cubicBezTo>
                    <a:pt x="105" y="374"/>
                    <a:pt x="101" y="372"/>
                    <a:pt x="99" y="373"/>
                  </a:cubicBezTo>
                  <a:cubicBezTo>
                    <a:pt x="99" y="373"/>
                    <a:pt x="99" y="373"/>
                    <a:pt x="99" y="373"/>
                  </a:cubicBezTo>
                  <a:cubicBezTo>
                    <a:pt x="99" y="373"/>
                    <a:pt x="99" y="373"/>
                    <a:pt x="98" y="373"/>
                  </a:cubicBezTo>
                  <a:cubicBezTo>
                    <a:pt x="98" y="374"/>
                    <a:pt x="98" y="374"/>
                    <a:pt x="98" y="374"/>
                  </a:cubicBezTo>
                  <a:cubicBezTo>
                    <a:pt x="98" y="374"/>
                    <a:pt x="98" y="374"/>
                    <a:pt x="97" y="374"/>
                  </a:cubicBezTo>
                  <a:cubicBezTo>
                    <a:pt x="97" y="374"/>
                    <a:pt x="97" y="374"/>
                    <a:pt x="97" y="374"/>
                  </a:cubicBezTo>
                  <a:cubicBezTo>
                    <a:pt x="97" y="374"/>
                    <a:pt x="97" y="374"/>
                    <a:pt x="96" y="374"/>
                  </a:cubicBezTo>
                  <a:cubicBezTo>
                    <a:pt x="96" y="374"/>
                    <a:pt x="96" y="374"/>
                    <a:pt x="96" y="374"/>
                  </a:cubicBezTo>
                  <a:cubicBezTo>
                    <a:pt x="96" y="374"/>
                    <a:pt x="95" y="374"/>
                    <a:pt x="95" y="374"/>
                  </a:cubicBezTo>
                  <a:cubicBezTo>
                    <a:pt x="95" y="375"/>
                    <a:pt x="95" y="375"/>
                    <a:pt x="95" y="375"/>
                  </a:cubicBezTo>
                  <a:cubicBezTo>
                    <a:pt x="93" y="375"/>
                    <a:pt x="91" y="374"/>
                    <a:pt x="89" y="375"/>
                  </a:cubicBezTo>
                  <a:cubicBezTo>
                    <a:pt x="89" y="375"/>
                    <a:pt x="89" y="375"/>
                    <a:pt x="89" y="376"/>
                  </a:cubicBezTo>
                  <a:cubicBezTo>
                    <a:pt x="88" y="376"/>
                    <a:pt x="88" y="376"/>
                    <a:pt x="88" y="376"/>
                  </a:cubicBezTo>
                  <a:cubicBezTo>
                    <a:pt x="87" y="376"/>
                    <a:pt x="87" y="376"/>
                    <a:pt x="87" y="377"/>
                  </a:cubicBezTo>
                  <a:cubicBezTo>
                    <a:pt x="87" y="377"/>
                    <a:pt x="87" y="377"/>
                    <a:pt x="87" y="377"/>
                  </a:cubicBezTo>
                  <a:cubicBezTo>
                    <a:pt x="86" y="377"/>
                    <a:pt x="86" y="377"/>
                    <a:pt x="86" y="378"/>
                  </a:cubicBezTo>
                  <a:cubicBezTo>
                    <a:pt x="86" y="378"/>
                    <a:pt x="85" y="378"/>
                    <a:pt x="85" y="378"/>
                  </a:cubicBezTo>
                  <a:cubicBezTo>
                    <a:pt x="84" y="379"/>
                    <a:pt x="83" y="380"/>
                    <a:pt x="82" y="381"/>
                  </a:cubicBezTo>
                  <a:cubicBezTo>
                    <a:pt x="81" y="382"/>
                    <a:pt x="81" y="382"/>
                    <a:pt x="80" y="383"/>
                  </a:cubicBezTo>
                  <a:cubicBezTo>
                    <a:pt x="80" y="383"/>
                    <a:pt x="80" y="383"/>
                    <a:pt x="80" y="383"/>
                  </a:cubicBezTo>
                  <a:cubicBezTo>
                    <a:pt x="78" y="385"/>
                    <a:pt x="77" y="387"/>
                    <a:pt x="75" y="388"/>
                  </a:cubicBezTo>
                  <a:cubicBezTo>
                    <a:pt x="74" y="389"/>
                    <a:pt x="74" y="390"/>
                    <a:pt x="73" y="391"/>
                  </a:cubicBezTo>
                  <a:cubicBezTo>
                    <a:pt x="73" y="391"/>
                    <a:pt x="72" y="391"/>
                    <a:pt x="72" y="391"/>
                  </a:cubicBezTo>
                  <a:cubicBezTo>
                    <a:pt x="72" y="391"/>
                    <a:pt x="72" y="391"/>
                    <a:pt x="71" y="392"/>
                  </a:cubicBezTo>
                  <a:cubicBezTo>
                    <a:pt x="71" y="392"/>
                    <a:pt x="71" y="392"/>
                    <a:pt x="71" y="392"/>
                  </a:cubicBezTo>
                  <a:cubicBezTo>
                    <a:pt x="71" y="392"/>
                    <a:pt x="71" y="392"/>
                    <a:pt x="71" y="392"/>
                  </a:cubicBezTo>
                  <a:cubicBezTo>
                    <a:pt x="71" y="392"/>
                    <a:pt x="70" y="392"/>
                    <a:pt x="70" y="392"/>
                  </a:cubicBezTo>
                  <a:cubicBezTo>
                    <a:pt x="70" y="392"/>
                    <a:pt x="70" y="392"/>
                    <a:pt x="70" y="392"/>
                  </a:cubicBezTo>
                  <a:cubicBezTo>
                    <a:pt x="70" y="392"/>
                    <a:pt x="69" y="392"/>
                    <a:pt x="69" y="392"/>
                  </a:cubicBezTo>
                  <a:cubicBezTo>
                    <a:pt x="69" y="392"/>
                    <a:pt x="69" y="393"/>
                    <a:pt x="69" y="393"/>
                  </a:cubicBezTo>
                  <a:cubicBezTo>
                    <a:pt x="68" y="393"/>
                    <a:pt x="67" y="393"/>
                    <a:pt x="66" y="393"/>
                  </a:cubicBezTo>
                  <a:cubicBezTo>
                    <a:pt x="65" y="394"/>
                    <a:pt x="66" y="395"/>
                    <a:pt x="65" y="396"/>
                  </a:cubicBezTo>
                  <a:cubicBezTo>
                    <a:pt x="65" y="396"/>
                    <a:pt x="65" y="396"/>
                    <a:pt x="65" y="396"/>
                  </a:cubicBezTo>
                  <a:cubicBezTo>
                    <a:pt x="65" y="396"/>
                    <a:pt x="65" y="397"/>
                    <a:pt x="65" y="397"/>
                  </a:cubicBezTo>
                  <a:cubicBezTo>
                    <a:pt x="65" y="397"/>
                    <a:pt x="65" y="397"/>
                    <a:pt x="64" y="397"/>
                  </a:cubicBezTo>
                  <a:cubicBezTo>
                    <a:pt x="64" y="397"/>
                    <a:pt x="64" y="397"/>
                    <a:pt x="64" y="397"/>
                  </a:cubicBezTo>
                  <a:cubicBezTo>
                    <a:pt x="64" y="396"/>
                    <a:pt x="64" y="396"/>
                    <a:pt x="63" y="395"/>
                  </a:cubicBezTo>
                  <a:cubicBezTo>
                    <a:pt x="63" y="395"/>
                    <a:pt x="63" y="395"/>
                    <a:pt x="63" y="395"/>
                  </a:cubicBezTo>
                  <a:cubicBezTo>
                    <a:pt x="63" y="395"/>
                    <a:pt x="63" y="394"/>
                    <a:pt x="63" y="394"/>
                  </a:cubicBezTo>
                  <a:cubicBezTo>
                    <a:pt x="62" y="394"/>
                    <a:pt x="62" y="394"/>
                    <a:pt x="62" y="393"/>
                  </a:cubicBezTo>
                  <a:cubicBezTo>
                    <a:pt x="62" y="393"/>
                    <a:pt x="62" y="393"/>
                    <a:pt x="62" y="393"/>
                  </a:cubicBezTo>
                  <a:cubicBezTo>
                    <a:pt x="61" y="393"/>
                    <a:pt x="61" y="392"/>
                    <a:pt x="61" y="392"/>
                  </a:cubicBezTo>
                  <a:cubicBezTo>
                    <a:pt x="61" y="392"/>
                    <a:pt x="61" y="392"/>
                    <a:pt x="61" y="392"/>
                  </a:cubicBezTo>
                  <a:cubicBezTo>
                    <a:pt x="61" y="392"/>
                    <a:pt x="61" y="391"/>
                    <a:pt x="60" y="391"/>
                  </a:cubicBezTo>
                  <a:cubicBezTo>
                    <a:pt x="60" y="391"/>
                    <a:pt x="60" y="391"/>
                    <a:pt x="60" y="390"/>
                  </a:cubicBezTo>
                  <a:cubicBezTo>
                    <a:pt x="60" y="390"/>
                    <a:pt x="60" y="390"/>
                    <a:pt x="60" y="390"/>
                  </a:cubicBezTo>
                  <a:cubicBezTo>
                    <a:pt x="59" y="390"/>
                    <a:pt x="59" y="389"/>
                    <a:pt x="59" y="389"/>
                  </a:cubicBezTo>
                  <a:cubicBezTo>
                    <a:pt x="59" y="389"/>
                    <a:pt x="59" y="389"/>
                    <a:pt x="59" y="388"/>
                  </a:cubicBezTo>
                  <a:cubicBezTo>
                    <a:pt x="59" y="388"/>
                    <a:pt x="59" y="388"/>
                    <a:pt x="59" y="388"/>
                  </a:cubicBezTo>
                  <a:cubicBezTo>
                    <a:pt x="58" y="388"/>
                    <a:pt x="58" y="388"/>
                    <a:pt x="58" y="388"/>
                  </a:cubicBezTo>
                  <a:cubicBezTo>
                    <a:pt x="58" y="388"/>
                    <a:pt x="58" y="387"/>
                    <a:pt x="58" y="387"/>
                  </a:cubicBezTo>
                  <a:cubicBezTo>
                    <a:pt x="58" y="387"/>
                    <a:pt x="58" y="387"/>
                    <a:pt x="58" y="387"/>
                  </a:cubicBezTo>
                  <a:cubicBezTo>
                    <a:pt x="58" y="387"/>
                    <a:pt x="58" y="387"/>
                    <a:pt x="58" y="386"/>
                  </a:cubicBezTo>
                  <a:cubicBezTo>
                    <a:pt x="58" y="386"/>
                    <a:pt x="58" y="386"/>
                    <a:pt x="57" y="386"/>
                  </a:cubicBezTo>
                  <a:cubicBezTo>
                    <a:pt x="57" y="386"/>
                    <a:pt x="57" y="386"/>
                    <a:pt x="57" y="386"/>
                  </a:cubicBezTo>
                  <a:cubicBezTo>
                    <a:pt x="57" y="386"/>
                    <a:pt x="57" y="386"/>
                    <a:pt x="57" y="386"/>
                  </a:cubicBezTo>
                  <a:cubicBezTo>
                    <a:pt x="57" y="385"/>
                    <a:pt x="57" y="385"/>
                    <a:pt x="57" y="385"/>
                  </a:cubicBezTo>
                  <a:cubicBezTo>
                    <a:pt x="57" y="385"/>
                    <a:pt x="57" y="385"/>
                    <a:pt x="57" y="385"/>
                  </a:cubicBezTo>
                  <a:cubicBezTo>
                    <a:pt x="57" y="384"/>
                    <a:pt x="56" y="384"/>
                    <a:pt x="56" y="383"/>
                  </a:cubicBezTo>
                  <a:cubicBezTo>
                    <a:pt x="56" y="383"/>
                    <a:pt x="56" y="383"/>
                    <a:pt x="56" y="383"/>
                  </a:cubicBezTo>
                  <a:cubicBezTo>
                    <a:pt x="56" y="382"/>
                    <a:pt x="56" y="382"/>
                    <a:pt x="55" y="381"/>
                  </a:cubicBezTo>
                  <a:cubicBezTo>
                    <a:pt x="55" y="381"/>
                    <a:pt x="55" y="381"/>
                    <a:pt x="55" y="381"/>
                  </a:cubicBezTo>
                  <a:cubicBezTo>
                    <a:pt x="55" y="381"/>
                    <a:pt x="55" y="381"/>
                    <a:pt x="55" y="380"/>
                  </a:cubicBezTo>
                  <a:cubicBezTo>
                    <a:pt x="55" y="380"/>
                    <a:pt x="55" y="380"/>
                    <a:pt x="55" y="380"/>
                  </a:cubicBezTo>
                  <a:cubicBezTo>
                    <a:pt x="54" y="378"/>
                    <a:pt x="54" y="376"/>
                    <a:pt x="53" y="374"/>
                  </a:cubicBezTo>
                  <a:cubicBezTo>
                    <a:pt x="53" y="374"/>
                    <a:pt x="53" y="374"/>
                    <a:pt x="53" y="374"/>
                  </a:cubicBezTo>
                  <a:cubicBezTo>
                    <a:pt x="53" y="374"/>
                    <a:pt x="53" y="373"/>
                    <a:pt x="53" y="373"/>
                  </a:cubicBezTo>
                  <a:cubicBezTo>
                    <a:pt x="52" y="373"/>
                    <a:pt x="52" y="373"/>
                    <a:pt x="52" y="373"/>
                  </a:cubicBezTo>
                  <a:cubicBezTo>
                    <a:pt x="52" y="372"/>
                    <a:pt x="52" y="371"/>
                    <a:pt x="52" y="370"/>
                  </a:cubicBezTo>
                  <a:cubicBezTo>
                    <a:pt x="52" y="370"/>
                    <a:pt x="52" y="370"/>
                    <a:pt x="52" y="370"/>
                  </a:cubicBezTo>
                  <a:cubicBezTo>
                    <a:pt x="52" y="370"/>
                    <a:pt x="52" y="369"/>
                    <a:pt x="52" y="369"/>
                  </a:cubicBezTo>
                  <a:cubicBezTo>
                    <a:pt x="51" y="369"/>
                    <a:pt x="51" y="369"/>
                    <a:pt x="51" y="369"/>
                  </a:cubicBezTo>
                  <a:cubicBezTo>
                    <a:pt x="51" y="369"/>
                    <a:pt x="51" y="368"/>
                    <a:pt x="51" y="368"/>
                  </a:cubicBezTo>
                  <a:cubicBezTo>
                    <a:pt x="51" y="368"/>
                    <a:pt x="51" y="368"/>
                    <a:pt x="51" y="368"/>
                  </a:cubicBezTo>
                  <a:cubicBezTo>
                    <a:pt x="51" y="367"/>
                    <a:pt x="51" y="367"/>
                    <a:pt x="51" y="367"/>
                  </a:cubicBezTo>
                  <a:cubicBezTo>
                    <a:pt x="51" y="367"/>
                    <a:pt x="51" y="367"/>
                    <a:pt x="50" y="367"/>
                  </a:cubicBezTo>
                  <a:cubicBezTo>
                    <a:pt x="50" y="366"/>
                    <a:pt x="50" y="366"/>
                    <a:pt x="50" y="366"/>
                  </a:cubicBezTo>
                  <a:cubicBezTo>
                    <a:pt x="50" y="366"/>
                    <a:pt x="50" y="366"/>
                    <a:pt x="50" y="366"/>
                  </a:cubicBezTo>
                  <a:cubicBezTo>
                    <a:pt x="50" y="366"/>
                    <a:pt x="50" y="365"/>
                    <a:pt x="50" y="365"/>
                  </a:cubicBezTo>
                  <a:cubicBezTo>
                    <a:pt x="50" y="365"/>
                    <a:pt x="50" y="365"/>
                    <a:pt x="50" y="365"/>
                  </a:cubicBezTo>
                  <a:cubicBezTo>
                    <a:pt x="50" y="365"/>
                    <a:pt x="50" y="364"/>
                    <a:pt x="50" y="364"/>
                  </a:cubicBezTo>
                  <a:cubicBezTo>
                    <a:pt x="50" y="364"/>
                    <a:pt x="50" y="364"/>
                    <a:pt x="49" y="364"/>
                  </a:cubicBezTo>
                  <a:cubicBezTo>
                    <a:pt x="49" y="363"/>
                    <a:pt x="49" y="363"/>
                    <a:pt x="49" y="362"/>
                  </a:cubicBezTo>
                  <a:cubicBezTo>
                    <a:pt x="49" y="362"/>
                    <a:pt x="49" y="362"/>
                    <a:pt x="48" y="362"/>
                  </a:cubicBezTo>
                  <a:cubicBezTo>
                    <a:pt x="48" y="362"/>
                    <a:pt x="48" y="361"/>
                    <a:pt x="48" y="361"/>
                  </a:cubicBezTo>
                  <a:cubicBezTo>
                    <a:pt x="48" y="361"/>
                    <a:pt x="48" y="361"/>
                    <a:pt x="48" y="361"/>
                  </a:cubicBezTo>
                  <a:cubicBezTo>
                    <a:pt x="48" y="361"/>
                    <a:pt x="48" y="360"/>
                    <a:pt x="48" y="360"/>
                  </a:cubicBezTo>
                  <a:cubicBezTo>
                    <a:pt x="47" y="360"/>
                    <a:pt x="47" y="360"/>
                    <a:pt x="47" y="359"/>
                  </a:cubicBezTo>
                  <a:cubicBezTo>
                    <a:pt x="47" y="359"/>
                    <a:pt x="47" y="359"/>
                    <a:pt x="47" y="358"/>
                  </a:cubicBezTo>
                  <a:cubicBezTo>
                    <a:pt x="46" y="358"/>
                    <a:pt x="46" y="358"/>
                    <a:pt x="46" y="358"/>
                  </a:cubicBezTo>
                  <a:cubicBezTo>
                    <a:pt x="46" y="357"/>
                    <a:pt x="46" y="357"/>
                    <a:pt x="46" y="357"/>
                  </a:cubicBezTo>
                  <a:cubicBezTo>
                    <a:pt x="46" y="357"/>
                    <a:pt x="45" y="357"/>
                    <a:pt x="45" y="357"/>
                  </a:cubicBezTo>
                  <a:cubicBezTo>
                    <a:pt x="45" y="356"/>
                    <a:pt x="45" y="356"/>
                    <a:pt x="45" y="356"/>
                  </a:cubicBezTo>
                  <a:cubicBezTo>
                    <a:pt x="45" y="356"/>
                    <a:pt x="45" y="356"/>
                    <a:pt x="45" y="356"/>
                  </a:cubicBezTo>
                  <a:cubicBezTo>
                    <a:pt x="45" y="355"/>
                    <a:pt x="45" y="355"/>
                    <a:pt x="45" y="355"/>
                  </a:cubicBezTo>
                  <a:cubicBezTo>
                    <a:pt x="44" y="355"/>
                    <a:pt x="44" y="355"/>
                    <a:pt x="44" y="355"/>
                  </a:cubicBezTo>
                  <a:cubicBezTo>
                    <a:pt x="44" y="354"/>
                    <a:pt x="44" y="354"/>
                    <a:pt x="44" y="354"/>
                  </a:cubicBezTo>
                  <a:cubicBezTo>
                    <a:pt x="43" y="354"/>
                    <a:pt x="43" y="353"/>
                    <a:pt x="43" y="353"/>
                  </a:cubicBezTo>
                  <a:cubicBezTo>
                    <a:pt x="43" y="353"/>
                    <a:pt x="43" y="353"/>
                    <a:pt x="43" y="352"/>
                  </a:cubicBezTo>
                  <a:cubicBezTo>
                    <a:pt x="42" y="352"/>
                    <a:pt x="42" y="352"/>
                    <a:pt x="42" y="352"/>
                  </a:cubicBezTo>
                  <a:cubicBezTo>
                    <a:pt x="42" y="352"/>
                    <a:pt x="42" y="351"/>
                    <a:pt x="42" y="351"/>
                  </a:cubicBezTo>
                  <a:cubicBezTo>
                    <a:pt x="41" y="351"/>
                    <a:pt x="41" y="350"/>
                    <a:pt x="40" y="350"/>
                  </a:cubicBezTo>
                  <a:cubicBezTo>
                    <a:pt x="40" y="350"/>
                    <a:pt x="40" y="350"/>
                    <a:pt x="40" y="349"/>
                  </a:cubicBezTo>
                  <a:cubicBezTo>
                    <a:pt x="40" y="349"/>
                    <a:pt x="39" y="348"/>
                    <a:pt x="38" y="348"/>
                  </a:cubicBezTo>
                  <a:cubicBezTo>
                    <a:pt x="38" y="347"/>
                    <a:pt x="38" y="347"/>
                    <a:pt x="38" y="347"/>
                  </a:cubicBezTo>
                  <a:cubicBezTo>
                    <a:pt x="37" y="346"/>
                    <a:pt x="36" y="345"/>
                    <a:pt x="35" y="344"/>
                  </a:cubicBezTo>
                  <a:cubicBezTo>
                    <a:pt x="34" y="343"/>
                    <a:pt x="34" y="342"/>
                    <a:pt x="33" y="342"/>
                  </a:cubicBezTo>
                  <a:cubicBezTo>
                    <a:pt x="33" y="342"/>
                    <a:pt x="33" y="342"/>
                    <a:pt x="32" y="342"/>
                  </a:cubicBezTo>
                  <a:cubicBezTo>
                    <a:pt x="31" y="341"/>
                    <a:pt x="31" y="340"/>
                    <a:pt x="30" y="339"/>
                  </a:cubicBezTo>
                  <a:cubicBezTo>
                    <a:pt x="30" y="339"/>
                    <a:pt x="29" y="339"/>
                    <a:pt x="29" y="339"/>
                  </a:cubicBezTo>
                  <a:cubicBezTo>
                    <a:pt x="29" y="338"/>
                    <a:pt x="28" y="338"/>
                    <a:pt x="28" y="337"/>
                  </a:cubicBezTo>
                  <a:cubicBezTo>
                    <a:pt x="27" y="337"/>
                    <a:pt x="27" y="337"/>
                    <a:pt x="27" y="337"/>
                  </a:cubicBezTo>
                  <a:cubicBezTo>
                    <a:pt x="27" y="336"/>
                    <a:pt x="26" y="336"/>
                    <a:pt x="26" y="336"/>
                  </a:cubicBezTo>
                  <a:cubicBezTo>
                    <a:pt x="26" y="336"/>
                    <a:pt x="26" y="336"/>
                    <a:pt x="26" y="336"/>
                  </a:cubicBezTo>
                  <a:cubicBezTo>
                    <a:pt x="25" y="336"/>
                    <a:pt x="25" y="335"/>
                    <a:pt x="25" y="335"/>
                  </a:cubicBezTo>
                  <a:cubicBezTo>
                    <a:pt x="24" y="335"/>
                    <a:pt x="24" y="335"/>
                    <a:pt x="24" y="335"/>
                  </a:cubicBezTo>
                  <a:cubicBezTo>
                    <a:pt x="24" y="334"/>
                    <a:pt x="24" y="334"/>
                    <a:pt x="24" y="334"/>
                  </a:cubicBezTo>
                  <a:cubicBezTo>
                    <a:pt x="23" y="334"/>
                    <a:pt x="23" y="334"/>
                    <a:pt x="23" y="334"/>
                  </a:cubicBezTo>
                  <a:cubicBezTo>
                    <a:pt x="23" y="334"/>
                    <a:pt x="22" y="333"/>
                    <a:pt x="22" y="333"/>
                  </a:cubicBezTo>
                  <a:cubicBezTo>
                    <a:pt x="22" y="333"/>
                    <a:pt x="22" y="333"/>
                    <a:pt x="21" y="333"/>
                  </a:cubicBezTo>
                  <a:cubicBezTo>
                    <a:pt x="21" y="333"/>
                    <a:pt x="21" y="332"/>
                    <a:pt x="21" y="332"/>
                  </a:cubicBezTo>
                  <a:cubicBezTo>
                    <a:pt x="21" y="332"/>
                    <a:pt x="21" y="332"/>
                    <a:pt x="20" y="332"/>
                  </a:cubicBezTo>
                  <a:cubicBezTo>
                    <a:pt x="20" y="332"/>
                    <a:pt x="20" y="331"/>
                    <a:pt x="20" y="331"/>
                  </a:cubicBezTo>
                  <a:cubicBezTo>
                    <a:pt x="19" y="331"/>
                    <a:pt x="19" y="331"/>
                    <a:pt x="19" y="331"/>
                  </a:cubicBezTo>
                  <a:cubicBezTo>
                    <a:pt x="19" y="331"/>
                    <a:pt x="19" y="331"/>
                    <a:pt x="19" y="330"/>
                  </a:cubicBezTo>
                  <a:cubicBezTo>
                    <a:pt x="18" y="330"/>
                    <a:pt x="18" y="330"/>
                    <a:pt x="18" y="330"/>
                  </a:cubicBezTo>
                  <a:cubicBezTo>
                    <a:pt x="18" y="330"/>
                    <a:pt x="18" y="330"/>
                    <a:pt x="18" y="330"/>
                  </a:cubicBezTo>
                  <a:cubicBezTo>
                    <a:pt x="17" y="330"/>
                    <a:pt x="17" y="329"/>
                    <a:pt x="16" y="329"/>
                  </a:cubicBezTo>
                  <a:cubicBezTo>
                    <a:pt x="16" y="329"/>
                    <a:pt x="16" y="329"/>
                    <a:pt x="16" y="329"/>
                  </a:cubicBezTo>
                  <a:cubicBezTo>
                    <a:pt x="16" y="329"/>
                    <a:pt x="16" y="329"/>
                    <a:pt x="15" y="329"/>
                  </a:cubicBezTo>
                  <a:cubicBezTo>
                    <a:pt x="15" y="328"/>
                    <a:pt x="15" y="328"/>
                    <a:pt x="15" y="328"/>
                  </a:cubicBezTo>
                  <a:cubicBezTo>
                    <a:pt x="14" y="328"/>
                    <a:pt x="14" y="328"/>
                    <a:pt x="13" y="328"/>
                  </a:cubicBezTo>
                  <a:cubicBezTo>
                    <a:pt x="13" y="327"/>
                    <a:pt x="13" y="327"/>
                    <a:pt x="13" y="327"/>
                  </a:cubicBezTo>
                  <a:cubicBezTo>
                    <a:pt x="13" y="327"/>
                    <a:pt x="12" y="327"/>
                    <a:pt x="12" y="327"/>
                  </a:cubicBezTo>
                  <a:cubicBezTo>
                    <a:pt x="12" y="326"/>
                    <a:pt x="11" y="326"/>
                    <a:pt x="11" y="326"/>
                  </a:cubicBezTo>
                  <a:cubicBezTo>
                    <a:pt x="11" y="326"/>
                    <a:pt x="10" y="326"/>
                    <a:pt x="10" y="326"/>
                  </a:cubicBezTo>
                  <a:cubicBezTo>
                    <a:pt x="10" y="325"/>
                    <a:pt x="9" y="325"/>
                    <a:pt x="9" y="324"/>
                  </a:cubicBezTo>
                  <a:cubicBezTo>
                    <a:pt x="9" y="324"/>
                    <a:pt x="9" y="324"/>
                    <a:pt x="9" y="324"/>
                  </a:cubicBezTo>
                  <a:cubicBezTo>
                    <a:pt x="8" y="324"/>
                    <a:pt x="8" y="324"/>
                    <a:pt x="8" y="323"/>
                  </a:cubicBezTo>
                  <a:cubicBezTo>
                    <a:pt x="8" y="323"/>
                    <a:pt x="7" y="323"/>
                    <a:pt x="7" y="323"/>
                  </a:cubicBezTo>
                  <a:cubicBezTo>
                    <a:pt x="7" y="323"/>
                    <a:pt x="7" y="323"/>
                    <a:pt x="6" y="322"/>
                  </a:cubicBezTo>
                  <a:cubicBezTo>
                    <a:pt x="6" y="322"/>
                    <a:pt x="5" y="321"/>
                    <a:pt x="4" y="320"/>
                  </a:cubicBezTo>
                  <a:cubicBezTo>
                    <a:pt x="4" y="320"/>
                    <a:pt x="4" y="320"/>
                    <a:pt x="4" y="320"/>
                  </a:cubicBezTo>
                  <a:cubicBezTo>
                    <a:pt x="4" y="319"/>
                    <a:pt x="3" y="319"/>
                    <a:pt x="3" y="319"/>
                  </a:cubicBezTo>
                  <a:cubicBezTo>
                    <a:pt x="3" y="319"/>
                    <a:pt x="3" y="318"/>
                    <a:pt x="3" y="318"/>
                  </a:cubicBezTo>
                  <a:cubicBezTo>
                    <a:pt x="3" y="318"/>
                    <a:pt x="2" y="318"/>
                    <a:pt x="2" y="318"/>
                  </a:cubicBezTo>
                  <a:cubicBezTo>
                    <a:pt x="2" y="317"/>
                    <a:pt x="2" y="317"/>
                    <a:pt x="2" y="316"/>
                  </a:cubicBezTo>
                  <a:cubicBezTo>
                    <a:pt x="2" y="316"/>
                    <a:pt x="2" y="316"/>
                    <a:pt x="2" y="316"/>
                  </a:cubicBezTo>
                  <a:cubicBezTo>
                    <a:pt x="2" y="316"/>
                    <a:pt x="2" y="316"/>
                    <a:pt x="2" y="316"/>
                  </a:cubicBezTo>
                  <a:cubicBezTo>
                    <a:pt x="1" y="316"/>
                    <a:pt x="1" y="316"/>
                    <a:pt x="1" y="316"/>
                  </a:cubicBezTo>
                  <a:cubicBezTo>
                    <a:pt x="1" y="315"/>
                    <a:pt x="1" y="315"/>
                    <a:pt x="1" y="315"/>
                  </a:cubicBezTo>
                  <a:cubicBezTo>
                    <a:pt x="1" y="315"/>
                    <a:pt x="1" y="315"/>
                    <a:pt x="1" y="315"/>
                  </a:cubicBezTo>
                  <a:cubicBezTo>
                    <a:pt x="0" y="313"/>
                    <a:pt x="0" y="306"/>
                    <a:pt x="0" y="304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03"/>
                    <a:pt x="1" y="303"/>
                    <a:pt x="1" y="303"/>
                  </a:cubicBezTo>
                  <a:cubicBezTo>
                    <a:pt x="1" y="303"/>
                    <a:pt x="1" y="303"/>
                    <a:pt x="1" y="303"/>
                  </a:cubicBezTo>
                  <a:cubicBezTo>
                    <a:pt x="1" y="302"/>
                    <a:pt x="1" y="302"/>
                    <a:pt x="1" y="302"/>
                  </a:cubicBezTo>
                  <a:cubicBezTo>
                    <a:pt x="1" y="302"/>
                    <a:pt x="1" y="302"/>
                    <a:pt x="2" y="302"/>
                  </a:cubicBezTo>
                  <a:cubicBezTo>
                    <a:pt x="2" y="301"/>
                    <a:pt x="2" y="301"/>
                    <a:pt x="2" y="301"/>
                  </a:cubicBezTo>
                  <a:cubicBezTo>
                    <a:pt x="2" y="301"/>
                    <a:pt x="2" y="301"/>
                    <a:pt x="2" y="301"/>
                  </a:cubicBezTo>
                  <a:cubicBezTo>
                    <a:pt x="2" y="300"/>
                    <a:pt x="2" y="300"/>
                    <a:pt x="2" y="300"/>
                  </a:cubicBezTo>
                  <a:cubicBezTo>
                    <a:pt x="2" y="300"/>
                    <a:pt x="2" y="300"/>
                    <a:pt x="2" y="300"/>
                  </a:cubicBezTo>
                  <a:cubicBezTo>
                    <a:pt x="2" y="299"/>
                    <a:pt x="3" y="298"/>
                    <a:pt x="3" y="298"/>
                  </a:cubicBezTo>
                  <a:cubicBezTo>
                    <a:pt x="3" y="298"/>
                    <a:pt x="3" y="298"/>
                    <a:pt x="3" y="298"/>
                  </a:cubicBezTo>
                  <a:cubicBezTo>
                    <a:pt x="3" y="297"/>
                    <a:pt x="3" y="297"/>
                    <a:pt x="3" y="297"/>
                  </a:cubicBezTo>
                  <a:cubicBezTo>
                    <a:pt x="3" y="297"/>
                    <a:pt x="4" y="297"/>
                    <a:pt x="4" y="297"/>
                  </a:cubicBezTo>
                  <a:cubicBezTo>
                    <a:pt x="4" y="297"/>
                    <a:pt x="4" y="296"/>
                    <a:pt x="4" y="296"/>
                  </a:cubicBezTo>
                  <a:cubicBezTo>
                    <a:pt x="4" y="296"/>
                    <a:pt x="4" y="296"/>
                    <a:pt x="4" y="296"/>
                  </a:cubicBezTo>
                  <a:cubicBezTo>
                    <a:pt x="4" y="296"/>
                    <a:pt x="4" y="296"/>
                    <a:pt x="4" y="295"/>
                  </a:cubicBezTo>
                  <a:cubicBezTo>
                    <a:pt x="4" y="295"/>
                    <a:pt x="4" y="295"/>
                    <a:pt x="4" y="295"/>
                  </a:cubicBezTo>
                  <a:cubicBezTo>
                    <a:pt x="4" y="295"/>
                    <a:pt x="4" y="295"/>
                    <a:pt x="4" y="295"/>
                  </a:cubicBezTo>
                  <a:cubicBezTo>
                    <a:pt x="4" y="295"/>
                    <a:pt x="5" y="295"/>
                    <a:pt x="5" y="295"/>
                  </a:cubicBezTo>
                  <a:cubicBezTo>
                    <a:pt x="5" y="295"/>
                    <a:pt x="5" y="294"/>
                    <a:pt x="5" y="294"/>
                  </a:cubicBezTo>
                  <a:cubicBezTo>
                    <a:pt x="5" y="294"/>
                    <a:pt x="5" y="294"/>
                    <a:pt x="5" y="294"/>
                  </a:cubicBezTo>
                  <a:cubicBezTo>
                    <a:pt x="5" y="293"/>
                    <a:pt x="6" y="293"/>
                    <a:pt x="6" y="292"/>
                  </a:cubicBezTo>
                  <a:cubicBezTo>
                    <a:pt x="6" y="292"/>
                    <a:pt x="6" y="292"/>
                    <a:pt x="6" y="292"/>
                  </a:cubicBezTo>
                  <a:cubicBezTo>
                    <a:pt x="6" y="292"/>
                    <a:pt x="6" y="291"/>
                    <a:pt x="6" y="291"/>
                  </a:cubicBezTo>
                  <a:cubicBezTo>
                    <a:pt x="7" y="291"/>
                    <a:pt x="7" y="291"/>
                    <a:pt x="7" y="291"/>
                  </a:cubicBezTo>
                  <a:cubicBezTo>
                    <a:pt x="7" y="290"/>
                    <a:pt x="7" y="290"/>
                    <a:pt x="7" y="290"/>
                  </a:cubicBezTo>
                  <a:cubicBezTo>
                    <a:pt x="8" y="290"/>
                    <a:pt x="8" y="289"/>
                    <a:pt x="9" y="289"/>
                  </a:cubicBezTo>
                  <a:cubicBezTo>
                    <a:pt x="9" y="289"/>
                    <a:pt x="9" y="289"/>
                    <a:pt x="9" y="288"/>
                  </a:cubicBezTo>
                  <a:cubicBezTo>
                    <a:pt x="9" y="288"/>
                    <a:pt x="9" y="288"/>
                    <a:pt x="10" y="288"/>
                  </a:cubicBezTo>
                  <a:cubicBezTo>
                    <a:pt x="10" y="288"/>
                    <a:pt x="10" y="287"/>
                    <a:pt x="10" y="287"/>
                  </a:cubicBezTo>
                  <a:cubicBezTo>
                    <a:pt x="10" y="286"/>
                    <a:pt x="11" y="286"/>
                    <a:pt x="12" y="285"/>
                  </a:cubicBezTo>
                  <a:cubicBezTo>
                    <a:pt x="14" y="282"/>
                    <a:pt x="17" y="280"/>
                    <a:pt x="19" y="277"/>
                  </a:cubicBezTo>
                  <a:cubicBezTo>
                    <a:pt x="21" y="275"/>
                    <a:pt x="23" y="273"/>
                    <a:pt x="25" y="271"/>
                  </a:cubicBezTo>
                  <a:cubicBezTo>
                    <a:pt x="28" y="269"/>
                    <a:pt x="30" y="266"/>
                    <a:pt x="33" y="264"/>
                  </a:cubicBezTo>
                  <a:cubicBezTo>
                    <a:pt x="34" y="262"/>
                    <a:pt x="36" y="261"/>
                    <a:pt x="37" y="260"/>
                  </a:cubicBezTo>
                  <a:cubicBezTo>
                    <a:pt x="37" y="260"/>
                    <a:pt x="37" y="259"/>
                    <a:pt x="37" y="259"/>
                  </a:cubicBezTo>
                  <a:cubicBezTo>
                    <a:pt x="38" y="258"/>
                    <a:pt x="40" y="257"/>
                    <a:pt x="41" y="256"/>
                  </a:cubicBezTo>
                  <a:cubicBezTo>
                    <a:pt x="41" y="256"/>
                    <a:pt x="41" y="255"/>
                    <a:pt x="41" y="255"/>
                  </a:cubicBezTo>
                  <a:cubicBezTo>
                    <a:pt x="41" y="255"/>
                    <a:pt x="42" y="254"/>
                    <a:pt x="43" y="253"/>
                  </a:cubicBezTo>
                  <a:cubicBezTo>
                    <a:pt x="43" y="253"/>
                    <a:pt x="43" y="253"/>
                    <a:pt x="43" y="253"/>
                  </a:cubicBezTo>
                  <a:cubicBezTo>
                    <a:pt x="43" y="252"/>
                    <a:pt x="44" y="252"/>
                    <a:pt x="44" y="252"/>
                  </a:cubicBezTo>
                  <a:cubicBezTo>
                    <a:pt x="44" y="252"/>
                    <a:pt x="44" y="251"/>
                    <a:pt x="44" y="251"/>
                  </a:cubicBezTo>
                  <a:cubicBezTo>
                    <a:pt x="45" y="251"/>
                    <a:pt x="45" y="251"/>
                    <a:pt x="45" y="250"/>
                  </a:cubicBezTo>
                  <a:cubicBezTo>
                    <a:pt x="45" y="250"/>
                    <a:pt x="45" y="250"/>
                    <a:pt x="45" y="250"/>
                  </a:cubicBezTo>
                  <a:cubicBezTo>
                    <a:pt x="46" y="249"/>
                    <a:pt x="46" y="249"/>
                    <a:pt x="46" y="249"/>
                  </a:cubicBezTo>
                  <a:cubicBezTo>
                    <a:pt x="46" y="249"/>
                    <a:pt x="46" y="248"/>
                    <a:pt x="46" y="248"/>
                  </a:cubicBezTo>
                  <a:cubicBezTo>
                    <a:pt x="47" y="248"/>
                    <a:pt x="47" y="248"/>
                    <a:pt x="47" y="248"/>
                  </a:cubicBezTo>
                  <a:cubicBezTo>
                    <a:pt x="47" y="248"/>
                    <a:pt x="47" y="247"/>
                    <a:pt x="47" y="247"/>
                  </a:cubicBezTo>
                  <a:cubicBezTo>
                    <a:pt x="47" y="247"/>
                    <a:pt x="48" y="247"/>
                    <a:pt x="48" y="246"/>
                  </a:cubicBezTo>
                  <a:cubicBezTo>
                    <a:pt x="48" y="246"/>
                    <a:pt x="48" y="246"/>
                    <a:pt x="48" y="245"/>
                  </a:cubicBezTo>
                  <a:cubicBezTo>
                    <a:pt x="49" y="245"/>
                    <a:pt x="49" y="245"/>
                    <a:pt x="49" y="245"/>
                  </a:cubicBezTo>
                  <a:cubicBezTo>
                    <a:pt x="49" y="244"/>
                    <a:pt x="50" y="243"/>
                    <a:pt x="50" y="243"/>
                  </a:cubicBezTo>
                  <a:cubicBezTo>
                    <a:pt x="50" y="243"/>
                    <a:pt x="50" y="242"/>
                    <a:pt x="50" y="242"/>
                  </a:cubicBezTo>
                  <a:cubicBezTo>
                    <a:pt x="50" y="242"/>
                    <a:pt x="50" y="242"/>
                    <a:pt x="50" y="241"/>
                  </a:cubicBezTo>
                  <a:cubicBezTo>
                    <a:pt x="51" y="241"/>
                    <a:pt x="51" y="241"/>
                    <a:pt x="51" y="241"/>
                  </a:cubicBezTo>
                  <a:cubicBezTo>
                    <a:pt x="51" y="241"/>
                    <a:pt x="51" y="240"/>
                    <a:pt x="51" y="240"/>
                  </a:cubicBezTo>
                  <a:cubicBezTo>
                    <a:pt x="51" y="240"/>
                    <a:pt x="51" y="240"/>
                    <a:pt x="52" y="240"/>
                  </a:cubicBezTo>
                  <a:cubicBezTo>
                    <a:pt x="52" y="239"/>
                    <a:pt x="52" y="238"/>
                    <a:pt x="52" y="238"/>
                  </a:cubicBezTo>
                  <a:cubicBezTo>
                    <a:pt x="52" y="238"/>
                    <a:pt x="52" y="238"/>
                    <a:pt x="52" y="238"/>
                  </a:cubicBezTo>
                  <a:cubicBezTo>
                    <a:pt x="52" y="238"/>
                    <a:pt x="52" y="237"/>
                    <a:pt x="52" y="237"/>
                  </a:cubicBezTo>
                  <a:cubicBezTo>
                    <a:pt x="52" y="237"/>
                    <a:pt x="52" y="237"/>
                    <a:pt x="53" y="237"/>
                  </a:cubicBezTo>
                  <a:cubicBezTo>
                    <a:pt x="53" y="236"/>
                    <a:pt x="53" y="236"/>
                    <a:pt x="53" y="235"/>
                  </a:cubicBezTo>
                  <a:cubicBezTo>
                    <a:pt x="54" y="235"/>
                    <a:pt x="54" y="234"/>
                    <a:pt x="54" y="234"/>
                  </a:cubicBezTo>
                  <a:cubicBezTo>
                    <a:pt x="54" y="234"/>
                    <a:pt x="54" y="234"/>
                    <a:pt x="54" y="234"/>
                  </a:cubicBezTo>
                  <a:cubicBezTo>
                    <a:pt x="55" y="233"/>
                    <a:pt x="56" y="232"/>
                    <a:pt x="57" y="231"/>
                  </a:cubicBezTo>
                  <a:cubicBezTo>
                    <a:pt x="57" y="231"/>
                    <a:pt x="57" y="231"/>
                    <a:pt x="57" y="230"/>
                  </a:cubicBezTo>
                  <a:cubicBezTo>
                    <a:pt x="58" y="230"/>
                    <a:pt x="58" y="230"/>
                    <a:pt x="58" y="230"/>
                  </a:cubicBezTo>
                  <a:cubicBezTo>
                    <a:pt x="58" y="230"/>
                    <a:pt x="59" y="230"/>
                    <a:pt x="59" y="229"/>
                  </a:cubicBezTo>
                  <a:cubicBezTo>
                    <a:pt x="59" y="229"/>
                    <a:pt x="59" y="229"/>
                    <a:pt x="60" y="229"/>
                  </a:cubicBezTo>
                  <a:cubicBezTo>
                    <a:pt x="60" y="229"/>
                    <a:pt x="60" y="229"/>
                    <a:pt x="60" y="229"/>
                  </a:cubicBezTo>
                  <a:cubicBezTo>
                    <a:pt x="60" y="229"/>
                    <a:pt x="61" y="228"/>
                    <a:pt x="61" y="228"/>
                  </a:cubicBezTo>
                  <a:cubicBezTo>
                    <a:pt x="61" y="228"/>
                    <a:pt x="62" y="228"/>
                    <a:pt x="62" y="228"/>
                  </a:cubicBezTo>
                  <a:cubicBezTo>
                    <a:pt x="62" y="228"/>
                    <a:pt x="62" y="228"/>
                    <a:pt x="62" y="228"/>
                  </a:cubicBezTo>
                  <a:cubicBezTo>
                    <a:pt x="62" y="227"/>
                    <a:pt x="62" y="227"/>
                    <a:pt x="62" y="227"/>
                  </a:cubicBezTo>
                  <a:cubicBezTo>
                    <a:pt x="63" y="227"/>
                    <a:pt x="63" y="227"/>
                    <a:pt x="63" y="227"/>
                  </a:cubicBezTo>
                  <a:cubicBezTo>
                    <a:pt x="63" y="227"/>
                    <a:pt x="63" y="227"/>
                    <a:pt x="63" y="227"/>
                  </a:cubicBezTo>
                  <a:cubicBezTo>
                    <a:pt x="63" y="227"/>
                    <a:pt x="64" y="227"/>
                    <a:pt x="64" y="227"/>
                  </a:cubicBezTo>
                  <a:cubicBezTo>
                    <a:pt x="64" y="227"/>
                    <a:pt x="64" y="227"/>
                    <a:pt x="64" y="227"/>
                  </a:cubicBezTo>
                  <a:cubicBezTo>
                    <a:pt x="64" y="227"/>
                    <a:pt x="64" y="227"/>
                    <a:pt x="64" y="227"/>
                  </a:cubicBezTo>
                  <a:cubicBezTo>
                    <a:pt x="64" y="226"/>
                    <a:pt x="64" y="226"/>
                    <a:pt x="64" y="226"/>
                  </a:cubicBezTo>
                  <a:cubicBezTo>
                    <a:pt x="65" y="226"/>
                    <a:pt x="65" y="226"/>
                    <a:pt x="65" y="226"/>
                  </a:cubicBezTo>
                  <a:cubicBezTo>
                    <a:pt x="65" y="226"/>
                    <a:pt x="65" y="226"/>
                    <a:pt x="65" y="226"/>
                  </a:cubicBezTo>
                  <a:cubicBezTo>
                    <a:pt x="65" y="226"/>
                    <a:pt x="66" y="226"/>
                    <a:pt x="66" y="226"/>
                  </a:cubicBezTo>
                  <a:cubicBezTo>
                    <a:pt x="66" y="226"/>
                    <a:pt x="66" y="226"/>
                    <a:pt x="66" y="226"/>
                  </a:cubicBezTo>
                  <a:cubicBezTo>
                    <a:pt x="66" y="226"/>
                    <a:pt x="66" y="226"/>
                    <a:pt x="67" y="226"/>
                  </a:cubicBezTo>
                  <a:cubicBezTo>
                    <a:pt x="67" y="225"/>
                    <a:pt x="67" y="225"/>
                    <a:pt x="67" y="225"/>
                  </a:cubicBezTo>
                  <a:cubicBezTo>
                    <a:pt x="67" y="225"/>
                    <a:pt x="68" y="225"/>
                    <a:pt x="69" y="224"/>
                  </a:cubicBezTo>
                  <a:cubicBezTo>
                    <a:pt x="69" y="224"/>
                    <a:pt x="69" y="224"/>
                    <a:pt x="69" y="224"/>
                  </a:cubicBezTo>
                  <a:cubicBezTo>
                    <a:pt x="69" y="224"/>
                    <a:pt x="69" y="224"/>
                    <a:pt x="70" y="224"/>
                  </a:cubicBezTo>
                  <a:cubicBezTo>
                    <a:pt x="70" y="224"/>
                    <a:pt x="70" y="224"/>
                    <a:pt x="70" y="224"/>
                  </a:cubicBezTo>
                  <a:cubicBezTo>
                    <a:pt x="70" y="224"/>
                    <a:pt x="70" y="224"/>
                    <a:pt x="70" y="224"/>
                  </a:cubicBezTo>
                  <a:cubicBezTo>
                    <a:pt x="70" y="224"/>
                    <a:pt x="70" y="224"/>
                    <a:pt x="70" y="223"/>
                  </a:cubicBezTo>
                  <a:cubicBezTo>
                    <a:pt x="71" y="223"/>
                    <a:pt x="71" y="223"/>
                    <a:pt x="72" y="223"/>
                  </a:cubicBezTo>
                  <a:cubicBezTo>
                    <a:pt x="72" y="223"/>
                    <a:pt x="72" y="223"/>
                    <a:pt x="72" y="223"/>
                  </a:cubicBezTo>
                  <a:cubicBezTo>
                    <a:pt x="72" y="223"/>
                    <a:pt x="73" y="223"/>
                    <a:pt x="73" y="223"/>
                  </a:cubicBezTo>
                  <a:cubicBezTo>
                    <a:pt x="73" y="223"/>
                    <a:pt x="73" y="222"/>
                    <a:pt x="73" y="222"/>
                  </a:cubicBezTo>
                  <a:cubicBezTo>
                    <a:pt x="73" y="222"/>
                    <a:pt x="73" y="222"/>
                    <a:pt x="74" y="222"/>
                  </a:cubicBezTo>
                  <a:cubicBezTo>
                    <a:pt x="74" y="222"/>
                    <a:pt x="74" y="222"/>
                    <a:pt x="74" y="222"/>
                  </a:cubicBezTo>
                  <a:cubicBezTo>
                    <a:pt x="74" y="222"/>
                    <a:pt x="74" y="222"/>
                    <a:pt x="74" y="222"/>
                  </a:cubicBezTo>
                  <a:cubicBezTo>
                    <a:pt x="74" y="222"/>
                    <a:pt x="74" y="222"/>
                    <a:pt x="74" y="222"/>
                  </a:cubicBezTo>
                  <a:cubicBezTo>
                    <a:pt x="75" y="221"/>
                    <a:pt x="76" y="221"/>
                    <a:pt x="76" y="221"/>
                  </a:cubicBezTo>
                  <a:cubicBezTo>
                    <a:pt x="76" y="221"/>
                    <a:pt x="76" y="221"/>
                    <a:pt x="76" y="221"/>
                  </a:cubicBezTo>
                  <a:cubicBezTo>
                    <a:pt x="77" y="221"/>
                    <a:pt x="77" y="221"/>
                    <a:pt x="77" y="221"/>
                  </a:cubicBezTo>
                  <a:cubicBezTo>
                    <a:pt x="77" y="220"/>
                    <a:pt x="77" y="220"/>
                    <a:pt x="77" y="220"/>
                  </a:cubicBezTo>
                  <a:cubicBezTo>
                    <a:pt x="78" y="220"/>
                    <a:pt x="78" y="220"/>
                    <a:pt x="79" y="220"/>
                  </a:cubicBezTo>
                  <a:cubicBezTo>
                    <a:pt x="79" y="220"/>
                    <a:pt x="79" y="220"/>
                    <a:pt x="79" y="220"/>
                  </a:cubicBezTo>
                  <a:cubicBezTo>
                    <a:pt x="79" y="219"/>
                    <a:pt x="80" y="219"/>
                    <a:pt x="80" y="219"/>
                  </a:cubicBezTo>
                  <a:cubicBezTo>
                    <a:pt x="80" y="219"/>
                    <a:pt x="80" y="219"/>
                    <a:pt x="81" y="219"/>
                  </a:cubicBezTo>
                  <a:cubicBezTo>
                    <a:pt x="81" y="219"/>
                    <a:pt x="81" y="219"/>
                    <a:pt x="81" y="219"/>
                  </a:cubicBezTo>
                  <a:cubicBezTo>
                    <a:pt x="81" y="218"/>
                    <a:pt x="81" y="218"/>
                    <a:pt x="81" y="218"/>
                  </a:cubicBezTo>
                  <a:cubicBezTo>
                    <a:pt x="81" y="218"/>
                    <a:pt x="82" y="218"/>
                    <a:pt x="82" y="218"/>
                  </a:cubicBezTo>
                  <a:cubicBezTo>
                    <a:pt x="82" y="218"/>
                    <a:pt x="82" y="218"/>
                    <a:pt x="82" y="218"/>
                  </a:cubicBezTo>
                  <a:cubicBezTo>
                    <a:pt x="82" y="218"/>
                    <a:pt x="82" y="218"/>
                    <a:pt x="83" y="218"/>
                  </a:cubicBezTo>
                  <a:cubicBezTo>
                    <a:pt x="83" y="218"/>
                    <a:pt x="83" y="218"/>
                    <a:pt x="83" y="217"/>
                  </a:cubicBezTo>
                  <a:cubicBezTo>
                    <a:pt x="83" y="217"/>
                    <a:pt x="83" y="217"/>
                    <a:pt x="83" y="217"/>
                  </a:cubicBezTo>
                  <a:cubicBezTo>
                    <a:pt x="83" y="217"/>
                    <a:pt x="83" y="217"/>
                    <a:pt x="83" y="217"/>
                  </a:cubicBezTo>
                  <a:cubicBezTo>
                    <a:pt x="84" y="217"/>
                    <a:pt x="84" y="217"/>
                    <a:pt x="84" y="217"/>
                  </a:cubicBezTo>
                  <a:cubicBezTo>
                    <a:pt x="85" y="217"/>
                    <a:pt x="85" y="216"/>
                    <a:pt x="85" y="216"/>
                  </a:cubicBezTo>
                  <a:cubicBezTo>
                    <a:pt x="85" y="216"/>
                    <a:pt x="85" y="216"/>
                    <a:pt x="85" y="216"/>
                  </a:cubicBezTo>
                  <a:cubicBezTo>
                    <a:pt x="85" y="216"/>
                    <a:pt x="85" y="216"/>
                    <a:pt x="85" y="216"/>
                  </a:cubicBezTo>
                  <a:cubicBezTo>
                    <a:pt x="86" y="216"/>
                    <a:pt x="86" y="215"/>
                    <a:pt x="87" y="215"/>
                  </a:cubicBezTo>
                  <a:cubicBezTo>
                    <a:pt x="87" y="215"/>
                    <a:pt x="87" y="215"/>
                    <a:pt x="87" y="215"/>
                  </a:cubicBezTo>
                  <a:cubicBezTo>
                    <a:pt x="87" y="215"/>
                    <a:pt x="87" y="215"/>
                    <a:pt x="88" y="215"/>
                  </a:cubicBezTo>
                  <a:cubicBezTo>
                    <a:pt x="88" y="214"/>
                    <a:pt x="88" y="214"/>
                    <a:pt x="88" y="214"/>
                  </a:cubicBezTo>
                  <a:cubicBezTo>
                    <a:pt x="88" y="214"/>
                    <a:pt x="89" y="214"/>
                    <a:pt x="89" y="214"/>
                  </a:cubicBezTo>
                  <a:cubicBezTo>
                    <a:pt x="89" y="213"/>
                    <a:pt x="90" y="213"/>
                    <a:pt x="90" y="212"/>
                  </a:cubicBezTo>
                  <a:cubicBezTo>
                    <a:pt x="90" y="212"/>
                    <a:pt x="90" y="212"/>
                    <a:pt x="91" y="212"/>
                  </a:cubicBezTo>
                  <a:cubicBezTo>
                    <a:pt x="91" y="212"/>
                    <a:pt x="91" y="212"/>
                    <a:pt x="91" y="211"/>
                  </a:cubicBezTo>
                  <a:cubicBezTo>
                    <a:pt x="92" y="211"/>
                    <a:pt x="93" y="210"/>
                    <a:pt x="94" y="209"/>
                  </a:cubicBezTo>
                  <a:cubicBezTo>
                    <a:pt x="94" y="209"/>
                    <a:pt x="94" y="209"/>
                    <a:pt x="94" y="209"/>
                  </a:cubicBezTo>
                  <a:cubicBezTo>
                    <a:pt x="94" y="208"/>
                    <a:pt x="94" y="208"/>
                    <a:pt x="95" y="208"/>
                  </a:cubicBezTo>
                  <a:cubicBezTo>
                    <a:pt x="95" y="208"/>
                    <a:pt x="95" y="208"/>
                    <a:pt x="95" y="207"/>
                  </a:cubicBezTo>
                  <a:cubicBezTo>
                    <a:pt x="95" y="207"/>
                    <a:pt x="95" y="207"/>
                    <a:pt x="95" y="207"/>
                  </a:cubicBezTo>
                  <a:cubicBezTo>
                    <a:pt x="95" y="207"/>
                    <a:pt x="95" y="206"/>
                    <a:pt x="96" y="206"/>
                  </a:cubicBezTo>
                  <a:cubicBezTo>
                    <a:pt x="96" y="206"/>
                    <a:pt x="96" y="206"/>
                    <a:pt x="96" y="206"/>
                  </a:cubicBezTo>
                  <a:cubicBezTo>
                    <a:pt x="96" y="205"/>
                    <a:pt x="96" y="205"/>
                    <a:pt x="96" y="205"/>
                  </a:cubicBezTo>
                  <a:cubicBezTo>
                    <a:pt x="96" y="205"/>
                    <a:pt x="96" y="205"/>
                    <a:pt x="96" y="205"/>
                  </a:cubicBezTo>
                  <a:cubicBezTo>
                    <a:pt x="96" y="204"/>
                    <a:pt x="97" y="203"/>
                    <a:pt x="97" y="203"/>
                  </a:cubicBezTo>
                  <a:cubicBezTo>
                    <a:pt x="97" y="203"/>
                    <a:pt x="97" y="203"/>
                    <a:pt x="97" y="203"/>
                  </a:cubicBezTo>
                  <a:cubicBezTo>
                    <a:pt x="97" y="202"/>
                    <a:pt x="97" y="202"/>
                    <a:pt x="97" y="201"/>
                  </a:cubicBezTo>
                  <a:cubicBezTo>
                    <a:pt x="97" y="201"/>
                    <a:pt x="97" y="201"/>
                    <a:pt x="97" y="201"/>
                  </a:cubicBezTo>
                  <a:cubicBezTo>
                    <a:pt x="98" y="199"/>
                    <a:pt x="97" y="192"/>
                    <a:pt x="97" y="190"/>
                  </a:cubicBezTo>
                  <a:cubicBezTo>
                    <a:pt x="97" y="190"/>
                    <a:pt x="96" y="190"/>
                    <a:pt x="96" y="190"/>
                  </a:cubicBezTo>
                  <a:cubicBezTo>
                    <a:pt x="96" y="190"/>
                    <a:pt x="96" y="189"/>
                    <a:pt x="96" y="189"/>
                  </a:cubicBezTo>
                  <a:cubicBezTo>
                    <a:pt x="96" y="189"/>
                    <a:pt x="96" y="189"/>
                    <a:pt x="96" y="189"/>
                  </a:cubicBezTo>
                  <a:cubicBezTo>
                    <a:pt x="96" y="189"/>
                    <a:pt x="96" y="188"/>
                    <a:pt x="96" y="188"/>
                  </a:cubicBezTo>
                  <a:cubicBezTo>
                    <a:pt x="96" y="188"/>
                    <a:pt x="96" y="188"/>
                    <a:pt x="96" y="188"/>
                  </a:cubicBezTo>
                  <a:cubicBezTo>
                    <a:pt x="96" y="188"/>
                    <a:pt x="96" y="187"/>
                    <a:pt x="96" y="187"/>
                  </a:cubicBezTo>
                  <a:cubicBezTo>
                    <a:pt x="95" y="187"/>
                    <a:pt x="95" y="187"/>
                    <a:pt x="95" y="187"/>
                  </a:cubicBezTo>
                  <a:cubicBezTo>
                    <a:pt x="95" y="186"/>
                    <a:pt x="95" y="186"/>
                    <a:pt x="95" y="185"/>
                  </a:cubicBezTo>
                  <a:cubicBezTo>
                    <a:pt x="95" y="185"/>
                    <a:pt x="95" y="185"/>
                    <a:pt x="95" y="185"/>
                  </a:cubicBezTo>
                  <a:cubicBezTo>
                    <a:pt x="94" y="184"/>
                    <a:pt x="94" y="184"/>
                    <a:pt x="94" y="184"/>
                  </a:cubicBezTo>
                  <a:cubicBezTo>
                    <a:pt x="94" y="184"/>
                    <a:pt x="94" y="184"/>
                    <a:pt x="94" y="184"/>
                  </a:cubicBezTo>
                  <a:cubicBezTo>
                    <a:pt x="94" y="183"/>
                    <a:pt x="94" y="183"/>
                    <a:pt x="94" y="182"/>
                  </a:cubicBezTo>
                  <a:cubicBezTo>
                    <a:pt x="94" y="182"/>
                    <a:pt x="94" y="182"/>
                    <a:pt x="94" y="182"/>
                  </a:cubicBezTo>
                  <a:cubicBezTo>
                    <a:pt x="93" y="182"/>
                    <a:pt x="93" y="181"/>
                    <a:pt x="93" y="180"/>
                  </a:cubicBezTo>
                  <a:cubicBezTo>
                    <a:pt x="93" y="180"/>
                    <a:pt x="93" y="180"/>
                    <a:pt x="92" y="180"/>
                  </a:cubicBezTo>
                  <a:cubicBezTo>
                    <a:pt x="92" y="180"/>
                    <a:pt x="92" y="179"/>
                    <a:pt x="92" y="179"/>
                  </a:cubicBezTo>
                  <a:cubicBezTo>
                    <a:pt x="92" y="179"/>
                    <a:pt x="92" y="179"/>
                    <a:pt x="91" y="179"/>
                  </a:cubicBezTo>
                  <a:cubicBezTo>
                    <a:pt x="91" y="178"/>
                    <a:pt x="91" y="177"/>
                    <a:pt x="91" y="177"/>
                  </a:cubicBezTo>
                  <a:cubicBezTo>
                    <a:pt x="90" y="176"/>
                    <a:pt x="90" y="176"/>
                    <a:pt x="90" y="176"/>
                  </a:cubicBezTo>
                  <a:cubicBezTo>
                    <a:pt x="90" y="176"/>
                    <a:pt x="90" y="175"/>
                    <a:pt x="90" y="175"/>
                  </a:cubicBezTo>
                  <a:cubicBezTo>
                    <a:pt x="89" y="175"/>
                    <a:pt x="89" y="175"/>
                    <a:pt x="89" y="174"/>
                  </a:cubicBezTo>
                  <a:cubicBezTo>
                    <a:pt x="89" y="174"/>
                    <a:pt x="89" y="174"/>
                    <a:pt x="89" y="174"/>
                  </a:cubicBezTo>
                  <a:cubicBezTo>
                    <a:pt x="89" y="174"/>
                    <a:pt x="88" y="174"/>
                    <a:pt x="88" y="173"/>
                  </a:cubicBezTo>
                  <a:cubicBezTo>
                    <a:pt x="88" y="173"/>
                    <a:pt x="88" y="173"/>
                    <a:pt x="88" y="173"/>
                  </a:cubicBezTo>
                  <a:cubicBezTo>
                    <a:pt x="88" y="173"/>
                    <a:pt x="88" y="172"/>
                    <a:pt x="88" y="172"/>
                  </a:cubicBezTo>
                  <a:cubicBezTo>
                    <a:pt x="88" y="172"/>
                    <a:pt x="88" y="172"/>
                    <a:pt x="88" y="172"/>
                  </a:cubicBezTo>
                  <a:cubicBezTo>
                    <a:pt x="87" y="172"/>
                    <a:pt x="87" y="171"/>
                    <a:pt x="87" y="171"/>
                  </a:cubicBezTo>
                  <a:cubicBezTo>
                    <a:pt x="87" y="171"/>
                    <a:pt x="87" y="171"/>
                    <a:pt x="87" y="171"/>
                  </a:cubicBezTo>
                  <a:cubicBezTo>
                    <a:pt x="87" y="170"/>
                    <a:pt x="86" y="170"/>
                    <a:pt x="86" y="170"/>
                  </a:cubicBezTo>
                  <a:cubicBezTo>
                    <a:pt x="86" y="170"/>
                    <a:pt x="86" y="170"/>
                    <a:pt x="86" y="170"/>
                  </a:cubicBezTo>
                  <a:cubicBezTo>
                    <a:pt x="86" y="169"/>
                    <a:pt x="86" y="169"/>
                    <a:pt x="85" y="169"/>
                  </a:cubicBezTo>
                  <a:cubicBezTo>
                    <a:pt x="85" y="169"/>
                    <a:pt x="85" y="169"/>
                    <a:pt x="85" y="169"/>
                  </a:cubicBezTo>
                  <a:cubicBezTo>
                    <a:pt x="85" y="168"/>
                    <a:pt x="85" y="168"/>
                    <a:pt x="84" y="168"/>
                  </a:cubicBezTo>
                  <a:cubicBezTo>
                    <a:pt x="84" y="168"/>
                    <a:pt x="84" y="167"/>
                    <a:pt x="84" y="167"/>
                  </a:cubicBezTo>
                  <a:cubicBezTo>
                    <a:pt x="84" y="167"/>
                    <a:pt x="84" y="167"/>
                    <a:pt x="84" y="167"/>
                  </a:cubicBezTo>
                  <a:cubicBezTo>
                    <a:pt x="84" y="167"/>
                    <a:pt x="84" y="166"/>
                    <a:pt x="84" y="166"/>
                  </a:cubicBezTo>
                  <a:cubicBezTo>
                    <a:pt x="83" y="166"/>
                    <a:pt x="83" y="166"/>
                    <a:pt x="83" y="165"/>
                  </a:cubicBezTo>
                  <a:cubicBezTo>
                    <a:pt x="83" y="165"/>
                    <a:pt x="83" y="165"/>
                    <a:pt x="83" y="165"/>
                  </a:cubicBezTo>
                  <a:cubicBezTo>
                    <a:pt x="82" y="164"/>
                    <a:pt x="82" y="164"/>
                    <a:pt x="81" y="164"/>
                  </a:cubicBezTo>
                  <a:cubicBezTo>
                    <a:pt x="81" y="163"/>
                    <a:pt x="81" y="163"/>
                    <a:pt x="81" y="163"/>
                  </a:cubicBezTo>
                  <a:cubicBezTo>
                    <a:pt x="81" y="163"/>
                    <a:pt x="80" y="162"/>
                    <a:pt x="80" y="162"/>
                  </a:cubicBezTo>
                  <a:cubicBezTo>
                    <a:pt x="80" y="162"/>
                    <a:pt x="80" y="161"/>
                    <a:pt x="80" y="161"/>
                  </a:cubicBezTo>
                  <a:cubicBezTo>
                    <a:pt x="79" y="161"/>
                    <a:pt x="79" y="160"/>
                    <a:pt x="78" y="160"/>
                  </a:cubicBezTo>
                  <a:cubicBezTo>
                    <a:pt x="78" y="160"/>
                    <a:pt x="78" y="160"/>
                    <a:pt x="78" y="159"/>
                  </a:cubicBezTo>
                  <a:cubicBezTo>
                    <a:pt x="78" y="159"/>
                    <a:pt x="77" y="158"/>
                    <a:pt x="77" y="158"/>
                  </a:cubicBezTo>
                  <a:cubicBezTo>
                    <a:pt x="77" y="158"/>
                    <a:pt x="77" y="158"/>
                    <a:pt x="77" y="157"/>
                  </a:cubicBezTo>
                  <a:cubicBezTo>
                    <a:pt x="76" y="157"/>
                    <a:pt x="76" y="157"/>
                    <a:pt x="76" y="157"/>
                  </a:cubicBezTo>
                  <a:cubicBezTo>
                    <a:pt x="76" y="156"/>
                    <a:pt x="76" y="156"/>
                    <a:pt x="76" y="156"/>
                  </a:cubicBezTo>
                  <a:cubicBezTo>
                    <a:pt x="76" y="156"/>
                    <a:pt x="75" y="156"/>
                    <a:pt x="75" y="156"/>
                  </a:cubicBezTo>
                  <a:cubicBezTo>
                    <a:pt x="75" y="156"/>
                    <a:pt x="75" y="155"/>
                    <a:pt x="75" y="155"/>
                  </a:cubicBezTo>
                  <a:cubicBezTo>
                    <a:pt x="75" y="155"/>
                    <a:pt x="75" y="155"/>
                    <a:pt x="75" y="155"/>
                  </a:cubicBezTo>
                  <a:cubicBezTo>
                    <a:pt x="75" y="155"/>
                    <a:pt x="75" y="154"/>
                    <a:pt x="74" y="153"/>
                  </a:cubicBezTo>
                  <a:cubicBezTo>
                    <a:pt x="74" y="153"/>
                    <a:pt x="74" y="153"/>
                    <a:pt x="74" y="153"/>
                  </a:cubicBezTo>
                  <a:cubicBezTo>
                    <a:pt x="74" y="153"/>
                    <a:pt x="74" y="152"/>
                    <a:pt x="74" y="152"/>
                  </a:cubicBezTo>
                  <a:cubicBezTo>
                    <a:pt x="74" y="152"/>
                    <a:pt x="74" y="152"/>
                    <a:pt x="74" y="152"/>
                  </a:cubicBezTo>
                  <a:cubicBezTo>
                    <a:pt x="74" y="151"/>
                    <a:pt x="74" y="151"/>
                    <a:pt x="74" y="150"/>
                  </a:cubicBezTo>
                  <a:cubicBezTo>
                    <a:pt x="73" y="149"/>
                    <a:pt x="73" y="145"/>
                    <a:pt x="73" y="144"/>
                  </a:cubicBezTo>
                  <a:cubicBezTo>
                    <a:pt x="73" y="144"/>
                    <a:pt x="73" y="144"/>
                    <a:pt x="74" y="144"/>
                  </a:cubicBezTo>
                  <a:cubicBezTo>
                    <a:pt x="74" y="143"/>
                    <a:pt x="74" y="142"/>
                    <a:pt x="74" y="142"/>
                  </a:cubicBezTo>
                  <a:cubicBezTo>
                    <a:pt x="74" y="142"/>
                    <a:pt x="74" y="142"/>
                    <a:pt x="74" y="142"/>
                  </a:cubicBezTo>
                  <a:cubicBezTo>
                    <a:pt x="74" y="141"/>
                    <a:pt x="74" y="141"/>
                    <a:pt x="74" y="140"/>
                  </a:cubicBezTo>
                  <a:cubicBezTo>
                    <a:pt x="74" y="140"/>
                    <a:pt x="74" y="140"/>
                    <a:pt x="74" y="140"/>
                  </a:cubicBezTo>
                  <a:cubicBezTo>
                    <a:pt x="74" y="140"/>
                    <a:pt x="74" y="139"/>
                    <a:pt x="74" y="139"/>
                  </a:cubicBezTo>
                  <a:cubicBezTo>
                    <a:pt x="74" y="139"/>
                    <a:pt x="75" y="139"/>
                    <a:pt x="75" y="139"/>
                  </a:cubicBezTo>
                  <a:cubicBezTo>
                    <a:pt x="75" y="138"/>
                    <a:pt x="75" y="137"/>
                    <a:pt x="75" y="137"/>
                  </a:cubicBezTo>
                  <a:cubicBezTo>
                    <a:pt x="75" y="137"/>
                    <a:pt x="75" y="137"/>
                    <a:pt x="75" y="137"/>
                  </a:cubicBezTo>
                  <a:cubicBezTo>
                    <a:pt x="75" y="136"/>
                    <a:pt x="75" y="136"/>
                    <a:pt x="75" y="136"/>
                  </a:cubicBezTo>
                  <a:cubicBezTo>
                    <a:pt x="75" y="136"/>
                    <a:pt x="76" y="136"/>
                    <a:pt x="76" y="136"/>
                  </a:cubicBezTo>
                  <a:cubicBezTo>
                    <a:pt x="76" y="136"/>
                    <a:pt x="76" y="135"/>
                    <a:pt x="76" y="135"/>
                  </a:cubicBezTo>
                  <a:cubicBezTo>
                    <a:pt x="76" y="135"/>
                    <a:pt x="76" y="135"/>
                    <a:pt x="76" y="135"/>
                  </a:cubicBezTo>
                  <a:cubicBezTo>
                    <a:pt x="76" y="135"/>
                    <a:pt x="76" y="134"/>
                    <a:pt x="76" y="134"/>
                  </a:cubicBezTo>
                  <a:cubicBezTo>
                    <a:pt x="76" y="134"/>
                    <a:pt x="76" y="134"/>
                    <a:pt x="76" y="134"/>
                  </a:cubicBezTo>
                  <a:cubicBezTo>
                    <a:pt x="76" y="134"/>
                    <a:pt x="76" y="134"/>
                    <a:pt x="76" y="133"/>
                  </a:cubicBezTo>
                  <a:cubicBezTo>
                    <a:pt x="76" y="133"/>
                    <a:pt x="77" y="133"/>
                    <a:pt x="77" y="133"/>
                  </a:cubicBezTo>
                  <a:cubicBezTo>
                    <a:pt x="77" y="132"/>
                    <a:pt x="77" y="132"/>
                    <a:pt x="77" y="131"/>
                  </a:cubicBezTo>
                  <a:cubicBezTo>
                    <a:pt x="78" y="131"/>
                    <a:pt x="78" y="131"/>
                    <a:pt x="78" y="131"/>
                  </a:cubicBezTo>
                  <a:cubicBezTo>
                    <a:pt x="78" y="131"/>
                    <a:pt x="78" y="131"/>
                    <a:pt x="78" y="130"/>
                  </a:cubicBezTo>
                  <a:cubicBezTo>
                    <a:pt x="78" y="130"/>
                    <a:pt x="78" y="130"/>
                    <a:pt x="78" y="130"/>
                  </a:cubicBezTo>
                  <a:cubicBezTo>
                    <a:pt x="78" y="130"/>
                    <a:pt x="78" y="130"/>
                    <a:pt x="78" y="130"/>
                  </a:cubicBezTo>
                  <a:cubicBezTo>
                    <a:pt x="78" y="130"/>
                    <a:pt x="78" y="130"/>
                    <a:pt x="78" y="130"/>
                  </a:cubicBezTo>
                  <a:cubicBezTo>
                    <a:pt x="79" y="129"/>
                    <a:pt x="79" y="128"/>
                    <a:pt x="79" y="128"/>
                  </a:cubicBezTo>
                  <a:cubicBezTo>
                    <a:pt x="79" y="127"/>
                    <a:pt x="80" y="127"/>
                    <a:pt x="80" y="127"/>
                  </a:cubicBezTo>
                  <a:cubicBezTo>
                    <a:pt x="80" y="127"/>
                    <a:pt x="80" y="126"/>
                    <a:pt x="80" y="126"/>
                  </a:cubicBezTo>
                  <a:cubicBezTo>
                    <a:pt x="80" y="126"/>
                    <a:pt x="81" y="126"/>
                    <a:pt x="81" y="125"/>
                  </a:cubicBezTo>
                  <a:cubicBezTo>
                    <a:pt x="81" y="125"/>
                    <a:pt x="81" y="125"/>
                    <a:pt x="81" y="124"/>
                  </a:cubicBezTo>
                  <a:cubicBezTo>
                    <a:pt x="81" y="124"/>
                    <a:pt x="81" y="124"/>
                    <a:pt x="82" y="124"/>
                  </a:cubicBezTo>
                  <a:cubicBezTo>
                    <a:pt x="82" y="124"/>
                    <a:pt x="82" y="123"/>
                    <a:pt x="82" y="123"/>
                  </a:cubicBezTo>
                  <a:cubicBezTo>
                    <a:pt x="82" y="123"/>
                    <a:pt x="82" y="123"/>
                    <a:pt x="83" y="123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22"/>
                    <a:pt x="83" y="121"/>
                    <a:pt x="83" y="121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4" y="120"/>
                    <a:pt x="84" y="120"/>
                    <a:pt x="84" y="120"/>
                  </a:cubicBezTo>
                  <a:cubicBezTo>
                    <a:pt x="84" y="120"/>
                    <a:pt x="85" y="119"/>
                    <a:pt x="85" y="119"/>
                  </a:cubicBezTo>
                  <a:cubicBezTo>
                    <a:pt x="85" y="119"/>
                    <a:pt x="85" y="119"/>
                    <a:pt x="85" y="118"/>
                  </a:cubicBezTo>
                  <a:cubicBezTo>
                    <a:pt x="85" y="118"/>
                    <a:pt x="86" y="118"/>
                    <a:pt x="86" y="118"/>
                  </a:cubicBezTo>
                  <a:cubicBezTo>
                    <a:pt x="86" y="118"/>
                    <a:pt x="86" y="117"/>
                    <a:pt x="86" y="117"/>
                  </a:cubicBezTo>
                  <a:cubicBezTo>
                    <a:pt x="87" y="117"/>
                    <a:pt x="87" y="117"/>
                    <a:pt x="87" y="116"/>
                  </a:cubicBezTo>
                  <a:cubicBezTo>
                    <a:pt x="87" y="116"/>
                    <a:pt x="87" y="116"/>
                    <a:pt x="87" y="116"/>
                  </a:cubicBezTo>
                  <a:cubicBezTo>
                    <a:pt x="88" y="115"/>
                    <a:pt x="88" y="115"/>
                    <a:pt x="89" y="114"/>
                  </a:cubicBezTo>
                  <a:cubicBezTo>
                    <a:pt x="89" y="114"/>
                    <a:pt x="89" y="114"/>
                    <a:pt x="89" y="113"/>
                  </a:cubicBezTo>
                  <a:cubicBezTo>
                    <a:pt x="89" y="113"/>
                    <a:pt x="89" y="113"/>
                    <a:pt x="89" y="113"/>
                  </a:cubicBezTo>
                  <a:cubicBezTo>
                    <a:pt x="89" y="113"/>
                    <a:pt x="90" y="112"/>
                    <a:pt x="90" y="112"/>
                  </a:cubicBezTo>
                  <a:cubicBezTo>
                    <a:pt x="90" y="112"/>
                    <a:pt x="90" y="112"/>
                    <a:pt x="90" y="112"/>
                  </a:cubicBezTo>
                  <a:cubicBezTo>
                    <a:pt x="90" y="111"/>
                    <a:pt x="90" y="111"/>
                    <a:pt x="90" y="111"/>
                  </a:cubicBezTo>
                  <a:cubicBezTo>
                    <a:pt x="90" y="111"/>
                    <a:pt x="90" y="111"/>
                    <a:pt x="90" y="111"/>
                  </a:cubicBezTo>
                  <a:cubicBezTo>
                    <a:pt x="90" y="111"/>
                    <a:pt x="90" y="110"/>
                    <a:pt x="90" y="110"/>
                  </a:cubicBezTo>
                  <a:cubicBezTo>
                    <a:pt x="90" y="110"/>
                    <a:pt x="91" y="110"/>
                    <a:pt x="91" y="110"/>
                  </a:cubicBezTo>
                  <a:cubicBezTo>
                    <a:pt x="91" y="110"/>
                    <a:pt x="91" y="110"/>
                    <a:pt x="91" y="109"/>
                  </a:cubicBezTo>
                  <a:cubicBezTo>
                    <a:pt x="91" y="109"/>
                    <a:pt x="91" y="109"/>
                    <a:pt x="91" y="109"/>
                  </a:cubicBezTo>
                  <a:cubicBezTo>
                    <a:pt x="91" y="109"/>
                    <a:pt x="92" y="108"/>
                    <a:pt x="92" y="107"/>
                  </a:cubicBezTo>
                  <a:cubicBezTo>
                    <a:pt x="92" y="107"/>
                    <a:pt x="92" y="107"/>
                    <a:pt x="92" y="107"/>
                  </a:cubicBezTo>
                  <a:cubicBezTo>
                    <a:pt x="92" y="107"/>
                    <a:pt x="92" y="107"/>
                    <a:pt x="92" y="106"/>
                  </a:cubicBezTo>
                  <a:cubicBezTo>
                    <a:pt x="92" y="106"/>
                    <a:pt x="92" y="106"/>
                    <a:pt x="92" y="106"/>
                  </a:cubicBezTo>
                  <a:cubicBezTo>
                    <a:pt x="92" y="106"/>
                    <a:pt x="92" y="106"/>
                    <a:pt x="92" y="106"/>
                  </a:cubicBezTo>
                  <a:cubicBezTo>
                    <a:pt x="93" y="106"/>
                    <a:pt x="93" y="106"/>
                    <a:pt x="93" y="106"/>
                  </a:cubicBezTo>
                  <a:cubicBezTo>
                    <a:pt x="93" y="105"/>
                    <a:pt x="93" y="105"/>
                    <a:pt x="93" y="104"/>
                  </a:cubicBezTo>
                  <a:cubicBezTo>
                    <a:pt x="93" y="104"/>
                    <a:pt x="93" y="104"/>
                    <a:pt x="94" y="104"/>
                  </a:cubicBezTo>
                  <a:cubicBezTo>
                    <a:pt x="94" y="104"/>
                    <a:pt x="94" y="103"/>
                    <a:pt x="94" y="103"/>
                  </a:cubicBezTo>
                  <a:cubicBezTo>
                    <a:pt x="94" y="103"/>
                    <a:pt x="94" y="103"/>
                    <a:pt x="94" y="103"/>
                  </a:cubicBezTo>
                  <a:cubicBezTo>
                    <a:pt x="94" y="102"/>
                    <a:pt x="94" y="102"/>
                    <a:pt x="95" y="101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95" y="100"/>
                    <a:pt x="95" y="100"/>
                    <a:pt x="95" y="100"/>
                  </a:cubicBezTo>
                  <a:cubicBezTo>
                    <a:pt x="95" y="100"/>
                    <a:pt x="95" y="100"/>
                    <a:pt x="96" y="100"/>
                  </a:cubicBezTo>
                  <a:cubicBezTo>
                    <a:pt x="96" y="100"/>
                    <a:pt x="96" y="99"/>
                    <a:pt x="96" y="99"/>
                  </a:cubicBezTo>
                  <a:cubicBezTo>
                    <a:pt x="96" y="99"/>
                    <a:pt x="96" y="99"/>
                    <a:pt x="96" y="99"/>
                  </a:cubicBezTo>
                  <a:cubicBezTo>
                    <a:pt x="96" y="99"/>
                    <a:pt x="96" y="99"/>
                    <a:pt x="96" y="99"/>
                  </a:cubicBezTo>
                  <a:cubicBezTo>
                    <a:pt x="96" y="99"/>
                    <a:pt x="96" y="99"/>
                    <a:pt x="96" y="99"/>
                  </a:cubicBezTo>
                  <a:cubicBezTo>
                    <a:pt x="96" y="98"/>
                    <a:pt x="97" y="98"/>
                    <a:pt x="97" y="97"/>
                  </a:cubicBezTo>
                  <a:cubicBezTo>
                    <a:pt x="97" y="97"/>
                    <a:pt x="97" y="97"/>
                    <a:pt x="97" y="97"/>
                  </a:cubicBezTo>
                  <a:cubicBezTo>
                    <a:pt x="97" y="97"/>
                    <a:pt x="97" y="97"/>
                    <a:pt x="97" y="96"/>
                  </a:cubicBezTo>
                  <a:cubicBezTo>
                    <a:pt x="97" y="96"/>
                    <a:pt x="97" y="96"/>
                    <a:pt x="97" y="96"/>
                  </a:cubicBezTo>
                  <a:cubicBezTo>
                    <a:pt x="97" y="96"/>
                    <a:pt x="97" y="96"/>
                    <a:pt x="97" y="96"/>
                  </a:cubicBezTo>
                  <a:cubicBezTo>
                    <a:pt x="97" y="96"/>
                    <a:pt x="98" y="96"/>
                    <a:pt x="98" y="96"/>
                  </a:cubicBezTo>
                  <a:cubicBezTo>
                    <a:pt x="98" y="96"/>
                    <a:pt x="98" y="95"/>
                    <a:pt x="98" y="95"/>
                  </a:cubicBezTo>
                  <a:cubicBezTo>
                    <a:pt x="98" y="95"/>
                    <a:pt x="98" y="95"/>
                    <a:pt x="98" y="95"/>
                  </a:cubicBezTo>
                  <a:cubicBezTo>
                    <a:pt x="98" y="95"/>
                    <a:pt x="98" y="95"/>
                    <a:pt x="98" y="94"/>
                  </a:cubicBezTo>
                  <a:cubicBezTo>
                    <a:pt x="98" y="94"/>
                    <a:pt x="98" y="94"/>
                    <a:pt x="98" y="94"/>
                  </a:cubicBezTo>
                  <a:cubicBezTo>
                    <a:pt x="98" y="94"/>
                    <a:pt x="98" y="94"/>
                    <a:pt x="98" y="94"/>
                  </a:cubicBezTo>
                  <a:cubicBezTo>
                    <a:pt x="99" y="94"/>
                    <a:pt x="99" y="94"/>
                    <a:pt x="99" y="94"/>
                  </a:cubicBezTo>
                  <a:cubicBezTo>
                    <a:pt x="99" y="93"/>
                    <a:pt x="99" y="93"/>
                    <a:pt x="99" y="92"/>
                  </a:cubicBezTo>
                  <a:cubicBezTo>
                    <a:pt x="99" y="92"/>
                    <a:pt x="100" y="92"/>
                    <a:pt x="100" y="92"/>
                  </a:cubicBezTo>
                  <a:cubicBezTo>
                    <a:pt x="100" y="92"/>
                    <a:pt x="100" y="91"/>
                    <a:pt x="100" y="91"/>
                  </a:cubicBezTo>
                  <a:cubicBezTo>
                    <a:pt x="100" y="91"/>
                    <a:pt x="100" y="91"/>
                    <a:pt x="100" y="91"/>
                  </a:cubicBezTo>
                  <a:cubicBezTo>
                    <a:pt x="100" y="91"/>
                    <a:pt x="100" y="91"/>
                    <a:pt x="100" y="91"/>
                  </a:cubicBezTo>
                  <a:cubicBezTo>
                    <a:pt x="100" y="91"/>
                    <a:pt x="100" y="91"/>
                    <a:pt x="101" y="91"/>
                  </a:cubicBezTo>
                  <a:cubicBezTo>
                    <a:pt x="101" y="90"/>
                    <a:pt x="101" y="90"/>
                    <a:pt x="101" y="90"/>
                  </a:cubicBezTo>
                  <a:cubicBezTo>
                    <a:pt x="101" y="90"/>
                    <a:pt x="101" y="90"/>
                    <a:pt x="101" y="90"/>
                  </a:cubicBezTo>
                  <a:cubicBezTo>
                    <a:pt x="101" y="90"/>
                    <a:pt x="101" y="89"/>
                    <a:pt x="101" y="89"/>
                  </a:cubicBezTo>
                  <a:cubicBezTo>
                    <a:pt x="101" y="89"/>
                    <a:pt x="101" y="89"/>
                    <a:pt x="101" y="89"/>
                  </a:cubicBezTo>
                  <a:cubicBezTo>
                    <a:pt x="101" y="89"/>
                    <a:pt x="101" y="89"/>
                    <a:pt x="101" y="88"/>
                  </a:cubicBezTo>
                  <a:cubicBezTo>
                    <a:pt x="101" y="88"/>
                    <a:pt x="102" y="88"/>
                    <a:pt x="102" y="88"/>
                  </a:cubicBezTo>
                  <a:cubicBezTo>
                    <a:pt x="102" y="87"/>
                    <a:pt x="102" y="87"/>
                    <a:pt x="103" y="86"/>
                  </a:cubicBezTo>
                  <a:cubicBezTo>
                    <a:pt x="103" y="86"/>
                    <a:pt x="103" y="86"/>
                    <a:pt x="103" y="86"/>
                  </a:cubicBezTo>
                  <a:cubicBezTo>
                    <a:pt x="104" y="85"/>
                    <a:pt x="104" y="84"/>
                    <a:pt x="104" y="84"/>
                  </a:cubicBezTo>
                  <a:cubicBezTo>
                    <a:pt x="104" y="83"/>
                    <a:pt x="104" y="83"/>
                    <a:pt x="105" y="83"/>
                  </a:cubicBezTo>
                  <a:cubicBezTo>
                    <a:pt x="105" y="83"/>
                    <a:pt x="105" y="82"/>
                    <a:pt x="105" y="82"/>
                  </a:cubicBezTo>
                  <a:cubicBezTo>
                    <a:pt x="105" y="82"/>
                    <a:pt x="106" y="82"/>
                    <a:pt x="106" y="81"/>
                  </a:cubicBezTo>
                  <a:cubicBezTo>
                    <a:pt x="106" y="81"/>
                    <a:pt x="106" y="80"/>
                    <a:pt x="106" y="80"/>
                  </a:cubicBezTo>
                  <a:cubicBezTo>
                    <a:pt x="106" y="80"/>
                    <a:pt x="107" y="80"/>
                    <a:pt x="107" y="80"/>
                  </a:cubicBezTo>
                  <a:cubicBezTo>
                    <a:pt x="107" y="79"/>
                    <a:pt x="107" y="79"/>
                    <a:pt x="107" y="78"/>
                  </a:cubicBezTo>
                  <a:cubicBezTo>
                    <a:pt x="107" y="78"/>
                    <a:pt x="108" y="78"/>
                    <a:pt x="108" y="78"/>
                  </a:cubicBezTo>
                  <a:cubicBezTo>
                    <a:pt x="108" y="78"/>
                    <a:pt x="108" y="77"/>
                    <a:pt x="108" y="77"/>
                  </a:cubicBezTo>
                  <a:cubicBezTo>
                    <a:pt x="108" y="77"/>
                    <a:pt x="108" y="77"/>
                    <a:pt x="109" y="77"/>
                  </a:cubicBezTo>
                  <a:cubicBezTo>
                    <a:pt x="109" y="77"/>
                    <a:pt x="109" y="76"/>
                    <a:pt x="109" y="76"/>
                  </a:cubicBezTo>
                  <a:cubicBezTo>
                    <a:pt x="109" y="76"/>
                    <a:pt x="109" y="76"/>
                    <a:pt x="109" y="76"/>
                  </a:cubicBezTo>
                  <a:cubicBezTo>
                    <a:pt x="109" y="76"/>
                    <a:pt x="109" y="75"/>
                    <a:pt x="109" y="75"/>
                  </a:cubicBezTo>
                  <a:cubicBezTo>
                    <a:pt x="109" y="75"/>
                    <a:pt x="110" y="75"/>
                    <a:pt x="110" y="75"/>
                  </a:cubicBezTo>
                  <a:cubicBezTo>
                    <a:pt x="110" y="75"/>
                    <a:pt x="110" y="74"/>
                    <a:pt x="110" y="74"/>
                  </a:cubicBezTo>
                  <a:cubicBezTo>
                    <a:pt x="110" y="74"/>
                    <a:pt x="110" y="74"/>
                    <a:pt x="111" y="74"/>
                  </a:cubicBezTo>
                  <a:cubicBezTo>
                    <a:pt x="111" y="73"/>
                    <a:pt x="111" y="73"/>
                    <a:pt x="111" y="73"/>
                  </a:cubicBezTo>
                  <a:cubicBezTo>
                    <a:pt x="111" y="73"/>
                    <a:pt x="111" y="73"/>
                    <a:pt x="111" y="73"/>
                  </a:cubicBezTo>
                  <a:cubicBezTo>
                    <a:pt x="111" y="73"/>
                    <a:pt x="111" y="72"/>
                    <a:pt x="111" y="72"/>
                  </a:cubicBezTo>
                  <a:cubicBezTo>
                    <a:pt x="112" y="72"/>
                    <a:pt x="112" y="72"/>
                    <a:pt x="112" y="72"/>
                  </a:cubicBezTo>
                  <a:cubicBezTo>
                    <a:pt x="112" y="71"/>
                    <a:pt x="112" y="71"/>
                    <a:pt x="112" y="71"/>
                  </a:cubicBezTo>
                  <a:cubicBezTo>
                    <a:pt x="112" y="71"/>
                    <a:pt x="113" y="70"/>
                    <a:pt x="113" y="70"/>
                  </a:cubicBezTo>
                  <a:cubicBezTo>
                    <a:pt x="113" y="70"/>
                    <a:pt x="113" y="70"/>
                    <a:pt x="113" y="70"/>
                  </a:cubicBezTo>
                  <a:cubicBezTo>
                    <a:pt x="113" y="69"/>
                    <a:pt x="114" y="69"/>
                    <a:pt x="114" y="69"/>
                  </a:cubicBezTo>
                  <a:cubicBezTo>
                    <a:pt x="114" y="69"/>
                    <a:pt x="114" y="69"/>
                    <a:pt x="114" y="68"/>
                  </a:cubicBezTo>
                  <a:cubicBezTo>
                    <a:pt x="114" y="68"/>
                    <a:pt x="114" y="68"/>
                    <a:pt x="115" y="68"/>
                  </a:cubicBezTo>
                  <a:cubicBezTo>
                    <a:pt x="115" y="68"/>
                    <a:pt x="115" y="67"/>
                    <a:pt x="115" y="67"/>
                  </a:cubicBezTo>
                  <a:cubicBezTo>
                    <a:pt x="115" y="67"/>
                    <a:pt x="116" y="66"/>
                    <a:pt x="116" y="66"/>
                  </a:cubicBezTo>
                  <a:cubicBezTo>
                    <a:pt x="116" y="66"/>
                    <a:pt x="116" y="66"/>
                    <a:pt x="116" y="65"/>
                  </a:cubicBezTo>
                  <a:cubicBezTo>
                    <a:pt x="117" y="65"/>
                    <a:pt x="117" y="65"/>
                    <a:pt x="118" y="64"/>
                  </a:cubicBezTo>
                  <a:cubicBezTo>
                    <a:pt x="118" y="64"/>
                    <a:pt x="118" y="64"/>
                    <a:pt x="118" y="64"/>
                  </a:cubicBezTo>
                  <a:cubicBezTo>
                    <a:pt x="118" y="63"/>
                    <a:pt x="119" y="62"/>
                    <a:pt x="120" y="62"/>
                  </a:cubicBezTo>
                  <a:cubicBezTo>
                    <a:pt x="120" y="62"/>
                    <a:pt x="120" y="61"/>
                    <a:pt x="120" y="61"/>
                  </a:cubicBezTo>
                  <a:cubicBezTo>
                    <a:pt x="121" y="60"/>
                    <a:pt x="122" y="59"/>
                    <a:pt x="124" y="58"/>
                  </a:cubicBezTo>
                  <a:cubicBezTo>
                    <a:pt x="124" y="57"/>
                    <a:pt x="125" y="56"/>
                    <a:pt x="126" y="55"/>
                  </a:cubicBezTo>
                  <a:cubicBezTo>
                    <a:pt x="126" y="55"/>
                    <a:pt x="126" y="55"/>
                    <a:pt x="126" y="55"/>
                  </a:cubicBezTo>
                  <a:cubicBezTo>
                    <a:pt x="127" y="55"/>
                    <a:pt x="127" y="54"/>
                    <a:pt x="127" y="54"/>
                  </a:cubicBezTo>
                  <a:cubicBezTo>
                    <a:pt x="128" y="54"/>
                    <a:pt x="128" y="54"/>
                    <a:pt x="128" y="54"/>
                  </a:cubicBezTo>
                  <a:cubicBezTo>
                    <a:pt x="128" y="53"/>
                    <a:pt x="129" y="53"/>
                    <a:pt x="129" y="53"/>
                  </a:cubicBezTo>
                  <a:cubicBezTo>
                    <a:pt x="129" y="53"/>
                    <a:pt x="129" y="53"/>
                    <a:pt x="130" y="53"/>
                  </a:cubicBezTo>
                  <a:cubicBezTo>
                    <a:pt x="130" y="53"/>
                    <a:pt x="130" y="52"/>
                    <a:pt x="130" y="52"/>
                  </a:cubicBezTo>
                  <a:cubicBezTo>
                    <a:pt x="130" y="52"/>
                    <a:pt x="130" y="52"/>
                    <a:pt x="131" y="52"/>
                  </a:cubicBezTo>
                  <a:cubicBezTo>
                    <a:pt x="131" y="52"/>
                    <a:pt x="131" y="52"/>
                    <a:pt x="131" y="51"/>
                  </a:cubicBezTo>
                  <a:cubicBezTo>
                    <a:pt x="131" y="51"/>
                    <a:pt x="131" y="51"/>
                    <a:pt x="132" y="51"/>
                  </a:cubicBezTo>
                  <a:cubicBezTo>
                    <a:pt x="132" y="51"/>
                    <a:pt x="132" y="51"/>
                    <a:pt x="132" y="51"/>
                  </a:cubicBezTo>
                  <a:cubicBezTo>
                    <a:pt x="132" y="51"/>
                    <a:pt x="132" y="51"/>
                    <a:pt x="132" y="51"/>
                  </a:cubicBezTo>
                  <a:cubicBezTo>
                    <a:pt x="132" y="51"/>
                    <a:pt x="132" y="51"/>
                    <a:pt x="132" y="51"/>
                  </a:cubicBezTo>
                  <a:cubicBezTo>
                    <a:pt x="133" y="51"/>
                    <a:pt x="133" y="51"/>
                    <a:pt x="133" y="51"/>
                  </a:cubicBezTo>
                  <a:cubicBezTo>
                    <a:pt x="133" y="51"/>
                    <a:pt x="133" y="50"/>
                    <a:pt x="133" y="50"/>
                  </a:cubicBezTo>
                  <a:cubicBezTo>
                    <a:pt x="133" y="50"/>
                    <a:pt x="133" y="50"/>
                    <a:pt x="134" y="50"/>
                  </a:cubicBezTo>
                  <a:cubicBezTo>
                    <a:pt x="134" y="50"/>
                    <a:pt x="134" y="50"/>
                    <a:pt x="134" y="50"/>
                  </a:cubicBezTo>
                  <a:cubicBezTo>
                    <a:pt x="134" y="50"/>
                    <a:pt x="134" y="50"/>
                    <a:pt x="134" y="50"/>
                  </a:cubicBezTo>
                  <a:cubicBezTo>
                    <a:pt x="134" y="50"/>
                    <a:pt x="134" y="50"/>
                    <a:pt x="134" y="50"/>
                  </a:cubicBezTo>
                  <a:cubicBezTo>
                    <a:pt x="135" y="50"/>
                    <a:pt x="135" y="50"/>
                    <a:pt x="135" y="50"/>
                  </a:cubicBezTo>
                  <a:cubicBezTo>
                    <a:pt x="135" y="49"/>
                    <a:pt x="135" y="49"/>
                    <a:pt x="135" y="49"/>
                  </a:cubicBezTo>
                  <a:cubicBezTo>
                    <a:pt x="136" y="49"/>
                    <a:pt x="137" y="49"/>
                    <a:pt x="137" y="49"/>
                  </a:cubicBezTo>
                  <a:cubicBezTo>
                    <a:pt x="137" y="48"/>
                    <a:pt x="137" y="48"/>
                    <a:pt x="137" y="48"/>
                  </a:cubicBezTo>
                  <a:cubicBezTo>
                    <a:pt x="138" y="48"/>
                    <a:pt x="138" y="48"/>
                    <a:pt x="138" y="48"/>
                  </a:cubicBezTo>
                  <a:cubicBezTo>
                    <a:pt x="138" y="48"/>
                    <a:pt x="138" y="48"/>
                    <a:pt x="138" y="48"/>
                  </a:cubicBezTo>
                  <a:cubicBezTo>
                    <a:pt x="139" y="48"/>
                    <a:pt x="139" y="48"/>
                    <a:pt x="140" y="47"/>
                  </a:cubicBezTo>
                  <a:cubicBezTo>
                    <a:pt x="140" y="47"/>
                    <a:pt x="140" y="47"/>
                    <a:pt x="140" y="47"/>
                  </a:cubicBezTo>
                  <a:cubicBezTo>
                    <a:pt x="140" y="47"/>
                    <a:pt x="140" y="47"/>
                    <a:pt x="140" y="47"/>
                  </a:cubicBezTo>
                  <a:cubicBezTo>
                    <a:pt x="140" y="47"/>
                    <a:pt x="141" y="47"/>
                    <a:pt x="141" y="46"/>
                  </a:cubicBezTo>
                  <a:cubicBezTo>
                    <a:pt x="141" y="46"/>
                    <a:pt x="141" y="46"/>
                    <a:pt x="141" y="46"/>
                  </a:cubicBezTo>
                  <a:cubicBezTo>
                    <a:pt x="141" y="46"/>
                    <a:pt x="141" y="46"/>
                    <a:pt x="141" y="46"/>
                  </a:cubicBezTo>
                  <a:cubicBezTo>
                    <a:pt x="142" y="46"/>
                    <a:pt x="142" y="46"/>
                    <a:pt x="142" y="46"/>
                  </a:cubicBezTo>
                  <a:cubicBezTo>
                    <a:pt x="142" y="46"/>
                    <a:pt x="142" y="46"/>
                    <a:pt x="142" y="46"/>
                  </a:cubicBezTo>
                  <a:cubicBezTo>
                    <a:pt x="142" y="46"/>
                    <a:pt x="143" y="46"/>
                    <a:pt x="143" y="46"/>
                  </a:cubicBezTo>
                  <a:cubicBezTo>
                    <a:pt x="143" y="46"/>
                    <a:pt x="143" y="46"/>
                    <a:pt x="143" y="45"/>
                  </a:cubicBezTo>
                  <a:cubicBezTo>
                    <a:pt x="143" y="45"/>
                    <a:pt x="143" y="45"/>
                    <a:pt x="144" y="45"/>
                  </a:cubicBezTo>
                  <a:cubicBezTo>
                    <a:pt x="144" y="45"/>
                    <a:pt x="144" y="45"/>
                    <a:pt x="144" y="45"/>
                  </a:cubicBezTo>
                  <a:cubicBezTo>
                    <a:pt x="144" y="45"/>
                    <a:pt x="144" y="45"/>
                    <a:pt x="144" y="45"/>
                  </a:cubicBezTo>
                  <a:cubicBezTo>
                    <a:pt x="144" y="45"/>
                    <a:pt x="144" y="45"/>
                    <a:pt x="144" y="45"/>
                  </a:cubicBezTo>
                  <a:cubicBezTo>
                    <a:pt x="144" y="45"/>
                    <a:pt x="145" y="45"/>
                    <a:pt x="145" y="45"/>
                  </a:cubicBezTo>
                  <a:cubicBezTo>
                    <a:pt x="145" y="45"/>
                    <a:pt x="145" y="44"/>
                    <a:pt x="145" y="44"/>
                  </a:cubicBezTo>
                  <a:cubicBezTo>
                    <a:pt x="145" y="44"/>
                    <a:pt x="145" y="44"/>
                    <a:pt x="146" y="44"/>
                  </a:cubicBezTo>
                  <a:cubicBezTo>
                    <a:pt x="146" y="44"/>
                    <a:pt x="146" y="44"/>
                    <a:pt x="146" y="44"/>
                  </a:cubicBezTo>
                  <a:cubicBezTo>
                    <a:pt x="146" y="44"/>
                    <a:pt x="147" y="44"/>
                    <a:pt x="147" y="44"/>
                  </a:cubicBezTo>
                  <a:cubicBezTo>
                    <a:pt x="147" y="43"/>
                    <a:pt x="147" y="43"/>
                    <a:pt x="147" y="43"/>
                  </a:cubicBezTo>
                  <a:cubicBezTo>
                    <a:pt x="148" y="43"/>
                    <a:pt x="148" y="43"/>
                    <a:pt x="148" y="43"/>
                  </a:cubicBezTo>
                  <a:cubicBezTo>
                    <a:pt x="148" y="43"/>
                    <a:pt x="148" y="43"/>
                    <a:pt x="148" y="43"/>
                  </a:cubicBezTo>
                  <a:cubicBezTo>
                    <a:pt x="148" y="43"/>
                    <a:pt x="149" y="43"/>
                    <a:pt x="149" y="43"/>
                  </a:cubicBezTo>
                  <a:cubicBezTo>
                    <a:pt x="149" y="42"/>
                    <a:pt x="149" y="42"/>
                    <a:pt x="149" y="42"/>
                  </a:cubicBezTo>
                  <a:cubicBezTo>
                    <a:pt x="149" y="42"/>
                    <a:pt x="149" y="42"/>
                    <a:pt x="149" y="42"/>
                  </a:cubicBezTo>
                  <a:cubicBezTo>
                    <a:pt x="149" y="42"/>
                    <a:pt x="149" y="42"/>
                    <a:pt x="149" y="42"/>
                  </a:cubicBezTo>
                  <a:cubicBezTo>
                    <a:pt x="150" y="42"/>
                    <a:pt x="150" y="42"/>
                    <a:pt x="150" y="42"/>
                  </a:cubicBezTo>
                  <a:cubicBezTo>
                    <a:pt x="150" y="42"/>
                    <a:pt x="150" y="41"/>
                    <a:pt x="151" y="41"/>
                  </a:cubicBezTo>
                  <a:cubicBezTo>
                    <a:pt x="151" y="41"/>
                    <a:pt x="151" y="41"/>
                    <a:pt x="151" y="41"/>
                  </a:cubicBezTo>
                  <a:cubicBezTo>
                    <a:pt x="151" y="41"/>
                    <a:pt x="151" y="41"/>
                    <a:pt x="151" y="41"/>
                  </a:cubicBezTo>
                  <a:cubicBezTo>
                    <a:pt x="151" y="41"/>
                    <a:pt x="152" y="41"/>
                    <a:pt x="152" y="41"/>
                  </a:cubicBezTo>
                  <a:cubicBezTo>
                    <a:pt x="152" y="41"/>
                    <a:pt x="152" y="41"/>
                    <a:pt x="152" y="40"/>
                  </a:cubicBezTo>
                  <a:cubicBezTo>
                    <a:pt x="152" y="40"/>
                    <a:pt x="152" y="40"/>
                    <a:pt x="153" y="40"/>
                  </a:cubicBezTo>
                  <a:cubicBezTo>
                    <a:pt x="153" y="40"/>
                    <a:pt x="153" y="40"/>
                    <a:pt x="153" y="40"/>
                  </a:cubicBezTo>
                  <a:cubicBezTo>
                    <a:pt x="154" y="40"/>
                    <a:pt x="154" y="39"/>
                    <a:pt x="155" y="39"/>
                  </a:cubicBezTo>
                  <a:cubicBezTo>
                    <a:pt x="155" y="39"/>
                    <a:pt x="155" y="39"/>
                    <a:pt x="155" y="38"/>
                  </a:cubicBezTo>
                  <a:cubicBezTo>
                    <a:pt x="156" y="38"/>
                    <a:pt x="156" y="38"/>
                    <a:pt x="157" y="38"/>
                  </a:cubicBezTo>
                  <a:cubicBezTo>
                    <a:pt x="157" y="38"/>
                    <a:pt x="157" y="38"/>
                    <a:pt x="157" y="37"/>
                  </a:cubicBezTo>
                  <a:cubicBezTo>
                    <a:pt x="158" y="37"/>
                    <a:pt x="158" y="37"/>
                    <a:pt x="159" y="37"/>
                  </a:cubicBezTo>
                  <a:cubicBezTo>
                    <a:pt x="159" y="37"/>
                    <a:pt x="159" y="37"/>
                    <a:pt x="159" y="36"/>
                  </a:cubicBezTo>
                  <a:cubicBezTo>
                    <a:pt x="159" y="36"/>
                    <a:pt x="160" y="36"/>
                    <a:pt x="160" y="36"/>
                  </a:cubicBezTo>
                  <a:cubicBezTo>
                    <a:pt x="160" y="36"/>
                    <a:pt x="161" y="35"/>
                    <a:pt x="161" y="35"/>
                  </a:cubicBezTo>
                  <a:cubicBezTo>
                    <a:pt x="161" y="35"/>
                    <a:pt x="162" y="35"/>
                    <a:pt x="162" y="35"/>
                  </a:cubicBezTo>
                  <a:cubicBezTo>
                    <a:pt x="162" y="35"/>
                    <a:pt x="162" y="35"/>
                    <a:pt x="162" y="35"/>
                  </a:cubicBezTo>
                  <a:cubicBezTo>
                    <a:pt x="162" y="34"/>
                    <a:pt x="163" y="34"/>
                    <a:pt x="163" y="34"/>
                  </a:cubicBezTo>
                  <a:cubicBezTo>
                    <a:pt x="163" y="34"/>
                    <a:pt x="163" y="34"/>
                    <a:pt x="163" y="34"/>
                  </a:cubicBezTo>
                  <a:cubicBezTo>
                    <a:pt x="164" y="33"/>
                    <a:pt x="164" y="33"/>
                    <a:pt x="165" y="33"/>
                  </a:cubicBezTo>
                  <a:cubicBezTo>
                    <a:pt x="165" y="33"/>
                    <a:pt x="165" y="33"/>
                    <a:pt x="165" y="32"/>
                  </a:cubicBezTo>
                  <a:cubicBezTo>
                    <a:pt x="165" y="32"/>
                    <a:pt x="166" y="32"/>
                    <a:pt x="166" y="32"/>
                  </a:cubicBezTo>
                  <a:cubicBezTo>
                    <a:pt x="166" y="32"/>
                    <a:pt x="166" y="32"/>
                    <a:pt x="166" y="32"/>
                  </a:cubicBezTo>
                  <a:cubicBezTo>
                    <a:pt x="166" y="32"/>
                    <a:pt x="167" y="32"/>
                    <a:pt x="167" y="32"/>
                  </a:cubicBezTo>
                  <a:cubicBezTo>
                    <a:pt x="167" y="32"/>
                    <a:pt x="167" y="31"/>
                    <a:pt x="167" y="31"/>
                  </a:cubicBezTo>
                  <a:cubicBezTo>
                    <a:pt x="168" y="31"/>
                    <a:pt x="168" y="31"/>
                    <a:pt x="168" y="31"/>
                  </a:cubicBezTo>
                  <a:cubicBezTo>
                    <a:pt x="168" y="31"/>
                    <a:pt x="168" y="31"/>
                    <a:pt x="168" y="30"/>
                  </a:cubicBezTo>
                  <a:cubicBezTo>
                    <a:pt x="169" y="30"/>
                    <a:pt x="169" y="30"/>
                    <a:pt x="169" y="30"/>
                  </a:cubicBezTo>
                  <a:cubicBezTo>
                    <a:pt x="169" y="30"/>
                    <a:pt x="169" y="30"/>
                    <a:pt x="169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29"/>
                    <a:pt x="170" y="29"/>
                    <a:pt x="170" y="29"/>
                  </a:cubicBezTo>
                  <a:cubicBezTo>
                    <a:pt x="171" y="29"/>
                    <a:pt x="171" y="29"/>
                    <a:pt x="171" y="29"/>
                  </a:cubicBezTo>
                  <a:cubicBezTo>
                    <a:pt x="171" y="29"/>
                    <a:pt x="171" y="28"/>
                    <a:pt x="171" y="28"/>
                  </a:cubicBezTo>
                  <a:cubicBezTo>
                    <a:pt x="172" y="28"/>
                    <a:pt x="172" y="28"/>
                    <a:pt x="172" y="28"/>
                  </a:cubicBezTo>
                  <a:cubicBezTo>
                    <a:pt x="172" y="28"/>
                    <a:pt x="172" y="28"/>
                    <a:pt x="172" y="28"/>
                  </a:cubicBezTo>
                  <a:cubicBezTo>
                    <a:pt x="173" y="28"/>
                    <a:pt x="173" y="28"/>
                    <a:pt x="173" y="28"/>
                  </a:cubicBezTo>
                  <a:cubicBezTo>
                    <a:pt x="173" y="27"/>
                    <a:pt x="173" y="27"/>
                    <a:pt x="174" y="27"/>
                  </a:cubicBezTo>
                  <a:cubicBezTo>
                    <a:pt x="176" y="27"/>
                    <a:pt x="178" y="26"/>
                    <a:pt x="180" y="26"/>
                  </a:cubicBezTo>
                  <a:cubicBezTo>
                    <a:pt x="182" y="24"/>
                    <a:pt x="184" y="23"/>
                    <a:pt x="185" y="21"/>
                  </a:cubicBezTo>
                  <a:cubicBezTo>
                    <a:pt x="185" y="21"/>
                    <a:pt x="186" y="20"/>
                    <a:pt x="186" y="20"/>
                  </a:cubicBezTo>
                  <a:cubicBezTo>
                    <a:pt x="186" y="20"/>
                    <a:pt x="186" y="20"/>
                    <a:pt x="186" y="20"/>
                  </a:cubicBezTo>
                  <a:cubicBezTo>
                    <a:pt x="189" y="17"/>
                    <a:pt x="191" y="15"/>
                    <a:pt x="193" y="13"/>
                  </a:cubicBezTo>
                  <a:cubicBezTo>
                    <a:pt x="193" y="13"/>
                    <a:pt x="193" y="12"/>
                    <a:pt x="193" y="12"/>
                  </a:cubicBezTo>
                  <a:cubicBezTo>
                    <a:pt x="194" y="11"/>
                    <a:pt x="196" y="10"/>
                    <a:pt x="197" y="9"/>
                  </a:cubicBezTo>
                  <a:cubicBezTo>
                    <a:pt x="197" y="8"/>
                    <a:pt x="198" y="7"/>
                    <a:pt x="199" y="7"/>
                  </a:cubicBezTo>
                  <a:cubicBezTo>
                    <a:pt x="199" y="7"/>
                    <a:pt x="199" y="7"/>
                    <a:pt x="199" y="7"/>
                  </a:cubicBezTo>
                  <a:cubicBezTo>
                    <a:pt x="199" y="6"/>
                    <a:pt x="199" y="6"/>
                    <a:pt x="199" y="6"/>
                  </a:cubicBezTo>
                  <a:cubicBezTo>
                    <a:pt x="200" y="6"/>
                    <a:pt x="200" y="6"/>
                    <a:pt x="200" y="6"/>
                  </a:cubicBezTo>
                  <a:cubicBezTo>
                    <a:pt x="200" y="6"/>
                    <a:pt x="200" y="6"/>
                    <a:pt x="200" y="6"/>
                  </a:cubicBezTo>
                  <a:cubicBezTo>
                    <a:pt x="201" y="6"/>
                    <a:pt x="201" y="6"/>
                    <a:pt x="201" y="6"/>
                  </a:cubicBezTo>
                  <a:cubicBezTo>
                    <a:pt x="201" y="6"/>
                    <a:pt x="201" y="6"/>
                    <a:pt x="201" y="6"/>
                  </a:cubicBezTo>
                  <a:cubicBezTo>
                    <a:pt x="202" y="6"/>
                    <a:pt x="202" y="6"/>
                    <a:pt x="202" y="6"/>
                  </a:cubicBezTo>
                  <a:cubicBezTo>
                    <a:pt x="202" y="5"/>
                    <a:pt x="202" y="5"/>
                    <a:pt x="202" y="5"/>
                  </a:cubicBezTo>
                  <a:cubicBezTo>
                    <a:pt x="203" y="5"/>
                    <a:pt x="203" y="5"/>
                    <a:pt x="203" y="5"/>
                  </a:cubicBezTo>
                  <a:cubicBezTo>
                    <a:pt x="203" y="5"/>
                    <a:pt x="203" y="5"/>
                    <a:pt x="203" y="5"/>
                  </a:cubicBezTo>
                  <a:cubicBezTo>
                    <a:pt x="203" y="5"/>
                    <a:pt x="204" y="5"/>
                    <a:pt x="204" y="5"/>
                  </a:cubicBezTo>
                  <a:cubicBezTo>
                    <a:pt x="204" y="5"/>
                    <a:pt x="204" y="5"/>
                    <a:pt x="204" y="4"/>
                  </a:cubicBezTo>
                  <a:cubicBezTo>
                    <a:pt x="205" y="4"/>
                    <a:pt x="205" y="4"/>
                    <a:pt x="206" y="4"/>
                  </a:cubicBezTo>
                  <a:cubicBezTo>
                    <a:pt x="206" y="4"/>
                    <a:pt x="206" y="4"/>
                    <a:pt x="206" y="4"/>
                  </a:cubicBezTo>
                  <a:cubicBezTo>
                    <a:pt x="206" y="4"/>
                    <a:pt x="207" y="4"/>
                    <a:pt x="207" y="4"/>
                  </a:cubicBezTo>
                  <a:cubicBezTo>
                    <a:pt x="207" y="4"/>
                    <a:pt x="207" y="4"/>
                    <a:pt x="207" y="3"/>
                  </a:cubicBezTo>
                  <a:cubicBezTo>
                    <a:pt x="208" y="3"/>
                    <a:pt x="208" y="3"/>
                    <a:pt x="209" y="3"/>
                  </a:cubicBezTo>
                  <a:cubicBezTo>
                    <a:pt x="211" y="2"/>
                    <a:pt x="214" y="1"/>
                    <a:pt x="217" y="0"/>
                  </a:cubicBezTo>
                  <a:cubicBezTo>
                    <a:pt x="217" y="1"/>
                    <a:pt x="218" y="1"/>
                    <a:pt x="219" y="2"/>
                  </a:cubicBezTo>
                  <a:cubicBezTo>
                    <a:pt x="220" y="2"/>
                    <a:pt x="220" y="2"/>
                    <a:pt x="220" y="3"/>
                  </a:cubicBezTo>
                  <a:cubicBezTo>
                    <a:pt x="220" y="3"/>
                    <a:pt x="220" y="3"/>
                    <a:pt x="220" y="3"/>
                  </a:cubicBezTo>
                  <a:cubicBezTo>
                    <a:pt x="220" y="3"/>
                    <a:pt x="220" y="3"/>
                    <a:pt x="220" y="3"/>
                  </a:cubicBezTo>
                  <a:cubicBezTo>
                    <a:pt x="221" y="3"/>
                    <a:pt x="221" y="3"/>
                    <a:pt x="221" y="3"/>
                  </a:cubicBezTo>
                  <a:cubicBezTo>
                    <a:pt x="221" y="3"/>
                    <a:pt x="221" y="3"/>
                    <a:pt x="221" y="3"/>
                  </a:cubicBezTo>
                  <a:cubicBezTo>
                    <a:pt x="222" y="4"/>
                    <a:pt x="222" y="4"/>
                    <a:pt x="222" y="4"/>
                  </a:cubicBezTo>
                  <a:cubicBezTo>
                    <a:pt x="222" y="4"/>
                    <a:pt x="222" y="4"/>
                    <a:pt x="223" y="4"/>
                  </a:cubicBezTo>
                  <a:cubicBezTo>
                    <a:pt x="223" y="5"/>
                    <a:pt x="223" y="5"/>
                    <a:pt x="224" y="5"/>
                  </a:cubicBezTo>
                  <a:cubicBezTo>
                    <a:pt x="224" y="5"/>
                    <a:pt x="224" y="5"/>
                    <a:pt x="224" y="5"/>
                  </a:cubicBezTo>
                  <a:cubicBezTo>
                    <a:pt x="224" y="5"/>
                    <a:pt x="225" y="5"/>
                    <a:pt x="225" y="6"/>
                  </a:cubicBezTo>
                  <a:cubicBezTo>
                    <a:pt x="225" y="6"/>
                    <a:pt x="225" y="6"/>
                    <a:pt x="225" y="6"/>
                  </a:cubicBezTo>
                  <a:cubicBezTo>
                    <a:pt x="226" y="6"/>
                    <a:pt x="226" y="6"/>
                    <a:pt x="226" y="6"/>
                  </a:cubicBezTo>
                  <a:cubicBezTo>
                    <a:pt x="226" y="6"/>
                    <a:pt x="226" y="6"/>
                    <a:pt x="226" y="7"/>
                  </a:cubicBezTo>
                  <a:cubicBezTo>
                    <a:pt x="226" y="7"/>
                    <a:pt x="227" y="7"/>
                    <a:pt x="227" y="7"/>
                  </a:cubicBezTo>
                  <a:cubicBezTo>
                    <a:pt x="227" y="7"/>
                    <a:pt x="227" y="7"/>
                    <a:pt x="227" y="7"/>
                  </a:cubicBezTo>
                  <a:cubicBezTo>
                    <a:pt x="227" y="7"/>
                    <a:pt x="228" y="7"/>
                    <a:pt x="228" y="7"/>
                  </a:cubicBezTo>
                  <a:cubicBezTo>
                    <a:pt x="228" y="8"/>
                    <a:pt x="228" y="8"/>
                    <a:pt x="228" y="8"/>
                  </a:cubicBezTo>
                  <a:cubicBezTo>
                    <a:pt x="229" y="8"/>
                    <a:pt x="229" y="8"/>
                    <a:pt x="230" y="8"/>
                  </a:cubicBezTo>
                  <a:cubicBezTo>
                    <a:pt x="230" y="8"/>
                    <a:pt x="230" y="9"/>
                    <a:pt x="230" y="9"/>
                  </a:cubicBezTo>
                  <a:cubicBezTo>
                    <a:pt x="230" y="9"/>
                    <a:pt x="230" y="9"/>
                    <a:pt x="231" y="9"/>
                  </a:cubicBezTo>
                  <a:cubicBezTo>
                    <a:pt x="231" y="9"/>
                    <a:pt x="231" y="9"/>
                    <a:pt x="231" y="10"/>
                  </a:cubicBezTo>
                  <a:cubicBezTo>
                    <a:pt x="231" y="10"/>
                    <a:pt x="232" y="10"/>
                    <a:pt x="232" y="10"/>
                  </a:cubicBezTo>
                  <a:cubicBezTo>
                    <a:pt x="232" y="10"/>
                    <a:pt x="233" y="11"/>
                    <a:pt x="233" y="11"/>
                  </a:cubicBezTo>
                  <a:cubicBezTo>
                    <a:pt x="233" y="11"/>
                    <a:pt x="233" y="11"/>
                    <a:pt x="233" y="11"/>
                  </a:cubicBezTo>
                  <a:cubicBezTo>
                    <a:pt x="234" y="11"/>
                    <a:pt x="234" y="11"/>
                    <a:pt x="234" y="11"/>
                  </a:cubicBezTo>
                  <a:cubicBezTo>
                    <a:pt x="234" y="12"/>
                    <a:pt x="235" y="12"/>
                    <a:pt x="235" y="12"/>
                  </a:cubicBezTo>
                  <a:cubicBezTo>
                    <a:pt x="235" y="12"/>
                    <a:pt x="235" y="12"/>
                    <a:pt x="235" y="13"/>
                  </a:cubicBezTo>
                  <a:cubicBezTo>
                    <a:pt x="236" y="13"/>
                    <a:pt x="236" y="13"/>
                    <a:pt x="236" y="13"/>
                  </a:cubicBezTo>
                  <a:cubicBezTo>
                    <a:pt x="236" y="13"/>
                    <a:pt x="236" y="13"/>
                    <a:pt x="237" y="13"/>
                  </a:cubicBezTo>
                  <a:cubicBezTo>
                    <a:pt x="237" y="13"/>
                    <a:pt x="237" y="13"/>
                    <a:pt x="238" y="14"/>
                  </a:cubicBezTo>
                  <a:cubicBezTo>
                    <a:pt x="238" y="14"/>
                    <a:pt x="238" y="14"/>
                    <a:pt x="238" y="14"/>
                  </a:cubicBezTo>
                  <a:cubicBezTo>
                    <a:pt x="238" y="14"/>
                    <a:pt x="239" y="14"/>
                    <a:pt x="239" y="14"/>
                  </a:cubicBezTo>
                  <a:cubicBezTo>
                    <a:pt x="239" y="15"/>
                    <a:pt x="239" y="15"/>
                    <a:pt x="239" y="15"/>
                  </a:cubicBezTo>
                  <a:cubicBezTo>
                    <a:pt x="240" y="15"/>
                    <a:pt x="240" y="15"/>
                    <a:pt x="241" y="15"/>
                  </a:cubicBezTo>
                  <a:cubicBezTo>
                    <a:pt x="241" y="15"/>
                    <a:pt x="241" y="16"/>
                    <a:pt x="241" y="16"/>
                  </a:cubicBezTo>
                  <a:cubicBezTo>
                    <a:pt x="241" y="16"/>
                    <a:pt x="241" y="16"/>
                    <a:pt x="242" y="16"/>
                  </a:cubicBezTo>
                  <a:cubicBezTo>
                    <a:pt x="242" y="16"/>
                    <a:pt x="242" y="16"/>
                    <a:pt x="242" y="17"/>
                  </a:cubicBezTo>
                  <a:cubicBezTo>
                    <a:pt x="243" y="17"/>
                    <a:pt x="243" y="17"/>
                    <a:pt x="244" y="17"/>
                  </a:cubicBezTo>
                  <a:cubicBezTo>
                    <a:pt x="244" y="17"/>
                    <a:pt x="244" y="17"/>
                    <a:pt x="244" y="17"/>
                  </a:cubicBezTo>
                  <a:cubicBezTo>
                    <a:pt x="244" y="18"/>
                    <a:pt x="244" y="18"/>
                    <a:pt x="245" y="18"/>
                  </a:cubicBezTo>
                  <a:cubicBezTo>
                    <a:pt x="245" y="18"/>
                    <a:pt x="245" y="18"/>
                    <a:pt x="245" y="18"/>
                  </a:cubicBezTo>
                  <a:cubicBezTo>
                    <a:pt x="245" y="18"/>
                    <a:pt x="245" y="18"/>
                    <a:pt x="246" y="18"/>
                  </a:cubicBezTo>
                  <a:cubicBezTo>
                    <a:pt x="247" y="20"/>
                    <a:pt x="248" y="21"/>
                    <a:pt x="250" y="23"/>
                  </a:cubicBezTo>
                  <a:cubicBezTo>
                    <a:pt x="250" y="23"/>
                    <a:pt x="250" y="23"/>
                    <a:pt x="251" y="23"/>
                  </a:cubicBezTo>
                  <a:cubicBezTo>
                    <a:pt x="252" y="24"/>
                    <a:pt x="253" y="25"/>
                    <a:pt x="254" y="27"/>
                  </a:cubicBezTo>
                  <a:cubicBezTo>
                    <a:pt x="254" y="27"/>
                    <a:pt x="255" y="27"/>
                    <a:pt x="255" y="28"/>
                  </a:cubicBezTo>
                  <a:cubicBezTo>
                    <a:pt x="255" y="28"/>
                    <a:pt x="255" y="28"/>
                    <a:pt x="255" y="28"/>
                  </a:cubicBezTo>
                  <a:cubicBezTo>
                    <a:pt x="256" y="28"/>
                    <a:pt x="256" y="28"/>
                    <a:pt x="256" y="28"/>
                  </a:cubicBezTo>
                  <a:cubicBezTo>
                    <a:pt x="258" y="30"/>
                    <a:pt x="260" y="32"/>
                    <a:pt x="261" y="34"/>
                  </a:cubicBezTo>
                  <a:cubicBezTo>
                    <a:pt x="262" y="34"/>
                    <a:pt x="262" y="34"/>
                    <a:pt x="262" y="34"/>
                  </a:cubicBezTo>
                  <a:cubicBezTo>
                    <a:pt x="263" y="35"/>
                    <a:pt x="265" y="37"/>
                    <a:pt x="266" y="38"/>
                  </a:cubicBezTo>
                  <a:cubicBezTo>
                    <a:pt x="267" y="38"/>
                    <a:pt x="267" y="38"/>
                    <a:pt x="267" y="38"/>
                  </a:cubicBezTo>
                  <a:cubicBezTo>
                    <a:pt x="268" y="40"/>
                    <a:pt x="270" y="41"/>
                    <a:pt x="271" y="43"/>
                  </a:cubicBezTo>
                  <a:cubicBezTo>
                    <a:pt x="271" y="43"/>
                    <a:pt x="271" y="43"/>
                    <a:pt x="272" y="43"/>
                  </a:cubicBezTo>
                  <a:cubicBezTo>
                    <a:pt x="272" y="43"/>
                    <a:pt x="272" y="43"/>
                    <a:pt x="272" y="43"/>
                  </a:cubicBezTo>
                  <a:cubicBezTo>
                    <a:pt x="272" y="43"/>
                    <a:pt x="272" y="43"/>
                    <a:pt x="273" y="44"/>
                  </a:cubicBezTo>
                  <a:cubicBezTo>
                    <a:pt x="274" y="45"/>
                    <a:pt x="274" y="46"/>
                    <a:pt x="275" y="47"/>
                  </a:cubicBezTo>
                  <a:cubicBezTo>
                    <a:pt x="276" y="47"/>
                    <a:pt x="276" y="47"/>
                    <a:pt x="276" y="47"/>
                  </a:cubicBezTo>
                  <a:cubicBezTo>
                    <a:pt x="277" y="48"/>
                    <a:pt x="278" y="49"/>
                    <a:pt x="279" y="50"/>
                  </a:cubicBezTo>
                  <a:cubicBezTo>
                    <a:pt x="280" y="51"/>
                    <a:pt x="280" y="51"/>
                    <a:pt x="281" y="51"/>
                  </a:cubicBezTo>
                  <a:cubicBezTo>
                    <a:pt x="281" y="52"/>
                    <a:pt x="281" y="52"/>
                    <a:pt x="281" y="52"/>
                  </a:cubicBezTo>
                  <a:cubicBezTo>
                    <a:pt x="281" y="52"/>
                    <a:pt x="281" y="52"/>
                    <a:pt x="281" y="52"/>
                  </a:cubicBezTo>
                  <a:cubicBezTo>
                    <a:pt x="281" y="53"/>
                    <a:pt x="281" y="53"/>
                    <a:pt x="281" y="53"/>
                  </a:cubicBezTo>
                  <a:cubicBezTo>
                    <a:pt x="282" y="53"/>
                    <a:pt x="282" y="53"/>
                    <a:pt x="282" y="53"/>
                  </a:cubicBezTo>
                  <a:cubicBezTo>
                    <a:pt x="282" y="54"/>
                    <a:pt x="282" y="54"/>
                    <a:pt x="282" y="54"/>
                  </a:cubicBezTo>
                  <a:cubicBezTo>
                    <a:pt x="282" y="54"/>
                    <a:pt x="282" y="54"/>
                    <a:pt x="283" y="54"/>
                  </a:cubicBezTo>
                  <a:cubicBezTo>
                    <a:pt x="283" y="55"/>
                    <a:pt x="283" y="55"/>
                    <a:pt x="283" y="55"/>
                  </a:cubicBezTo>
                  <a:cubicBezTo>
                    <a:pt x="283" y="55"/>
                    <a:pt x="283" y="55"/>
                    <a:pt x="283" y="56"/>
                  </a:cubicBezTo>
                  <a:cubicBezTo>
                    <a:pt x="283" y="56"/>
                    <a:pt x="283" y="56"/>
                    <a:pt x="283" y="56"/>
                  </a:cubicBezTo>
                  <a:cubicBezTo>
                    <a:pt x="284" y="56"/>
                    <a:pt x="284" y="56"/>
                    <a:pt x="284" y="57"/>
                  </a:cubicBezTo>
                  <a:cubicBezTo>
                    <a:pt x="284" y="57"/>
                    <a:pt x="284" y="57"/>
                    <a:pt x="284" y="57"/>
                  </a:cubicBezTo>
                  <a:cubicBezTo>
                    <a:pt x="284" y="57"/>
                    <a:pt x="285" y="58"/>
                    <a:pt x="285" y="58"/>
                  </a:cubicBezTo>
                  <a:cubicBezTo>
                    <a:pt x="285" y="58"/>
                    <a:pt x="285" y="58"/>
                    <a:pt x="285" y="58"/>
                  </a:cubicBezTo>
                  <a:cubicBezTo>
                    <a:pt x="285" y="58"/>
                    <a:pt x="285" y="59"/>
                    <a:pt x="286" y="59"/>
                  </a:cubicBezTo>
                  <a:cubicBezTo>
                    <a:pt x="286" y="59"/>
                    <a:pt x="286" y="59"/>
                    <a:pt x="286" y="59"/>
                  </a:cubicBezTo>
                  <a:cubicBezTo>
                    <a:pt x="286" y="60"/>
                    <a:pt x="286" y="60"/>
                    <a:pt x="286" y="60"/>
                  </a:cubicBezTo>
                  <a:cubicBezTo>
                    <a:pt x="286" y="60"/>
                    <a:pt x="286" y="60"/>
                    <a:pt x="286" y="60"/>
                  </a:cubicBezTo>
                  <a:cubicBezTo>
                    <a:pt x="286" y="61"/>
                    <a:pt x="287" y="61"/>
                    <a:pt x="287" y="61"/>
                  </a:cubicBezTo>
                  <a:cubicBezTo>
                    <a:pt x="287" y="61"/>
                    <a:pt x="287" y="61"/>
                    <a:pt x="287" y="61"/>
                  </a:cubicBezTo>
                  <a:cubicBezTo>
                    <a:pt x="287" y="61"/>
                    <a:pt x="287" y="61"/>
                    <a:pt x="287" y="61"/>
                  </a:cubicBezTo>
                  <a:cubicBezTo>
                    <a:pt x="287" y="62"/>
                    <a:pt x="287" y="62"/>
                    <a:pt x="288" y="63"/>
                  </a:cubicBezTo>
                  <a:cubicBezTo>
                    <a:pt x="288" y="63"/>
                    <a:pt x="288" y="63"/>
                    <a:pt x="288" y="63"/>
                  </a:cubicBezTo>
                  <a:cubicBezTo>
                    <a:pt x="288" y="63"/>
                    <a:pt x="288" y="63"/>
                    <a:pt x="288" y="64"/>
                  </a:cubicBezTo>
                  <a:cubicBezTo>
                    <a:pt x="289" y="64"/>
                    <a:pt x="289" y="64"/>
                    <a:pt x="289" y="64"/>
                  </a:cubicBezTo>
                  <a:cubicBezTo>
                    <a:pt x="289" y="64"/>
                    <a:pt x="289" y="64"/>
                    <a:pt x="289" y="65"/>
                  </a:cubicBezTo>
                  <a:cubicBezTo>
                    <a:pt x="289" y="65"/>
                    <a:pt x="289" y="65"/>
                    <a:pt x="290" y="65"/>
                  </a:cubicBezTo>
                  <a:cubicBezTo>
                    <a:pt x="290" y="65"/>
                    <a:pt x="290" y="65"/>
                    <a:pt x="290" y="66"/>
                  </a:cubicBezTo>
                  <a:cubicBezTo>
                    <a:pt x="290" y="66"/>
                    <a:pt x="290" y="66"/>
                    <a:pt x="290" y="66"/>
                  </a:cubicBezTo>
                  <a:cubicBezTo>
                    <a:pt x="290" y="66"/>
                    <a:pt x="290" y="66"/>
                    <a:pt x="290" y="67"/>
                  </a:cubicBezTo>
                  <a:cubicBezTo>
                    <a:pt x="291" y="67"/>
                    <a:pt x="291" y="67"/>
                    <a:pt x="291" y="67"/>
                  </a:cubicBezTo>
                  <a:cubicBezTo>
                    <a:pt x="291" y="67"/>
                    <a:pt x="291" y="68"/>
                    <a:pt x="291" y="68"/>
                  </a:cubicBezTo>
                  <a:cubicBezTo>
                    <a:pt x="291" y="68"/>
                    <a:pt x="292" y="68"/>
                    <a:pt x="292" y="68"/>
                  </a:cubicBezTo>
                  <a:cubicBezTo>
                    <a:pt x="292" y="68"/>
                    <a:pt x="292" y="69"/>
                    <a:pt x="292" y="69"/>
                  </a:cubicBezTo>
                  <a:cubicBezTo>
                    <a:pt x="292" y="69"/>
                    <a:pt x="292" y="69"/>
                    <a:pt x="293" y="69"/>
                  </a:cubicBezTo>
                  <a:cubicBezTo>
                    <a:pt x="293" y="69"/>
                    <a:pt x="293" y="70"/>
                    <a:pt x="293" y="70"/>
                  </a:cubicBezTo>
                  <a:cubicBezTo>
                    <a:pt x="293" y="70"/>
                    <a:pt x="293" y="70"/>
                    <a:pt x="293" y="70"/>
                  </a:cubicBezTo>
                  <a:cubicBezTo>
                    <a:pt x="293" y="70"/>
                    <a:pt x="293" y="71"/>
                    <a:pt x="293" y="71"/>
                  </a:cubicBezTo>
                  <a:cubicBezTo>
                    <a:pt x="293" y="71"/>
                    <a:pt x="294" y="71"/>
                    <a:pt x="294" y="71"/>
                  </a:cubicBezTo>
                  <a:cubicBezTo>
                    <a:pt x="294" y="72"/>
                    <a:pt x="294" y="72"/>
                    <a:pt x="294" y="72"/>
                  </a:cubicBezTo>
                  <a:cubicBezTo>
                    <a:pt x="294" y="72"/>
                    <a:pt x="294" y="72"/>
                    <a:pt x="294" y="72"/>
                  </a:cubicBezTo>
                  <a:cubicBezTo>
                    <a:pt x="294" y="72"/>
                    <a:pt x="294" y="73"/>
                    <a:pt x="295" y="73"/>
                  </a:cubicBezTo>
                  <a:cubicBezTo>
                    <a:pt x="295" y="73"/>
                    <a:pt x="295" y="73"/>
                    <a:pt x="295" y="73"/>
                  </a:cubicBezTo>
                  <a:cubicBezTo>
                    <a:pt x="297" y="82"/>
                    <a:pt x="298" y="91"/>
                    <a:pt x="299" y="100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</a:ln>
            <a:effectLst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64800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40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0000"/>
                </a:solidFill>
                <a:latin typeface="UKIJ Qolyazma" pitchFamily="18" charset="0"/>
                <a:cs typeface="UKIJ Qolyazma" pitchFamily="18" charset="0"/>
              </a:endParaRPr>
            </a:p>
          </p:txBody>
        </p:sp>
        <p:sp>
          <p:nvSpPr>
            <p:cNvPr id="118" name="Freeform 29">
              <a:extLst>
                <a:ext uri="{FF2B5EF4-FFF2-40B4-BE49-F238E27FC236}">
                  <a16:creationId xmlns:a16="http://schemas.microsoft.com/office/drawing/2014/main" id="{F1BC88B4-0D92-0BE5-82B1-51ED638EC0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1147" y="2621430"/>
              <a:ext cx="986105" cy="769944"/>
            </a:xfrm>
            <a:custGeom>
              <a:avLst/>
              <a:gdLst>
                <a:gd name="T0" fmla="*/ 253 w 453"/>
                <a:gd name="T1" fmla="*/ 66 h 354"/>
                <a:gd name="T2" fmla="*/ 311 w 453"/>
                <a:gd name="T3" fmla="*/ 111 h 354"/>
                <a:gd name="T4" fmla="*/ 314 w 453"/>
                <a:gd name="T5" fmla="*/ 118 h 354"/>
                <a:gd name="T6" fmla="*/ 353 w 453"/>
                <a:gd name="T7" fmla="*/ 137 h 354"/>
                <a:gd name="T8" fmla="*/ 360 w 453"/>
                <a:gd name="T9" fmla="*/ 147 h 354"/>
                <a:gd name="T10" fmla="*/ 413 w 453"/>
                <a:gd name="T11" fmla="*/ 158 h 354"/>
                <a:gd name="T12" fmla="*/ 421 w 453"/>
                <a:gd name="T13" fmla="*/ 213 h 354"/>
                <a:gd name="T14" fmla="*/ 432 w 453"/>
                <a:gd name="T15" fmla="*/ 221 h 354"/>
                <a:gd name="T16" fmla="*/ 444 w 453"/>
                <a:gd name="T17" fmla="*/ 229 h 354"/>
                <a:gd name="T18" fmla="*/ 451 w 453"/>
                <a:gd name="T19" fmla="*/ 243 h 354"/>
                <a:gd name="T20" fmla="*/ 440 w 453"/>
                <a:gd name="T21" fmla="*/ 259 h 354"/>
                <a:gd name="T22" fmla="*/ 423 w 453"/>
                <a:gd name="T23" fmla="*/ 268 h 354"/>
                <a:gd name="T24" fmla="*/ 398 w 453"/>
                <a:gd name="T25" fmla="*/ 275 h 354"/>
                <a:gd name="T26" fmla="*/ 388 w 453"/>
                <a:gd name="T27" fmla="*/ 281 h 354"/>
                <a:gd name="T28" fmla="*/ 378 w 453"/>
                <a:gd name="T29" fmla="*/ 287 h 354"/>
                <a:gd name="T30" fmla="*/ 371 w 453"/>
                <a:gd name="T31" fmla="*/ 290 h 354"/>
                <a:gd name="T32" fmla="*/ 362 w 453"/>
                <a:gd name="T33" fmla="*/ 297 h 354"/>
                <a:gd name="T34" fmla="*/ 352 w 453"/>
                <a:gd name="T35" fmla="*/ 303 h 354"/>
                <a:gd name="T36" fmla="*/ 338 w 453"/>
                <a:gd name="T37" fmla="*/ 309 h 354"/>
                <a:gd name="T38" fmla="*/ 290 w 453"/>
                <a:gd name="T39" fmla="*/ 298 h 354"/>
                <a:gd name="T40" fmla="*/ 270 w 453"/>
                <a:gd name="T41" fmla="*/ 294 h 354"/>
                <a:gd name="T42" fmla="*/ 184 w 453"/>
                <a:gd name="T43" fmla="*/ 292 h 354"/>
                <a:gd name="T44" fmla="*/ 174 w 453"/>
                <a:gd name="T45" fmla="*/ 299 h 354"/>
                <a:gd name="T46" fmla="*/ 164 w 453"/>
                <a:gd name="T47" fmla="*/ 306 h 354"/>
                <a:gd name="T48" fmla="*/ 153 w 453"/>
                <a:gd name="T49" fmla="*/ 314 h 354"/>
                <a:gd name="T50" fmla="*/ 141 w 453"/>
                <a:gd name="T51" fmla="*/ 317 h 354"/>
                <a:gd name="T52" fmla="*/ 133 w 453"/>
                <a:gd name="T53" fmla="*/ 321 h 354"/>
                <a:gd name="T54" fmla="*/ 122 w 453"/>
                <a:gd name="T55" fmla="*/ 324 h 354"/>
                <a:gd name="T56" fmla="*/ 108 w 453"/>
                <a:gd name="T57" fmla="*/ 331 h 354"/>
                <a:gd name="T58" fmla="*/ 98 w 453"/>
                <a:gd name="T59" fmla="*/ 337 h 354"/>
                <a:gd name="T60" fmla="*/ 89 w 453"/>
                <a:gd name="T61" fmla="*/ 344 h 354"/>
                <a:gd name="T62" fmla="*/ 79 w 453"/>
                <a:gd name="T63" fmla="*/ 350 h 354"/>
                <a:gd name="T64" fmla="*/ 69 w 453"/>
                <a:gd name="T65" fmla="*/ 349 h 354"/>
                <a:gd name="T66" fmla="*/ 65 w 453"/>
                <a:gd name="T67" fmla="*/ 342 h 354"/>
                <a:gd name="T68" fmla="*/ 61 w 453"/>
                <a:gd name="T69" fmla="*/ 334 h 354"/>
                <a:gd name="T70" fmla="*/ 55 w 453"/>
                <a:gd name="T71" fmla="*/ 315 h 354"/>
                <a:gd name="T72" fmla="*/ 70 w 453"/>
                <a:gd name="T73" fmla="*/ 301 h 354"/>
                <a:gd name="T74" fmla="*/ 64 w 453"/>
                <a:gd name="T75" fmla="*/ 273 h 354"/>
                <a:gd name="T76" fmla="*/ 42 w 453"/>
                <a:gd name="T77" fmla="*/ 250 h 354"/>
                <a:gd name="T78" fmla="*/ 35 w 453"/>
                <a:gd name="T79" fmla="*/ 238 h 354"/>
                <a:gd name="T80" fmla="*/ 30 w 453"/>
                <a:gd name="T81" fmla="*/ 223 h 354"/>
                <a:gd name="T82" fmla="*/ 25 w 453"/>
                <a:gd name="T83" fmla="*/ 214 h 354"/>
                <a:gd name="T84" fmla="*/ 12 w 453"/>
                <a:gd name="T85" fmla="*/ 210 h 354"/>
                <a:gd name="T86" fmla="*/ 0 w 453"/>
                <a:gd name="T87" fmla="*/ 203 h 354"/>
                <a:gd name="T88" fmla="*/ 12 w 453"/>
                <a:gd name="T89" fmla="*/ 183 h 354"/>
                <a:gd name="T90" fmla="*/ 18 w 453"/>
                <a:gd name="T91" fmla="*/ 172 h 354"/>
                <a:gd name="T92" fmla="*/ 22 w 453"/>
                <a:gd name="T93" fmla="*/ 164 h 354"/>
                <a:gd name="T94" fmla="*/ 26 w 453"/>
                <a:gd name="T95" fmla="*/ 116 h 354"/>
                <a:gd name="T96" fmla="*/ 56 w 453"/>
                <a:gd name="T97" fmla="*/ 83 h 354"/>
                <a:gd name="T98" fmla="*/ 103 w 453"/>
                <a:gd name="T99" fmla="*/ 37 h 354"/>
                <a:gd name="T100" fmla="*/ 113 w 453"/>
                <a:gd name="T101" fmla="*/ 31 h 354"/>
                <a:gd name="T102" fmla="*/ 120 w 453"/>
                <a:gd name="T103" fmla="*/ 28 h 354"/>
                <a:gd name="T104" fmla="*/ 126 w 453"/>
                <a:gd name="T105" fmla="*/ 24 h 354"/>
                <a:gd name="T106" fmla="*/ 133 w 453"/>
                <a:gd name="T107" fmla="*/ 21 h 354"/>
                <a:gd name="T108" fmla="*/ 142 w 453"/>
                <a:gd name="T109" fmla="*/ 17 h 354"/>
                <a:gd name="T110" fmla="*/ 149 w 453"/>
                <a:gd name="T111" fmla="*/ 14 h 354"/>
                <a:gd name="T112" fmla="*/ 158 w 453"/>
                <a:gd name="T113" fmla="*/ 9 h 354"/>
                <a:gd name="T114" fmla="*/ 167 w 453"/>
                <a:gd name="T115" fmla="*/ 5 h 354"/>
                <a:gd name="T116" fmla="*/ 217 w 453"/>
                <a:gd name="T117" fmla="*/ 2 h 354"/>
                <a:gd name="T118" fmla="*/ 229 w 453"/>
                <a:gd name="T119" fmla="*/ 11 h 354"/>
                <a:gd name="T120" fmla="*/ 245 w 453"/>
                <a:gd name="T121" fmla="*/ 25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53" h="354">
                  <a:moveTo>
                    <a:pt x="256" y="34"/>
                  </a:moveTo>
                  <a:cubicBezTo>
                    <a:pt x="256" y="36"/>
                    <a:pt x="256" y="38"/>
                    <a:pt x="256" y="39"/>
                  </a:cubicBezTo>
                  <a:cubicBezTo>
                    <a:pt x="255" y="39"/>
                    <a:pt x="255" y="39"/>
                    <a:pt x="255" y="39"/>
                  </a:cubicBezTo>
                  <a:cubicBezTo>
                    <a:pt x="255" y="41"/>
                    <a:pt x="255" y="42"/>
                    <a:pt x="255" y="43"/>
                  </a:cubicBezTo>
                  <a:cubicBezTo>
                    <a:pt x="255" y="43"/>
                    <a:pt x="255" y="43"/>
                    <a:pt x="255" y="43"/>
                  </a:cubicBezTo>
                  <a:cubicBezTo>
                    <a:pt x="255" y="44"/>
                    <a:pt x="255" y="46"/>
                    <a:pt x="255" y="47"/>
                  </a:cubicBezTo>
                  <a:cubicBezTo>
                    <a:pt x="255" y="47"/>
                    <a:pt x="255" y="47"/>
                    <a:pt x="255" y="47"/>
                  </a:cubicBezTo>
                  <a:cubicBezTo>
                    <a:pt x="255" y="48"/>
                    <a:pt x="255" y="49"/>
                    <a:pt x="255" y="51"/>
                  </a:cubicBezTo>
                  <a:cubicBezTo>
                    <a:pt x="254" y="51"/>
                    <a:pt x="254" y="51"/>
                    <a:pt x="254" y="51"/>
                  </a:cubicBezTo>
                  <a:cubicBezTo>
                    <a:pt x="254" y="52"/>
                    <a:pt x="254" y="53"/>
                    <a:pt x="254" y="54"/>
                  </a:cubicBezTo>
                  <a:cubicBezTo>
                    <a:pt x="254" y="54"/>
                    <a:pt x="254" y="54"/>
                    <a:pt x="254" y="54"/>
                  </a:cubicBezTo>
                  <a:cubicBezTo>
                    <a:pt x="254" y="56"/>
                    <a:pt x="254" y="57"/>
                    <a:pt x="254" y="58"/>
                  </a:cubicBezTo>
                  <a:cubicBezTo>
                    <a:pt x="254" y="58"/>
                    <a:pt x="254" y="58"/>
                    <a:pt x="253" y="58"/>
                  </a:cubicBezTo>
                  <a:cubicBezTo>
                    <a:pt x="253" y="59"/>
                    <a:pt x="253" y="61"/>
                    <a:pt x="253" y="62"/>
                  </a:cubicBezTo>
                  <a:cubicBezTo>
                    <a:pt x="253" y="62"/>
                    <a:pt x="253" y="62"/>
                    <a:pt x="253" y="62"/>
                  </a:cubicBezTo>
                  <a:cubicBezTo>
                    <a:pt x="253" y="63"/>
                    <a:pt x="253" y="64"/>
                    <a:pt x="253" y="66"/>
                  </a:cubicBezTo>
                  <a:cubicBezTo>
                    <a:pt x="253" y="66"/>
                    <a:pt x="253" y="66"/>
                    <a:pt x="253" y="66"/>
                  </a:cubicBezTo>
                  <a:cubicBezTo>
                    <a:pt x="253" y="67"/>
                    <a:pt x="253" y="68"/>
                    <a:pt x="253" y="69"/>
                  </a:cubicBezTo>
                  <a:cubicBezTo>
                    <a:pt x="253" y="69"/>
                    <a:pt x="253" y="69"/>
                    <a:pt x="252" y="69"/>
                  </a:cubicBezTo>
                  <a:cubicBezTo>
                    <a:pt x="252" y="71"/>
                    <a:pt x="252" y="72"/>
                    <a:pt x="252" y="73"/>
                  </a:cubicBezTo>
                  <a:cubicBezTo>
                    <a:pt x="252" y="73"/>
                    <a:pt x="252" y="73"/>
                    <a:pt x="252" y="73"/>
                  </a:cubicBezTo>
                  <a:cubicBezTo>
                    <a:pt x="252" y="80"/>
                    <a:pt x="252" y="87"/>
                    <a:pt x="252" y="94"/>
                  </a:cubicBezTo>
                  <a:cubicBezTo>
                    <a:pt x="255" y="94"/>
                    <a:pt x="258" y="94"/>
                    <a:pt x="262" y="94"/>
                  </a:cubicBezTo>
                  <a:cubicBezTo>
                    <a:pt x="262" y="93"/>
                    <a:pt x="262" y="93"/>
                    <a:pt x="262" y="93"/>
                  </a:cubicBezTo>
                  <a:cubicBezTo>
                    <a:pt x="263" y="93"/>
                    <a:pt x="265" y="93"/>
                    <a:pt x="266" y="93"/>
                  </a:cubicBezTo>
                  <a:cubicBezTo>
                    <a:pt x="266" y="93"/>
                    <a:pt x="266" y="93"/>
                    <a:pt x="266" y="93"/>
                  </a:cubicBezTo>
                  <a:cubicBezTo>
                    <a:pt x="268" y="93"/>
                    <a:pt x="269" y="93"/>
                    <a:pt x="270" y="93"/>
                  </a:cubicBezTo>
                  <a:cubicBezTo>
                    <a:pt x="271" y="93"/>
                    <a:pt x="271" y="93"/>
                    <a:pt x="271" y="93"/>
                  </a:cubicBezTo>
                  <a:cubicBezTo>
                    <a:pt x="271" y="93"/>
                    <a:pt x="271" y="93"/>
                    <a:pt x="271" y="93"/>
                  </a:cubicBezTo>
                  <a:cubicBezTo>
                    <a:pt x="273" y="93"/>
                    <a:pt x="275" y="93"/>
                    <a:pt x="276" y="93"/>
                  </a:cubicBezTo>
                  <a:cubicBezTo>
                    <a:pt x="276" y="92"/>
                    <a:pt x="276" y="92"/>
                    <a:pt x="276" y="92"/>
                  </a:cubicBezTo>
                  <a:cubicBezTo>
                    <a:pt x="285" y="92"/>
                    <a:pt x="295" y="92"/>
                    <a:pt x="304" y="92"/>
                  </a:cubicBezTo>
                  <a:cubicBezTo>
                    <a:pt x="305" y="96"/>
                    <a:pt x="307" y="101"/>
                    <a:pt x="309" y="105"/>
                  </a:cubicBezTo>
                  <a:cubicBezTo>
                    <a:pt x="310" y="107"/>
                    <a:pt x="310" y="109"/>
                    <a:pt x="311" y="111"/>
                  </a:cubicBezTo>
                  <a:cubicBezTo>
                    <a:pt x="311" y="111"/>
                    <a:pt x="311" y="111"/>
                    <a:pt x="312" y="111"/>
                  </a:cubicBezTo>
                  <a:cubicBezTo>
                    <a:pt x="312" y="111"/>
                    <a:pt x="312" y="112"/>
                    <a:pt x="312" y="112"/>
                  </a:cubicBezTo>
                  <a:cubicBezTo>
                    <a:pt x="312" y="112"/>
                    <a:pt x="312" y="112"/>
                    <a:pt x="312" y="112"/>
                  </a:cubicBezTo>
                  <a:cubicBezTo>
                    <a:pt x="312" y="112"/>
                    <a:pt x="312" y="112"/>
                    <a:pt x="312" y="113"/>
                  </a:cubicBezTo>
                  <a:cubicBezTo>
                    <a:pt x="312" y="113"/>
                    <a:pt x="312" y="113"/>
                    <a:pt x="312" y="113"/>
                  </a:cubicBezTo>
                  <a:cubicBezTo>
                    <a:pt x="312" y="113"/>
                    <a:pt x="312" y="113"/>
                    <a:pt x="312" y="114"/>
                  </a:cubicBezTo>
                  <a:cubicBezTo>
                    <a:pt x="312" y="114"/>
                    <a:pt x="312" y="114"/>
                    <a:pt x="313" y="114"/>
                  </a:cubicBezTo>
                  <a:cubicBezTo>
                    <a:pt x="313" y="114"/>
                    <a:pt x="313" y="114"/>
                    <a:pt x="313" y="115"/>
                  </a:cubicBezTo>
                  <a:cubicBezTo>
                    <a:pt x="313" y="115"/>
                    <a:pt x="313" y="115"/>
                    <a:pt x="313" y="115"/>
                  </a:cubicBezTo>
                  <a:cubicBezTo>
                    <a:pt x="313" y="115"/>
                    <a:pt x="313" y="115"/>
                    <a:pt x="313" y="115"/>
                  </a:cubicBezTo>
                  <a:cubicBezTo>
                    <a:pt x="313" y="115"/>
                    <a:pt x="313" y="115"/>
                    <a:pt x="313" y="115"/>
                  </a:cubicBezTo>
                  <a:cubicBezTo>
                    <a:pt x="313" y="116"/>
                    <a:pt x="313" y="116"/>
                    <a:pt x="313" y="116"/>
                  </a:cubicBezTo>
                  <a:cubicBezTo>
                    <a:pt x="313" y="116"/>
                    <a:pt x="313" y="116"/>
                    <a:pt x="314" y="116"/>
                  </a:cubicBezTo>
                  <a:cubicBezTo>
                    <a:pt x="314" y="117"/>
                    <a:pt x="314" y="117"/>
                    <a:pt x="314" y="117"/>
                  </a:cubicBezTo>
                  <a:cubicBezTo>
                    <a:pt x="314" y="117"/>
                    <a:pt x="314" y="117"/>
                    <a:pt x="314" y="117"/>
                  </a:cubicBezTo>
                  <a:cubicBezTo>
                    <a:pt x="314" y="117"/>
                    <a:pt x="314" y="118"/>
                    <a:pt x="314" y="118"/>
                  </a:cubicBezTo>
                  <a:cubicBezTo>
                    <a:pt x="314" y="118"/>
                    <a:pt x="314" y="118"/>
                    <a:pt x="314" y="118"/>
                  </a:cubicBezTo>
                  <a:cubicBezTo>
                    <a:pt x="314" y="119"/>
                    <a:pt x="315" y="119"/>
                    <a:pt x="315" y="120"/>
                  </a:cubicBezTo>
                  <a:cubicBezTo>
                    <a:pt x="315" y="120"/>
                    <a:pt x="315" y="120"/>
                    <a:pt x="315" y="120"/>
                  </a:cubicBezTo>
                  <a:cubicBezTo>
                    <a:pt x="315" y="120"/>
                    <a:pt x="315" y="120"/>
                    <a:pt x="315" y="121"/>
                  </a:cubicBezTo>
                  <a:cubicBezTo>
                    <a:pt x="315" y="121"/>
                    <a:pt x="315" y="121"/>
                    <a:pt x="315" y="121"/>
                  </a:cubicBezTo>
                  <a:cubicBezTo>
                    <a:pt x="315" y="121"/>
                    <a:pt x="315" y="121"/>
                    <a:pt x="315" y="122"/>
                  </a:cubicBezTo>
                  <a:cubicBezTo>
                    <a:pt x="315" y="122"/>
                    <a:pt x="316" y="122"/>
                    <a:pt x="316" y="122"/>
                  </a:cubicBezTo>
                  <a:cubicBezTo>
                    <a:pt x="316" y="122"/>
                    <a:pt x="316" y="123"/>
                    <a:pt x="316" y="124"/>
                  </a:cubicBezTo>
                  <a:cubicBezTo>
                    <a:pt x="317" y="124"/>
                    <a:pt x="317" y="124"/>
                    <a:pt x="317" y="124"/>
                  </a:cubicBezTo>
                  <a:cubicBezTo>
                    <a:pt x="317" y="124"/>
                    <a:pt x="317" y="124"/>
                    <a:pt x="317" y="124"/>
                  </a:cubicBezTo>
                  <a:cubicBezTo>
                    <a:pt x="317" y="124"/>
                    <a:pt x="317" y="124"/>
                    <a:pt x="317" y="124"/>
                  </a:cubicBezTo>
                  <a:cubicBezTo>
                    <a:pt x="317" y="125"/>
                    <a:pt x="317" y="125"/>
                    <a:pt x="317" y="125"/>
                  </a:cubicBezTo>
                  <a:cubicBezTo>
                    <a:pt x="317" y="125"/>
                    <a:pt x="317" y="125"/>
                    <a:pt x="317" y="125"/>
                  </a:cubicBezTo>
                  <a:cubicBezTo>
                    <a:pt x="317" y="125"/>
                    <a:pt x="317" y="126"/>
                    <a:pt x="317" y="126"/>
                  </a:cubicBezTo>
                  <a:cubicBezTo>
                    <a:pt x="318" y="126"/>
                    <a:pt x="318" y="126"/>
                    <a:pt x="318" y="126"/>
                  </a:cubicBezTo>
                  <a:cubicBezTo>
                    <a:pt x="318" y="126"/>
                    <a:pt x="318" y="126"/>
                    <a:pt x="318" y="126"/>
                  </a:cubicBezTo>
                  <a:cubicBezTo>
                    <a:pt x="319" y="129"/>
                    <a:pt x="321" y="132"/>
                    <a:pt x="322" y="135"/>
                  </a:cubicBezTo>
                  <a:cubicBezTo>
                    <a:pt x="333" y="136"/>
                    <a:pt x="343" y="136"/>
                    <a:pt x="353" y="137"/>
                  </a:cubicBezTo>
                  <a:cubicBezTo>
                    <a:pt x="354" y="137"/>
                    <a:pt x="354" y="138"/>
                    <a:pt x="354" y="138"/>
                  </a:cubicBezTo>
                  <a:cubicBezTo>
                    <a:pt x="354" y="138"/>
                    <a:pt x="354" y="138"/>
                    <a:pt x="355" y="138"/>
                  </a:cubicBezTo>
                  <a:cubicBezTo>
                    <a:pt x="355" y="138"/>
                    <a:pt x="355" y="139"/>
                    <a:pt x="355" y="139"/>
                  </a:cubicBezTo>
                  <a:cubicBezTo>
                    <a:pt x="355" y="140"/>
                    <a:pt x="355" y="140"/>
                    <a:pt x="356" y="140"/>
                  </a:cubicBezTo>
                  <a:cubicBezTo>
                    <a:pt x="356" y="140"/>
                    <a:pt x="356" y="140"/>
                    <a:pt x="356" y="140"/>
                  </a:cubicBezTo>
                  <a:cubicBezTo>
                    <a:pt x="356" y="141"/>
                    <a:pt x="356" y="141"/>
                    <a:pt x="356" y="141"/>
                  </a:cubicBezTo>
                  <a:cubicBezTo>
                    <a:pt x="356" y="141"/>
                    <a:pt x="357" y="142"/>
                    <a:pt x="357" y="142"/>
                  </a:cubicBezTo>
                  <a:cubicBezTo>
                    <a:pt x="357" y="142"/>
                    <a:pt x="357" y="142"/>
                    <a:pt x="357" y="142"/>
                  </a:cubicBezTo>
                  <a:cubicBezTo>
                    <a:pt x="357" y="143"/>
                    <a:pt x="357" y="143"/>
                    <a:pt x="357" y="143"/>
                  </a:cubicBezTo>
                  <a:cubicBezTo>
                    <a:pt x="358" y="143"/>
                    <a:pt x="358" y="143"/>
                    <a:pt x="358" y="144"/>
                  </a:cubicBezTo>
                  <a:cubicBezTo>
                    <a:pt x="358" y="144"/>
                    <a:pt x="358" y="144"/>
                    <a:pt x="358" y="144"/>
                  </a:cubicBezTo>
                  <a:cubicBezTo>
                    <a:pt x="358" y="144"/>
                    <a:pt x="358" y="145"/>
                    <a:pt x="359" y="145"/>
                  </a:cubicBezTo>
                  <a:cubicBezTo>
                    <a:pt x="359" y="145"/>
                    <a:pt x="359" y="145"/>
                    <a:pt x="359" y="145"/>
                  </a:cubicBezTo>
                  <a:cubicBezTo>
                    <a:pt x="359" y="145"/>
                    <a:pt x="359" y="145"/>
                    <a:pt x="359" y="145"/>
                  </a:cubicBezTo>
                  <a:cubicBezTo>
                    <a:pt x="359" y="146"/>
                    <a:pt x="359" y="146"/>
                    <a:pt x="359" y="146"/>
                  </a:cubicBezTo>
                  <a:cubicBezTo>
                    <a:pt x="359" y="146"/>
                    <a:pt x="360" y="146"/>
                    <a:pt x="360" y="146"/>
                  </a:cubicBezTo>
                  <a:cubicBezTo>
                    <a:pt x="360" y="147"/>
                    <a:pt x="360" y="147"/>
                    <a:pt x="360" y="147"/>
                  </a:cubicBezTo>
                  <a:cubicBezTo>
                    <a:pt x="360" y="147"/>
                    <a:pt x="360" y="147"/>
                    <a:pt x="360" y="147"/>
                  </a:cubicBezTo>
                  <a:cubicBezTo>
                    <a:pt x="361" y="148"/>
                    <a:pt x="361" y="148"/>
                    <a:pt x="361" y="149"/>
                  </a:cubicBezTo>
                  <a:cubicBezTo>
                    <a:pt x="361" y="149"/>
                    <a:pt x="361" y="149"/>
                    <a:pt x="362" y="149"/>
                  </a:cubicBezTo>
                  <a:cubicBezTo>
                    <a:pt x="362" y="149"/>
                    <a:pt x="362" y="150"/>
                    <a:pt x="362" y="150"/>
                  </a:cubicBezTo>
                  <a:cubicBezTo>
                    <a:pt x="362" y="150"/>
                    <a:pt x="362" y="150"/>
                    <a:pt x="362" y="150"/>
                  </a:cubicBezTo>
                  <a:cubicBezTo>
                    <a:pt x="362" y="151"/>
                    <a:pt x="362" y="151"/>
                    <a:pt x="363" y="151"/>
                  </a:cubicBezTo>
                  <a:cubicBezTo>
                    <a:pt x="363" y="151"/>
                    <a:pt x="363" y="151"/>
                    <a:pt x="363" y="151"/>
                  </a:cubicBezTo>
                  <a:cubicBezTo>
                    <a:pt x="363" y="152"/>
                    <a:pt x="363" y="152"/>
                    <a:pt x="363" y="153"/>
                  </a:cubicBezTo>
                  <a:cubicBezTo>
                    <a:pt x="364" y="153"/>
                    <a:pt x="364" y="153"/>
                    <a:pt x="364" y="153"/>
                  </a:cubicBezTo>
                  <a:cubicBezTo>
                    <a:pt x="364" y="154"/>
                    <a:pt x="365" y="155"/>
                    <a:pt x="365" y="156"/>
                  </a:cubicBezTo>
                  <a:cubicBezTo>
                    <a:pt x="379" y="155"/>
                    <a:pt x="393" y="154"/>
                    <a:pt x="407" y="153"/>
                  </a:cubicBezTo>
                  <a:cubicBezTo>
                    <a:pt x="408" y="154"/>
                    <a:pt x="409" y="155"/>
                    <a:pt x="410" y="156"/>
                  </a:cubicBezTo>
                  <a:cubicBezTo>
                    <a:pt x="411" y="156"/>
                    <a:pt x="411" y="156"/>
                    <a:pt x="411" y="156"/>
                  </a:cubicBezTo>
                  <a:cubicBezTo>
                    <a:pt x="411" y="156"/>
                    <a:pt x="411" y="156"/>
                    <a:pt x="412" y="156"/>
                  </a:cubicBezTo>
                  <a:cubicBezTo>
                    <a:pt x="412" y="156"/>
                    <a:pt x="412" y="157"/>
                    <a:pt x="412" y="157"/>
                  </a:cubicBezTo>
                  <a:cubicBezTo>
                    <a:pt x="412" y="157"/>
                    <a:pt x="412" y="157"/>
                    <a:pt x="413" y="157"/>
                  </a:cubicBezTo>
                  <a:cubicBezTo>
                    <a:pt x="413" y="157"/>
                    <a:pt x="413" y="157"/>
                    <a:pt x="413" y="158"/>
                  </a:cubicBezTo>
                  <a:cubicBezTo>
                    <a:pt x="413" y="158"/>
                    <a:pt x="413" y="158"/>
                    <a:pt x="414" y="158"/>
                  </a:cubicBezTo>
                  <a:cubicBezTo>
                    <a:pt x="414" y="158"/>
                    <a:pt x="414" y="158"/>
                    <a:pt x="414" y="158"/>
                  </a:cubicBezTo>
                  <a:cubicBezTo>
                    <a:pt x="414" y="158"/>
                    <a:pt x="414" y="158"/>
                    <a:pt x="415" y="158"/>
                  </a:cubicBezTo>
                  <a:cubicBezTo>
                    <a:pt x="415" y="159"/>
                    <a:pt x="415" y="159"/>
                    <a:pt x="415" y="159"/>
                  </a:cubicBezTo>
                  <a:cubicBezTo>
                    <a:pt x="415" y="159"/>
                    <a:pt x="416" y="159"/>
                    <a:pt x="416" y="159"/>
                  </a:cubicBezTo>
                  <a:cubicBezTo>
                    <a:pt x="416" y="159"/>
                    <a:pt x="416" y="159"/>
                    <a:pt x="416" y="160"/>
                  </a:cubicBezTo>
                  <a:cubicBezTo>
                    <a:pt x="416" y="160"/>
                    <a:pt x="417" y="160"/>
                    <a:pt x="417" y="160"/>
                  </a:cubicBezTo>
                  <a:cubicBezTo>
                    <a:pt x="417" y="160"/>
                    <a:pt x="417" y="160"/>
                    <a:pt x="417" y="160"/>
                  </a:cubicBezTo>
                  <a:cubicBezTo>
                    <a:pt x="417" y="160"/>
                    <a:pt x="417" y="160"/>
                    <a:pt x="418" y="160"/>
                  </a:cubicBezTo>
                  <a:cubicBezTo>
                    <a:pt x="418" y="161"/>
                    <a:pt x="418" y="161"/>
                    <a:pt x="418" y="161"/>
                  </a:cubicBezTo>
                  <a:cubicBezTo>
                    <a:pt x="419" y="162"/>
                    <a:pt x="420" y="162"/>
                    <a:pt x="421" y="163"/>
                  </a:cubicBezTo>
                  <a:cubicBezTo>
                    <a:pt x="421" y="168"/>
                    <a:pt x="421" y="172"/>
                    <a:pt x="421" y="177"/>
                  </a:cubicBezTo>
                  <a:cubicBezTo>
                    <a:pt x="421" y="178"/>
                    <a:pt x="421" y="185"/>
                    <a:pt x="421" y="187"/>
                  </a:cubicBezTo>
                  <a:cubicBezTo>
                    <a:pt x="421" y="188"/>
                    <a:pt x="421" y="189"/>
                    <a:pt x="421" y="190"/>
                  </a:cubicBezTo>
                  <a:cubicBezTo>
                    <a:pt x="421" y="190"/>
                    <a:pt x="421" y="190"/>
                    <a:pt x="421" y="190"/>
                  </a:cubicBezTo>
                  <a:cubicBezTo>
                    <a:pt x="421" y="197"/>
                    <a:pt x="420" y="205"/>
                    <a:pt x="420" y="213"/>
                  </a:cubicBezTo>
                  <a:cubicBezTo>
                    <a:pt x="421" y="213"/>
                    <a:pt x="421" y="213"/>
                    <a:pt x="421" y="213"/>
                  </a:cubicBezTo>
                  <a:cubicBezTo>
                    <a:pt x="421" y="213"/>
                    <a:pt x="421" y="213"/>
                    <a:pt x="421" y="213"/>
                  </a:cubicBezTo>
                  <a:cubicBezTo>
                    <a:pt x="422" y="213"/>
                    <a:pt x="422" y="213"/>
                    <a:pt x="422" y="214"/>
                  </a:cubicBezTo>
                  <a:cubicBezTo>
                    <a:pt x="422" y="214"/>
                    <a:pt x="423" y="214"/>
                    <a:pt x="423" y="214"/>
                  </a:cubicBezTo>
                  <a:cubicBezTo>
                    <a:pt x="423" y="214"/>
                    <a:pt x="423" y="214"/>
                    <a:pt x="423" y="214"/>
                  </a:cubicBezTo>
                  <a:cubicBezTo>
                    <a:pt x="424" y="215"/>
                    <a:pt x="424" y="215"/>
                    <a:pt x="424" y="215"/>
                  </a:cubicBezTo>
                  <a:cubicBezTo>
                    <a:pt x="424" y="215"/>
                    <a:pt x="425" y="215"/>
                    <a:pt x="425" y="215"/>
                  </a:cubicBezTo>
                  <a:cubicBezTo>
                    <a:pt x="425" y="216"/>
                    <a:pt x="425" y="216"/>
                    <a:pt x="426" y="216"/>
                  </a:cubicBezTo>
                  <a:cubicBezTo>
                    <a:pt x="426" y="216"/>
                    <a:pt x="426" y="216"/>
                    <a:pt x="426" y="216"/>
                  </a:cubicBezTo>
                  <a:cubicBezTo>
                    <a:pt x="426" y="217"/>
                    <a:pt x="427" y="217"/>
                    <a:pt x="427" y="217"/>
                  </a:cubicBezTo>
                  <a:cubicBezTo>
                    <a:pt x="427" y="217"/>
                    <a:pt x="427" y="217"/>
                    <a:pt x="428" y="217"/>
                  </a:cubicBezTo>
                  <a:cubicBezTo>
                    <a:pt x="428" y="218"/>
                    <a:pt x="428" y="218"/>
                    <a:pt x="428" y="218"/>
                  </a:cubicBezTo>
                  <a:cubicBezTo>
                    <a:pt x="429" y="218"/>
                    <a:pt x="429" y="218"/>
                    <a:pt x="429" y="218"/>
                  </a:cubicBezTo>
                  <a:cubicBezTo>
                    <a:pt x="429" y="219"/>
                    <a:pt x="429" y="219"/>
                    <a:pt x="430" y="220"/>
                  </a:cubicBezTo>
                  <a:cubicBezTo>
                    <a:pt x="430" y="220"/>
                    <a:pt x="430" y="220"/>
                    <a:pt x="431" y="220"/>
                  </a:cubicBezTo>
                  <a:cubicBezTo>
                    <a:pt x="431" y="220"/>
                    <a:pt x="431" y="220"/>
                    <a:pt x="431" y="221"/>
                  </a:cubicBezTo>
                  <a:cubicBezTo>
                    <a:pt x="431" y="221"/>
                    <a:pt x="432" y="221"/>
                    <a:pt x="432" y="221"/>
                  </a:cubicBezTo>
                  <a:cubicBezTo>
                    <a:pt x="432" y="221"/>
                    <a:pt x="432" y="221"/>
                    <a:pt x="432" y="221"/>
                  </a:cubicBezTo>
                  <a:cubicBezTo>
                    <a:pt x="432" y="221"/>
                    <a:pt x="433" y="221"/>
                    <a:pt x="433" y="221"/>
                  </a:cubicBezTo>
                  <a:cubicBezTo>
                    <a:pt x="433" y="222"/>
                    <a:pt x="433" y="222"/>
                    <a:pt x="434" y="222"/>
                  </a:cubicBezTo>
                  <a:cubicBezTo>
                    <a:pt x="434" y="222"/>
                    <a:pt x="434" y="222"/>
                    <a:pt x="434" y="222"/>
                  </a:cubicBezTo>
                  <a:cubicBezTo>
                    <a:pt x="435" y="223"/>
                    <a:pt x="435" y="223"/>
                    <a:pt x="435" y="223"/>
                  </a:cubicBezTo>
                  <a:cubicBezTo>
                    <a:pt x="435" y="223"/>
                    <a:pt x="435" y="223"/>
                    <a:pt x="436" y="223"/>
                  </a:cubicBezTo>
                  <a:cubicBezTo>
                    <a:pt x="436" y="224"/>
                    <a:pt x="436" y="224"/>
                    <a:pt x="436" y="224"/>
                  </a:cubicBezTo>
                  <a:cubicBezTo>
                    <a:pt x="437" y="224"/>
                    <a:pt x="437" y="224"/>
                    <a:pt x="437" y="224"/>
                  </a:cubicBezTo>
                  <a:cubicBezTo>
                    <a:pt x="437" y="225"/>
                    <a:pt x="438" y="225"/>
                    <a:pt x="438" y="225"/>
                  </a:cubicBezTo>
                  <a:cubicBezTo>
                    <a:pt x="438" y="225"/>
                    <a:pt x="438" y="225"/>
                    <a:pt x="438" y="225"/>
                  </a:cubicBezTo>
                  <a:cubicBezTo>
                    <a:pt x="439" y="226"/>
                    <a:pt x="439" y="226"/>
                    <a:pt x="439" y="226"/>
                  </a:cubicBezTo>
                  <a:cubicBezTo>
                    <a:pt x="439" y="226"/>
                    <a:pt x="440" y="226"/>
                    <a:pt x="440" y="226"/>
                  </a:cubicBezTo>
                  <a:cubicBezTo>
                    <a:pt x="440" y="227"/>
                    <a:pt x="440" y="227"/>
                    <a:pt x="441" y="228"/>
                  </a:cubicBezTo>
                  <a:cubicBezTo>
                    <a:pt x="441" y="228"/>
                    <a:pt x="441" y="228"/>
                    <a:pt x="441" y="228"/>
                  </a:cubicBezTo>
                  <a:cubicBezTo>
                    <a:pt x="441" y="228"/>
                    <a:pt x="442" y="228"/>
                    <a:pt x="442" y="229"/>
                  </a:cubicBezTo>
                  <a:cubicBezTo>
                    <a:pt x="442" y="229"/>
                    <a:pt x="442" y="229"/>
                    <a:pt x="443" y="229"/>
                  </a:cubicBezTo>
                  <a:cubicBezTo>
                    <a:pt x="443" y="229"/>
                    <a:pt x="443" y="229"/>
                    <a:pt x="443" y="229"/>
                  </a:cubicBezTo>
                  <a:cubicBezTo>
                    <a:pt x="443" y="229"/>
                    <a:pt x="443" y="229"/>
                    <a:pt x="444" y="229"/>
                  </a:cubicBezTo>
                  <a:cubicBezTo>
                    <a:pt x="444" y="230"/>
                    <a:pt x="444" y="230"/>
                    <a:pt x="444" y="230"/>
                  </a:cubicBezTo>
                  <a:cubicBezTo>
                    <a:pt x="444" y="230"/>
                    <a:pt x="445" y="230"/>
                    <a:pt x="445" y="230"/>
                  </a:cubicBezTo>
                  <a:cubicBezTo>
                    <a:pt x="445" y="231"/>
                    <a:pt x="446" y="231"/>
                    <a:pt x="446" y="231"/>
                  </a:cubicBezTo>
                  <a:cubicBezTo>
                    <a:pt x="446" y="231"/>
                    <a:pt x="446" y="231"/>
                    <a:pt x="447" y="231"/>
                  </a:cubicBezTo>
                  <a:cubicBezTo>
                    <a:pt x="447" y="232"/>
                    <a:pt x="447" y="232"/>
                    <a:pt x="447" y="232"/>
                  </a:cubicBezTo>
                  <a:cubicBezTo>
                    <a:pt x="447" y="232"/>
                    <a:pt x="448" y="232"/>
                    <a:pt x="448" y="232"/>
                  </a:cubicBezTo>
                  <a:cubicBezTo>
                    <a:pt x="448" y="233"/>
                    <a:pt x="448" y="233"/>
                    <a:pt x="449" y="233"/>
                  </a:cubicBezTo>
                  <a:cubicBezTo>
                    <a:pt x="449" y="233"/>
                    <a:pt x="449" y="233"/>
                    <a:pt x="449" y="233"/>
                  </a:cubicBezTo>
                  <a:cubicBezTo>
                    <a:pt x="450" y="234"/>
                    <a:pt x="450" y="234"/>
                    <a:pt x="450" y="235"/>
                  </a:cubicBezTo>
                  <a:cubicBezTo>
                    <a:pt x="451" y="235"/>
                    <a:pt x="453" y="236"/>
                    <a:pt x="453" y="237"/>
                  </a:cubicBezTo>
                  <a:cubicBezTo>
                    <a:pt x="453" y="237"/>
                    <a:pt x="453" y="237"/>
                    <a:pt x="453" y="237"/>
                  </a:cubicBezTo>
                  <a:cubicBezTo>
                    <a:pt x="453" y="239"/>
                    <a:pt x="452" y="240"/>
                    <a:pt x="452" y="241"/>
                  </a:cubicBezTo>
                  <a:cubicBezTo>
                    <a:pt x="452" y="241"/>
                    <a:pt x="452" y="241"/>
                    <a:pt x="452" y="241"/>
                  </a:cubicBezTo>
                  <a:cubicBezTo>
                    <a:pt x="452" y="241"/>
                    <a:pt x="452" y="242"/>
                    <a:pt x="452" y="242"/>
                  </a:cubicBezTo>
                  <a:cubicBezTo>
                    <a:pt x="452" y="242"/>
                    <a:pt x="452" y="242"/>
                    <a:pt x="451" y="242"/>
                  </a:cubicBezTo>
                  <a:cubicBezTo>
                    <a:pt x="451" y="242"/>
                    <a:pt x="451" y="243"/>
                    <a:pt x="451" y="243"/>
                  </a:cubicBezTo>
                  <a:cubicBezTo>
                    <a:pt x="451" y="243"/>
                    <a:pt x="451" y="243"/>
                    <a:pt x="451" y="243"/>
                  </a:cubicBezTo>
                  <a:cubicBezTo>
                    <a:pt x="451" y="244"/>
                    <a:pt x="451" y="244"/>
                    <a:pt x="451" y="244"/>
                  </a:cubicBezTo>
                  <a:cubicBezTo>
                    <a:pt x="451" y="244"/>
                    <a:pt x="451" y="244"/>
                    <a:pt x="451" y="244"/>
                  </a:cubicBezTo>
                  <a:cubicBezTo>
                    <a:pt x="450" y="245"/>
                    <a:pt x="450" y="247"/>
                    <a:pt x="450" y="248"/>
                  </a:cubicBezTo>
                  <a:cubicBezTo>
                    <a:pt x="450" y="248"/>
                    <a:pt x="450" y="248"/>
                    <a:pt x="450" y="248"/>
                  </a:cubicBezTo>
                  <a:cubicBezTo>
                    <a:pt x="450" y="249"/>
                    <a:pt x="449" y="249"/>
                    <a:pt x="449" y="250"/>
                  </a:cubicBezTo>
                  <a:cubicBezTo>
                    <a:pt x="449" y="250"/>
                    <a:pt x="449" y="250"/>
                    <a:pt x="449" y="250"/>
                  </a:cubicBezTo>
                  <a:cubicBezTo>
                    <a:pt x="449" y="251"/>
                    <a:pt x="449" y="251"/>
                    <a:pt x="449" y="252"/>
                  </a:cubicBezTo>
                  <a:cubicBezTo>
                    <a:pt x="449" y="253"/>
                    <a:pt x="448" y="253"/>
                    <a:pt x="448" y="254"/>
                  </a:cubicBezTo>
                  <a:cubicBezTo>
                    <a:pt x="447" y="255"/>
                    <a:pt x="447" y="255"/>
                    <a:pt x="446" y="256"/>
                  </a:cubicBezTo>
                  <a:cubicBezTo>
                    <a:pt x="445" y="256"/>
                    <a:pt x="445" y="256"/>
                    <a:pt x="444" y="256"/>
                  </a:cubicBezTo>
                  <a:cubicBezTo>
                    <a:pt x="444" y="256"/>
                    <a:pt x="444" y="257"/>
                    <a:pt x="444" y="257"/>
                  </a:cubicBezTo>
                  <a:cubicBezTo>
                    <a:pt x="443" y="257"/>
                    <a:pt x="443" y="257"/>
                    <a:pt x="442" y="258"/>
                  </a:cubicBezTo>
                  <a:cubicBezTo>
                    <a:pt x="442" y="258"/>
                    <a:pt x="442" y="258"/>
                    <a:pt x="442" y="258"/>
                  </a:cubicBezTo>
                  <a:cubicBezTo>
                    <a:pt x="441" y="258"/>
                    <a:pt x="441" y="258"/>
                    <a:pt x="441" y="258"/>
                  </a:cubicBezTo>
                  <a:cubicBezTo>
                    <a:pt x="441" y="258"/>
                    <a:pt x="441" y="259"/>
                    <a:pt x="441" y="259"/>
                  </a:cubicBezTo>
                  <a:cubicBezTo>
                    <a:pt x="441" y="259"/>
                    <a:pt x="440" y="259"/>
                    <a:pt x="440" y="259"/>
                  </a:cubicBezTo>
                  <a:cubicBezTo>
                    <a:pt x="440" y="259"/>
                    <a:pt x="440" y="259"/>
                    <a:pt x="440" y="259"/>
                  </a:cubicBezTo>
                  <a:cubicBezTo>
                    <a:pt x="439" y="260"/>
                    <a:pt x="438" y="260"/>
                    <a:pt x="438" y="260"/>
                  </a:cubicBezTo>
                  <a:cubicBezTo>
                    <a:pt x="438" y="260"/>
                    <a:pt x="438" y="261"/>
                    <a:pt x="437" y="261"/>
                  </a:cubicBezTo>
                  <a:cubicBezTo>
                    <a:pt x="437" y="261"/>
                    <a:pt x="436" y="261"/>
                    <a:pt x="435" y="261"/>
                  </a:cubicBezTo>
                  <a:cubicBezTo>
                    <a:pt x="435" y="262"/>
                    <a:pt x="435" y="262"/>
                    <a:pt x="435" y="262"/>
                  </a:cubicBezTo>
                  <a:cubicBezTo>
                    <a:pt x="435" y="262"/>
                    <a:pt x="435" y="262"/>
                    <a:pt x="434" y="262"/>
                  </a:cubicBezTo>
                  <a:cubicBezTo>
                    <a:pt x="434" y="262"/>
                    <a:pt x="434" y="262"/>
                    <a:pt x="434" y="263"/>
                  </a:cubicBezTo>
                  <a:cubicBezTo>
                    <a:pt x="434" y="263"/>
                    <a:pt x="434" y="263"/>
                    <a:pt x="434" y="263"/>
                  </a:cubicBezTo>
                  <a:cubicBezTo>
                    <a:pt x="433" y="263"/>
                    <a:pt x="433" y="263"/>
                    <a:pt x="433" y="263"/>
                  </a:cubicBezTo>
                  <a:cubicBezTo>
                    <a:pt x="433" y="263"/>
                    <a:pt x="432" y="264"/>
                    <a:pt x="431" y="264"/>
                  </a:cubicBezTo>
                  <a:cubicBezTo>
                    <a:pt x="431" y="264"/>
                    <a:pt x="431" y="264"/>
                    <a:pt x="431" y="265"/>
                  </a:cubicBezTo>
                  <a:cubicBezTo>
                    <a:pt x="430" y="265"/>
                    <a:pt x="429" y="265"/>
                    <a:pt x="429" y="265"/>
                  </a:cubicBezTo>
                  <a:cubicBezTo>
                    <a:pt x="429" y="266"/>
                    <a:pt x="428" y="266"/>
                    <a:pt x="428" y="266"/>
                  </a:cubicBezTo>
                  <a:cubicBezTo>
                    <a:pt x="428" y="266"/>
                    <a:pt x="427" y="266"/>
                    <a:pt x="427" y="266"/>
                  </a:cubicBezTo>
                  <a:cubicBezTo>
                    <a:pt x="427" y="267"/>
                    <a:pt x="427" y="267"/>
                    <a:pt x="427" y="267"/>
                  </a:cubicBezTo>
                  <a:cubicBezTo>
                    <a:pt x="426" y="267"/>
                    <a:pt x="425" y="268"/>
                    <a:pt x="424" y="268"/>
                  </a:cubicBezTo>
                  <a:cubicBezTo>
                    <a:pt x="424" y="268"/>
                    <a:pt x="424" y="268"/>
                    <a:pt x="424" y="268"/>
                  </a:cubicBezTo>
                  <a:cubicBezTo>
                    <a:pt x="424" y="268"/>
                    <a:pt x="424" y="268"/>
                    <a:pt x="423" y="268"/>
                  </a:cubicBezTo>
                  <a:cubicBezTo>
                    <a:pt x="423" y="269"/>
                    <a:pt x="423" y="269"/>
                    <a:pt x="423" y="269"/>
                  </a:cubicBezTo>
                  <a:cubicBezTo>
                    <a:pt x="423" y="269"/>
                    <a:pt x="423" y="269"/>
                    <a:pt x="423" y="269"/>
                  </a:cubicBezTo>
                  <a:cubicBezTo>
                    <a:pt x="423" y="269"/>
                    <a:pt x="422" y="269"/>
                    <a:pt x="422" y="270"/>
                  </a:cubicBezTo>
                  <a:cubicBezTo>
                    <a:pt x="422" y="270"/>
                    <a:pt x="421" y="270"/>
                    <a:pt x="420" y="270"/>
                  </a:cubicBezTo>
                  <a:cubicBezTo>
                    <a:pt x="420" y="270"/>
                    <a:pt x="420" y="271"/>
                    <a:pt x="420" y="271"/>
                  </a:cubicBezTo>
                  <a:cubicBezTo>
                    <a:pt x="419" y="271"/>
                    <a:pt x="419" y="271"/>
                    <a:pt x="419" y="271"/>
                  </a:cubicBezTo>
                  <a:cubicBezTo>
                    <a:pt x="419" y="271"/>
                    <a:pt x="419" y="271"/>
                    <a:pt x="419" y="272"/>
                  </a:cubicBezTo>
                  <a:cubicBezTo>
                    <a:pt x="413" y="272"/>
                    <a:pt x="407" y="273"/>
                    <a:pt x="401" y="273"/>
                  </a:cubicBezTo>
                  <a:cubicBezTo>
                    <a:pt x="401" y="273"/>
                    <a:pt x="401" y="273"/>
                    <a:pt x="401" y="273"/>
                  </a:cubicBezTo>
                  <a:cubicBezTo>
                    <a:pt x="401" y="273"/>
                    <a:pt x="401" y="273"/>
                    <a:pt x="401" y="273"/>
                  </a:cubicBezTo>
                  <a:cubicBezTo>
                    <a:pt x="401" y="274"/>
                    <a:pt x="400" y="274"/>
                    <a:pt x="400" y="274"/>
                  </a:cubicBezTo>
                  <a:cubicBezTo>
                    <a:pt x="400" y="274"/>
                    <a:pt x="400" y="274"/>
                    <a:pt x="400" y="274"/>
                  </a:cubicBezTo>
                  <a:cubicBezTo>
                    <a:pt x="400" y="274"/>
                    <a:pt x="400" y="274"/>
                    <a:pt x="400" y="274"/>
                  </a:cubicBezTo>
                  <a:cubicBezTo>
                    <a:pt x="399" y="274"/>
                    <a:pt x="399" y="274"/>
                    <a:pt x="399" y="274"/>
                  </a:cubicBezTo>
                  <a:cubicBezTo>
                    <a:pt x="399" y="275"/>
                    <a:pt x="399" y="275"/>
                    <a:pt x="399" y="275"/>
                  </a:cubicBezTo>
                  <a:cubicBezTo>
                    <a:pt x="399" y="275"/>
                    <a:pt x="398" y="275"/>
                    <a:pt x="398" y="275"/>
                  </a:cubicBezTo>
                  <a:cubicBezTo>
                    <a:pt x="398" y="275"/>
                    <a:pt x="398" y="275"/>
                    <a:pt x="398" y="275"/>
                  </a:cubicBezTo>
                  <a:cubicBezTo>
                    <a:pt x="398" y="275"/>
                    <a:pt x="398" y="275"/>
                    <a:pt x="398" y="275"/>
                  </a:cubicBezTo>
                  <a:cubicBezTo>
                    <a:pt x="397" y="275"/>
                    <a:pt x="397" y="276"/>
                    <a:pt x="397" y="276"/>
                  </a:cubicBezTo>
                  <a:cubicBezTo>
                    <a:pt x="396" y="276"/>
                    <a:pt x="396" y="276"/>
                    <a:pt x="395" y="277"/>
                  </a:cubicBezTo>
                  <a:cubicBezTo>
                    <a:pt x="395" y="277"/>
                    <a:pt x="395" y="277"/>
                    <a:pt x="395" y="277"/>
                  </a:cubicBezTo>
                  <a:cubicBezTo>
                    <a:pt x="395" y="277"/>
                    <a:pt x="394" y="277"/>
                    <a:pt x="394" y="277"/>
                  </a:cubicBezTo>
                  <a:cubicBezTo>
                    <a:pt x="394" y="277"/>
                    <a:pt x="394" y="277"/>
                    <a:pt x="394" y="278"/>
                  </a:cubicBezTo>
                  <a:cubicBezTo>
                    <a:pt x="394" y="278"/>
                    <a:pt x="394" y="278"/>
                    <a:pt x="393" y="278"/>
                  </a:cubicBezTo>
                  <a:cubicBezTo>
                    <a:pt x="393" y="278"/>
                    <a:pt x="393" y="278"/>
                    <a:pt x="393" y="278"/>
                  </a:cubicBezTo>
                  <a:cubicBezTo>
                    <a:pt x="393" y="278"/>
                    <a:pt x="393" y="278"/>
                    <a:pt x="393" y="278"/>
                  </a:cubicBezTo>
                  <a:cubicBezTo>
                    <a:pt x="393" y="278"/>
                    <a:pt x="393" y="278"/>
                    <a:pt x="393" y="278"/>
                  </a:cubicBezTo>
                  <a:cubicBezTo>
                    <a:pt x="392" y="278"/>
                    <a:pt x="392" y="278"/>
                    <a:pt x="392" y="278"/>
                  </a:cubicBezTo>
                  <a:cubicBezTo>
                    <a:pt x="392" y="278"/>
                    <a:pt x="392" y="279"/>
                    <a:pt x="392" y="279"/>
                  </a:cubicBezTo>
                  <a:cubicBezTo>
                    <a:pt x="391" y="279"/>
                    <a:pt x="390" y="279"/>
                    <a:pt x="390" y="280"/>
                  </a:cubicBezTo>
                  <a:cubicBezTo>
                    <a:pt x="389" y="280"/>
                    <a:pt x="389" y="280"/>
                    <a:pt x="389" y="280"/>
                  </a:cubicBezTo>
                  <a:cubicBezTo>
                    <a:pt x="389" y="280"/>
                    <a:pt x="389" y="280"/>
                    <a:pt x="388" y="280"/>
                  </a:cubicBezTo>
                  <a:cubicBezTo>
                    <a:pt x="388" y="280"/>
                    <a:pt x="388" y="281"/>
                    <a:pt x="388" y="281"/>
                  </a:cubicBezTo>
                  <a:cubicBezTo>
                    <a:pt x="388" y="281"/>
                    <a:pt x="388" y="281"/>
                    <a:pt x="388" y="281"/>
                  </a:cubicBezTo>
                  <a:cubicBezTo>
                    <a:pt x="388" y="281"/>
                    <a:pt x="388" y="281"/>
                    <a:pt x="388" y="281"/>
                  </a:cubicBezTo>
                  <a:cubicBezTo>
                    <a:pt x="388" y="281"/>
                    <a:pt x="387" y="281"/>
                    <a:pt x="387" y="281"/>
                  </a:cubicBezTo>
                  <a:cubicBezTo>
                    <a:pt x="387" y="281"/>
                    <a:pt x="387" y="281"/>
                    <a:pt x="387" y="281"/>
                  </a:cubicBezTo>
                  <a:cubicBezTo>
                    <a:pt x="387" y="281"/>
                    <a:pt x="387" y="281"/>
                    <a:pt x="386" y="281"/>
                  </a:cubicBezTo>
                  <a:cubicBezTo>
                    <a:pt x="386" y="282"/>
                    <a:pt x="386" y="282"/>
                    <a:pt x="386" y="282"/>
                  </a:cubicBezTo>
                  <a:cubicBezTo>
                    <a:pt x="385" y="282"/>
                    <a:pt x="385" y="283"/>
                    <a:pt x="384" y="283"/>
                  </a:cubicBezTo>
                  <a:cubicBezTo>
                    <a:pt x="384" y="283"/>
                    <a:pt x="384" y="283"/>
                    <a:pt x="384" y="284"/>
                  </a:cubicBezTo>
                  <a:cubicBezTo>
                    <a:pt x="383" y="284"/>
                    <a:pt x="383" y="284"/>
                    <a:pt x="383" y="284"/>
                  </a:cubicBezTo>
                  <a:cubicBezTo>
                    <a:pt x="383" y="284"/>
                    <a:pt x="383" y="284"/>
                    <a:pt x="383" y="284"/>
                  </a:cubicBezTo>
                  <a:cubicBezTo>
                    <a:pt x="383" y="284"/>
                    <a:pt x="382" y="284"/>
                    <a:pt x="382" y="284"/>
                  </a:cubicBezTo>
                  <a:cubicBezTo>
                    <a:pt x="382" y="284"/>
                    <a:pt x="382" y="284"/>
                    <a:pt x="382" y="284"/>
                  </a:cubicBezTo>
                  <a:cubicBezTo>
                    <a:pt x="382" y="284"/>
                    <a:pt x="382" y="284"/>
                    <a:pt x="381" y="284"/>
                  </a:cubicBezTo>
                  <a:cubicBezTo>
                    <a:pt x="381" y="284"/>
                    <a:pt x="381" y="284"/>
                    <a:pt x="381" y="285"/>
                  </a:cubicBezTo>
                  <a:cubicBezTo>
                    <a:pt x="381" y="285"/>
                    <a:pt x="381" y="285"/>
                    <a:pt x="381" y="285"/>
                  </a:cubicBezTo>
                  <a:cubicBezTo>
                    <a:pt x="381" y="285"/>
                    <a:pt x="381" y="285"/>
                    <a:pt x="380" y="285"/>
                  </a:cubicBezTo>
                  <a:cubicBezTo>
                    <a:pt x="380" y="285"/>
                    <a:pt x="379" y="286"/>
                    <a:pt x="378" y="286"/>
                  </a:cubicBezTo>
                  <a:cubicBezTo>
                    <a:pt x="378" y="286"/>
                    <a:pt x="378" y="286"/>
                    <a:pt x="378" y="287"/>
                  </a:cubicBezTo>
                  <a:cubicBezTo>
                    <a:pt x="378" y="287"/>
                    <a:pt x="377" y="287"/>
                    <a:pt x="377" y="287"/>
                  </a:cubicBezTo>
                  <a:cubicBezTo>
                    <a:pt x="377" y="287"/>
                    <a:pt x="377" y="287"/>
                    <a:pt x="377" y="287"/>
                  </a:cubicBezTo>
                  <a:cubicBezTo>
                    <a:pt x="377" y="287"/>
                    <a:pt x="377" y="287"/>
                    <a:pt x="377" y="287"/>
                  </a:cubicBezTo>
                  <a:cubicBezTo>
                    <a:pt x="377" y="287"/>
                    <a:pt x="377" y="287"/>
                    <a:pt x="377" y="287"/>
                  </a:cubicBezTo>
                  <a:cubicBezTo>
                    <a:pt x="376" y="287"/>
                    <a:pt x="376" y="287"/>
                    <a:pt x="376" y="287"/>
                  </a:cubicBezTo>
                  <a:cubicBezTo>
                    <a:pt x="376" y="287"/>
                    <a:pt x="376" y="288"/>
                    <a:pt x="376" y="288"/>
                  </a:cubicBezTo>
                  <a:cubicBezTo>
                    <a:pt x="376" y="288"/>
                    <a:pt x="375" y="288"/>
                    <a:pt x="375" y="288"/>
                  </a:cubicBezTo>
                  <a:cubicBezTo>
                    <a:pt x="375" y="288"/>
                    <a:pt x="375" y="288"/>
                    <a:pt x="375" y="288"/>
                  </a:cubicBezTo>
                  <a:cubicBezTo>
                    <a:pt x="375" y="288"/>
                    <a:pt x="374" y="288"/>
                    <a:pt x="374" y="288"/>
                  </a:cubicBezTo>
                  <a:cubicBezTo>
                    <a:pt x="374" y="289"/>
                    <a:pt x="374" y="289"/>
                    <a:pt x="374" y="289"/>
                  </a:cubicBezTo>
                  <a:cubicBezTo>
                    <a:pt x="374" y="289"/>
                    <a:pt x="374" y="289"/>
                    <a:pt x="373" y="289"/>
                  </a:cubicBezTo>
                  <a:cubicBezTo>
                    <a:pt x="373" y="289"/>
                    <a:pt x="373" y="289"/>
                    <a:pt x="373" y="289"/>
                  </a:cubicBezTo>
                  <a:cubicBezTo>
                    <a:pt x="373" y="289"/>
                    <a:pt x="373" y="289"/>
                    <a:pt x="373" y="289"/>
                  </a:cubicBezTo>
                  <a:cubicBezTo>
                    <a:pt x="373" y="289"/>
                    <a:pt x="372" y="290"/>
                    <a:pt x="372" y="290"/>
                  </a:cubicBezTo>
                  <a:cubicBezTo>
                    <a:pt x="372" y="290"/>
                    <a:pt x="372" y="290"/>
                    <a:pt x="372" y="290"/>
                  </a:cubicBezTo>
                  <a:cubicBezTo>
                    <a:pt x="372" y="290"/>
                    <a:pt x="371" y="290"/>
                    <a:pt x="371" y="290"/>
                  </a:cubicBezTo>
                  <a:cubicBezTo>
                    <a:pt x="371" y="290"/>
                    <a:pt x="371" y="290"/>
                    <a:pt x="371" y="290"/>
                  </a:cubicBezTo>
                  <a:cubicBezTo>
                    <a:pt x="371" y="291"/>
                    <a:pt x="370" y="291"/>
                    <a:pt x="370" y="291"/>
                  </a:cubicBezTo>
                  <a:cubicBezTo>
                    <a:pt x="370" y="291"/>
                    <a:pt x="370" y="291"/>
                    <a:pt x="370" y="291"/>
                  </a:cubicBezTo>
                  <a:cubicBezTo>
                    <a:pt x="369" y="291"/>
                    <a:pt x="369" y="292"/>
                    <a:pt x="369" y="292"/>
                  </a:cubicBezTo>
                  <a:cubicBezTo>
                    <a:pt x="369" y="292"/>
                    <a:pt x="369" y="292"/>
                    <a:pt x="369" y="292"/>
                  </a:cubicBezTo>
                  <a:cubicBezTo>
                    <a:pt x="369" y="292"/>
                    <a:pt x="369" y="292"/>
                    <a:pt x="369" y="292"/>
                  </a:cubicBezTo>
                  <a:cubicBezTo>
                    <a:pt x="368" y="292"/>
                    <a:pt x="368" y="292"/>
                    <a:pt x="367" y="293"/>
                  </a:cubicBezTo>
                  <a:cubicBezTo>
                    <a:pt x="367" y="293"/>
                    <a:pt x="367" y="293"/>
                    <a:pt x="367" y="293"/>
                  </a:cubicBezTo>
                  <a:cubicBezTo>
                    <a:pt x="367" y="293"/>
                    <a:pt x="367" y="293"/>
                    <a:pt x="366" y="293"/>
                  </a:cubicBezTo>
                  <a:cubicBezTo>
                    <a:pt x="366" y="294"/>
                    <a:pt x="366" y="294"/>
                    <a:pt x="366" y="294"/>
                  </a:cubicBezTo>
                  <a:cubicBezTo>
                    <a:pt x="365" y="294"/>
                    <a:pt x="365" y="294"/>
                    <a:pt x="365" y="294"/>
                  </a:cubicBezTo>
                  <a:cubicBezTo>
                    <a:pt x="365" y="295"/>
                    <a:pt x="365" y="295"/>
                    <a:pt x="365" y="295"/>
                  </a:cubicBezTo>
                  <a:cubicBezTo>
                    <a:pt x="364" y="295"/>
                    <a:pt x="364" y="295"/>
                    <a:pt x="364" y="295"/>
                  </a:cubicBezTo>
                  <a:cubicBezTo>
                    <a:pt x="364" y="295"/>
                    <a:pt x="364" y="295"/>
                    <a:pt x="364" y="295"/>
                  </a:cubicBezTo>
                  <a:cubicBezTo>
                    <a:pt x="364" y="296"/>
                    <a:pt x="363" y="296"/>
                    <a:pt x="363" y="296"/>
                  </a:cubicBezTo>
                  <a:cubicBezTo>
                    <a:pt x="363" y="296"/>
                    <a:pt x="363" y="296"/>
                    <a:pt x="363" y="296"/>
                  </a:cubicBezTo>
                  <a:cubicBezTo>
                    <a:pt x="362" y="296"/>
                    <a:pt x="362" y="296"/>
                    <a:pt x="362" y="296"/>
                  </a:cubicBezTo>
                  <a:cubicBezTo>
                    <a:pt x="362" y="297"/>
                    <a:pt x="362" y="297"/>
                    <a:pt x="362" y="297"/>
                  </a:cubicBezTo>
                  <a:cubicBezTo>
                    <a:pt x="361" y="297"/>
                    <a:pt x="361" y="297"/>
                    <a:pt x="361" y="297"/>
                  </a:cubicBezTo>
                  <a:cubicBezTo>
                    <a:pt x="361" y="297"/>
                    <a:pt x="360" y="298"/>
                    <a:pt x="360" y="298"/>
                  </a:cubicBezTo>
                  <a:cubicBezTo>
                    <a:pt x="360" y="298"/>
                    <a:pt x="360" y="298"/>
                    <a:pt x="359" y="298"/>
                  </a:cubicBezTo>
                  <a:cubicBezTo>
                    <a:pt x="359" y="298"/>
                    <a:pt x="359" y="299"/>
                    <a:pt x="359" y="299"/>
                  </a:cubicBezTo>
                  <a:cubicBezTo>
                    <a:pt x="359" y="299"/>
                    <a:pt x="358" y="299"/>
                    <a:pt x="358" y="299"/>
                  </a:cubicBezTo>
                  <a:cubicBezTo>
                    <a:pt x="358" y="299"/>
                    <a:pt x="358" y="299"/>
                    <a:pt x="358" y="300"/>
                  </a:cubicBezTo>
                  <a:cubicBezTo>
                    <a:pt x="358" y="300"/>
                    <a:pt x="358" y="300"/>
                    <a:pt x="357" y="300"/>
                  </a:cubicBezTo>
                  <a:cubicBezTo>
                    <a:pt x="357" y="300"/>
                    <a:pt x="357" y="300"/>
                    <a:pt x="357" y="300"/>
                  </a:cubicBezTo>
                  <a:cubicBezTo>
                    <a:pt x="357" y="300"/>
                    <a:pt x="357" y="300"/>
                    <a:pt x="356" y="300"/>
                  </a:cubicBezTo>
                  <a:cubicBezTo>
                    <a:pt x="356" y="301"/>
                    <a:pt x="356" y="301"/>
                    <a:pt x="356" y="301"/>
                  </a:cubicBezTo>
                  <a:cubicBezTo>
                    <a:pt x="356" y="301"/>
                    <a:pt x="355" y="301"/>
                    <a:pt x="355" y="301"/>
                  </a:cubicBezTo>
                  <a:cubicBezTo>
                    <a:pt x="355" y="301"/>
                    <a:pt x="355" y="302"/>
                    <a:pt x="355" y="302"/>
                  </a:cubicBezTo>
                  <a:cubicBezTo>
                    <a:pt x="354" y="302"/>
                    <a:pt x="354" y="302"/>
                    <a:pt x="354" y="302"/>
                  </a:cubicBezTo>
                  <a:cubicBezTo>
                    <a:pt x="354" y="302"/>
                    <a:pt x="354" y="303"/>
                    <a:pt x="353" y="303"/>
                  </a:cubicBezTo>
                  <a:cubicBezTo>
                    <a:pt x="353" y="303"/>
                    <a:pt x="353" y="303"/>
                    <a:pt x="353" y="303"/>
                  </a:cubicBezTo>
                  <a:cubicBezTo>
                    <a:pt x="353" y="303"/>
                    <a:pt x="353" y="303"/>
                    <a:pt x="353" y="303"/>
                  </a:cubicBezTo>
                  <a:cubicBezTo>
                    <a:pt x="352" y="303"/>
                    <a:pt x="352" y="303"/>
                    <a:pt x="352" y="303"/>
                  </a:cubicBezTo>
                  <a:cubicBezTo>
                    <a:pt x="352" y="304"/>
                    <a:pt x="352" y="304"/>
                    <a:pt x="351" y="304"/>
                  </a:cubicBezTo>
                  <a:cubicBezTo>
                    <a:pt x="351" y="304"/>
                    <a:pt x="351" y="304"/>
                    <a:pt x="351" y="304"/>
                  </a:cubicBezTo>
                  <a:cubicBezTo>
                    <a:pt x="350" y="304"/>
                    <a:pt x="350" y="305"/>
                    <a:pt x="350" y="305"/>
                  </a:cubicBezTo>
                  <a:cubicBezTo>
                    <a:pt x="350" y="305"/>
                    <a:pt x="350" y="305"/>
                    <a:pt x="349" y="305"/>
                  </a:cubicBezTo>
                  <a:cubicBezTo>
                    <a:pt x="349" y="305"/>
                    <a:pt x="349" y="306"/>
                    <a:pt x="349" y="306"/>
                  </a:cubicBezTo>
                  <a:cubicBezTo>
                    <a:pt x="349" y="306"/>
                    <a:pt x="348" y="306"/>
                    <a:pt x="348" y="306"/>
                  </a:cubicBezTo>
                  <a:cubicBezTo>
                    <a:pt x="348" y="306"/>
                    <a:pt x="348" y="306"/>
                    <a:pt x="348" y="307"/>
                  </a:cubicBezTo>
                  <a:cubicBezTo>
                    <a:pt x="348" y="307"/>
                    <a:pt x="347" y="307"/>
                    <a:pt x="347" y="307"/>
                  </a:cubicBezTo>
                  <a:cubicBezTo>
                    <a:pt x="347" y="307"/>
                    <a:pt x="347" y="307"/>
                    <a:pt x="347" y="307"/>
                  </a:cubicBezTo>
                  <a:cubicBezTo>
                    <a:pt x="347" y="307"/>
                    <a:pt x="346" y="307"/>
                    <a:pt x="346" y="307"/>
                  </a:cubicBezTo>
                  <a:cubicBezTo>
                    <a:pt x="346" y="308"/>
                    <a:pt x="346" y="308"/>
                    <a:pt x="346" y="308"/>
                  </a:cubicBezTo>
                  <a:cubicBezTo>
                    <a:pt x="346" y="308"/>
                    <a:pt x="345" y="308"/>
                    <a:pt x="345" y="308"/>
                  </a:cubicBezTo>
                  <a:cubicBezTo>
                    <a:pt x="345" y="308"/>
                    <a:pt x="345" y="309"/>
                    <a:pt x="344" y="309"/>
                  </a:cubicBezTo>
                  <a:cubicBezTo>
                    <a:pt x="344" y="309"/>
                    <a:pt x="344" y="309"/>
                    <a:pt x="344" y="309"/>
                  </a:cubicBezTo>
                  <a:cubicBezTo>
                    <a:pt x="344" y="309"/>
                    <a:pt x="343" y="310"/>
                    <a:pt x="343" y="310"/>
                  </a:cubicBezTo>
                  <a:cubicBezTo>
                    <a:pt x="343" y="310"/>
                    <a:pt x="342" y="310"/>
                    <a:pt x="341" y="310"/>
                  </a:cubicBezTo>
                  <a:cubicBezTo>
                    <a:pt x="340" y="309"/>
                    <a:pt x="339" y="309"/>
                    <a:pt x="338" y="309"/>
                  </a:cubicBezTo>
                  <a:cubicBezTo>
                    <a:pt x="338" y="309"/>
                    <a:pt x="338" y="309"/>
                    <a:pt x="338" y="309"/>
                  </a:cubicBezTo>
                  <a:cubicBezTo>
                    <a:pt x="337" y="309"/>
                    <a:pt x="337" y="309"/>
                    <a:pt x="336" y="309"/>
                  </a:cubicBezTo>
                  <a:cubicBezTo>
                    <a:pt x="336" y="309"/>
                    <a:pt x="336" y="308"/>
                    <a:pt x="336" y="308"/>
                  </a:cubicBezTo>
                  <a:cubicBezTo>
                    <a:pt x="336" y="308"/>
                    <a:pt x="335" y="308"/>
                    <a:pt x="335" y="308"/>
                  </a:cubicBezTo>
                  <a:cubicBezTo>
                    <a:pt x="335" y="308"/>
                    <a:pt x="335" y="308"/>
                    <a:pt x="335" y="308"/>
                  </a:cubicBezTo>
                  <a:cubicBezTo>
                    <a:pt x="334" y="308"/>
                    <a:pt x="333" y="308"/>
                    <a:pt x="332" y="308"/>
                  </a:cubicBezTo>
                  <a:cubicBezTo>
                    <a:pt x="326" y="306"/>
                    <a:pt x="319" y="305"/>
                    <a:pt x="314" y="303"/>
                  </a:cubicBezTo>
                  <a:cubicBezTo>
                    <a:pt x="312" y="303"/>
                    <a:pt x="311" y="303"/>
                    <a:pt x="309" y="302"/>
                  </a:cubicBezTo>
                  <a:cubicBezTo>
                    <a:pt x="309" y="302"/>
                    <a:pt x="309" y="302"/>
                    <a:pt x="309" y="302"/>
                  </a:cubicBezTo>
                  <a:cubicBezTo>
                    <a:pt x="308" y="302"/>
                    <a:pt x="308" y="302"/>
                    <a:pt x="307" y="302"/>
                  </a:cubicBezTo>
                  <a:cubicBezTo>
                    <a:pt x="307" y="302"/>
                    <a:pt x="307" y="302"/>
                    <a:pt x="307" y="302"/>
                  </a:cubicBezTo>
                  <a:cubicBezTo>
                    <a:pt x="307" y="302"/>
                    <a:pt x="306" y="302"/>
                    <a:pt x="306" y="302"/>
                  </a:cubicBezTo>
                  <a:cubicBezTo>
                    <a:pt x="306" y="302"/>
                    <a:pt x="306" y="301"/>
                    <a:pt x="306" y="301"/>
                  </a:cubicBezTo>
                  <a:cubicBezTo>
                    <a:pt x="305" y="301"/>
                    <a:pt x="305" y="301"/>
                    <a:pt x="304" y="301"/>
                  </a:cubicBezTo>
                  <a:cubicBezTo>
                    <a:pt x="300" y="300"/>
                    <a:pt x="296" y="299"/>
                    <a:pt x="292" y="298"/>
                  </a:cubicBezTo>
                  <a:cubicBezTo>
                    <a:pt x="291" y="298"/>
                    <a:pt x="291" y="298"/>
                    <a:pt x="290" y="298"/>
                  </a:cubicBezTo>
                  <a:cubicBezTo>
                    <a:pt x="290" y="298"/>
                    <a:pt x="290" y="298"/>
                    <a:pt x="290" y="298"/>
                  </a:cubicBezTo>
                  <a:cubicBezTo>
                    <a:pt x="290" y="298"/>
                    <a:pt x="289" y="298"/>
                    <a:pt x="289" y="298"/>
                  </a:cubicBezTo>
                  <a:cubicBezTo>
                    <a:pt x="289" y="298"/>
                    <a:pt x="289" y="298"/>
                    <a:pt x="289" y="297"/>
                  </a:cubicBezTo>
                  <a:cubicBezTo>
                    <a:pt x="288" y="297"/>
                    <a:pt x="288" y="297"/>
                    <a:pt x="287" y="297"/>
                  </a:cubicBezTo>
                  <a:cubicBezTo>
                    <a:pt x="287" y="297"/>
                    <a:pt x="287" y="297"/>
                    <a:pt x="287" y="297"/>
                  </a:cubicBezTo>
                  <a:cubicBezTo>
                    <a:pt x="286" y="297"/>
                    <a:pt x="285" y="297"/>
                    <a:pt x="284" y="297"/>
                  </a:cubicBezTo>
                  <a:cubicBezTo>
                    <a:pt x="284" y="297"/>
                    <a:pt x="284" y="297"/>
                    <a:pt x="284" y="296"/>
                  </a:cubicBezTo>
                  <a:cubicBezTo>
                    <a:pt x="283" y="296"/>
                    <a:pt x="283" y="296"/>
                    <a:pt x="282" y="296"/>
                  </a:cubicBezTo>
                  <a:cubicBezTo>
                    <a:pt x="282" y="296"/>
                    <a:pt x="282" y="296"/>
                    <a:pt x="282" y="296"/>
                  </a:cubicBezTo>
                  <a:cubicBezTo>
                    <a:pt x="281" y="296"/>
                    <a:pt x="280" y="296"/>
                    <a:pt x="279" y="296"/>
                  </a:cubicBezTo>
                  <a:cubicBezTo>
                    <a:pt x="279" y="296"/>
                    <a:pt x="279" y="296"/>
                    <a:pt x="279" y="295"/>
                  </a:cubicBezTo>
                  <a:cubicBezTo>
                    <a:pt x="278" y="295"/>
                    <a:pt x="277" y="295"/>
                    <a:pt x="276" y="295"/>
                  </a:cubicBezTo>
                  <a:cubicBezTo>
                    <a:pt x="276" y="295"/>
                    <a:pt x="276" y="295"/>
                    <a:pt x="276" y="295"/>
                  </a:cubicBezTo>
                  <a:cubicBezTo>
                    <a:pt x="276" y="295"/>
                    <a:pt x="275" y="295"/>
                    <a:pt x="274" y="295"/>
                  </a:cubicBezTo>
                  <a:cubicBezTo>
                    <a:pt x="274" y="295"/>
                    <a:pt x="274" y="294"/>
                    <a:pt x="274" y="294"/>
                  </a:cubicBezTo>
                  <a:cubicBezTo>
                    <a:pt x="273" y="294"/>
                    <a:pt x="272" y="294"/>
                    <a:pt x="271" y="294"/>
                  </a:cubicBezTo>
                  <a:cubicBezTo>
                    <a:pt x="271" y="294"/>
                    <a:pt x="271" y="294"/>
                    <a:pt x="271" y="294"/>
                  </a:cubicBezTo>
                  <a:cubicBezTo>
                    <a:pt x="271" y="294"/>
                    <a:pt x="270" y="294"/>
                    <a:pt x="270" y="294"/>
                  </a:cubicBezTo>
                  <a:cubicBezTo>
                    <a:pt x="270" y="294"/>
                    <a:pt x="270" y="293"/>
                    <a:pt x="270" y="293"/>
                  </a:cubicBezTo>
                  <a:cubicBezTo>
                    <a:pt x="269" y="293"/>
                    <a:pt x="268" y="293"/>
                    <a:pt x="267" y="293"/>
                  </a:cubicBezTo>
                  <a:cubicBezTo>
                    <a:pt x="267" y="293"/>
                    <a:pt x="267" y="293"/>
                    <a:pt x="267" y="293"/>
                  </a:cubicBezTo>
                  <a:cubicBezTo>
                    <a:pt x="266" y="292"/>
                    <a:pt x="265" y="292"/>
                    <a:pt x="264" y="292"/>
                  </a:cubicBezTo>
                  <a:cubicBezTo>
                    <a:pt x="264" y="292"/>
                    <a:pt x="264" y="292"/>
                    <a:pt x="264" y="292"/>
                  </a:cubicBezTo>
                  <a:cubicBezTo>
                    <a:pt x="263" y="292"/>
                    <a:pt x="262" y="292"/>
                    <a:pt x="262" y="292"/>
                  </a:cubicBezTo>
                  <a:cubicBezTo>
                    <a:pt x="253" y="289"/>
                    <a:pt x="243" y="288"/>
                    <a:pt x="234" y="285"/>
                  </a:cubicBezTo>
                  <a:cubicBezTo>
                    <a:pt x="220" y="285"/>
                    <a:pt x="206" y="286"/>
                    <a:pt x="192" y="286"/>
                  </a:cubicBezTo>
                  <a:cubicBezTo>
                    <a:pt x="191" y="287"/>
                    <a:pt x="190" y="288"/>
                    <a:pt x="189" y="288"/>
                  </a:cubicBezTo>
                  <a:cubicBezTo>
                    <a:pt x="189" y="289"/>
                    <a:pt x="189" y="289"/>
                    <a:pt x="188" y="289"/>
                  </a:cubicBezTo>
                  <a:cubicBezTo>
                    <a:pt x="188" y="289"/>
                    <a:pt x="188" y="289"/>
                    <a:pt x="188" y="289"/>
                  </a:cubicBezTo>
                  <a:cubicBezTo>
                    <a:pt x="188" y="289"/>
                    <a:pt x="187" y="290"/>
                    <a:pt x="187" y="290"/>
                  </a:cubicBezTo>
                  <a:cubicBezTo>
                    <a:pt x="187" y="290"/>
                    <a:pt x="187" y="290"/>
                    <a:pt x="187" y="290"/>
                  </a:cubicBezTo>
                  <a:cubicBezTo>
                    <a:pt x="186" y="290"/>
                    <a:pt x="186" y="290"/>
                    <a:pt x="186" y="291"/>
                  </a:cubicBezTo>
                  <a:cubicBezTo>
                    <a:pt x="186" y="291"/>
                    <a:pt x="185" y="291"/>
                    <a:pt x="185" y="291"/>
                  </a:cubicBezTo>
                  <a:cubicBezTo>
                    <a:pt x="185" y="291"/>
                    <a:pt x="185" y="291"/>
                    <a:pt x="185" y="292"/>
                  </a:cubicBezTo>
                  <a:cubicBezTo>
                    <a:pt x="185" y="292"/>
                    <a:pt x="184" y="292"/>
                    <a:pt x="184" y="292"/>
                  </a:cubicBezTo>
                  <a:cubicBezTo>
                    <a:pt x="184" y="292"/>
                    <a:pt x="184" y="292"/>
                    <a:pt x="184" y="293"/>
                  </a:cubicBezTo>
                  <a:cubicBezTo>
                    <a:pt x="183" y="293"/>
                    <a:pt x="183" y="293"/>
                    <a:pt x="183" y="293"/>
                  </a:cubicBezTo>
                  <a:cubicBezTo>
                    <a:pt x="183" y="293"/>
                    <a:pt x="183" y="293"/>
                    <a:pt x="183" y="293"/>
                  </a:cubicBezTo>
                  <a:cubicBezTo>
                    <a:pt x="182" y="293"/>
                    <a:pt x="182" y="293"/>
                    <a:pt x="182" y="293"/>
                  </a:cubicBezTo>
                  <a:cubicBezTo>
                    <a:pt x="182" y="294"/>
                    <a:pt x="182" y="294"/>
                    <a:pt x="181" y="294"/>
                  </a:cubicBezTo>
                  <a:cubicBezTo>
                    <a:pt x="181" y="294"/>
                    <a:pt x="181" y="294"/>
                    <a:pt x="181" y="294"/>
                  </a:cubicBezTo>
                  <a:cubicBezTo>
                    <a:pt x="180" y="294"/>
                    <a:pt x="180" y="295"/>
                    <a:pt x="180" y="295"/>
                  </a:cubicBezTo>
                  <a:cubicBezTo>
                    <a:pt x="180" y="295"/>
                    <a:pt x="180" y="295"/>
                    <a:pt x="179" y="295"/>
                  </a:cubicBezTo>
                  <a:cubicBezTo>
                    <a:pt x="179" y="295"/>
                    <a:pt x="179" y="296"/>
                    <a:pt x="179" y="296"/>
                  </a:cubicBezTo>
                  <a:cubicBezTo>
                    <a:pt x="179" y="296"/>
                    <a:pt x="178" y="296"/>
                    <a:pt x="178" y="296"/>
                  </a:cubicBezTo>
                  <a:cubicBezTo>
                    <a:pt x="178" y="296"/>
                    <a:pt x="178" y="296"/>
                    <a:pt x="178" y="297"/>
                  </a:cubicBezTo>
                  <a:cubicBezTo>
                    <a:pt x="177" y="297"/>
                    <a:pt x="177" y="297"/>
                    <a:pt x="177" y="297"/>
                  </a:cubicBezTo>
                  <a:cubicBezTo>
                    <a:pt x="177" y="297"/>
                    <a:pt x="177" y="297"/>
                    <a:pt x="177" y="297"/>
                  </a:cubicBezTo>
                  <a:cubicBezTo>
                    <a:pt x="176" y="297"/>
                    <a:pt x="176" y="297"/>
                    <a:pt x="176" y="297"/>
                  </a:cubicBezTo>
                  <a:cubicBezTo>
                    <a:pt x="176" y="298"/>
                    <a:pt x="175" y="298"/>
                    <a:pt x="175" y="299"/>
                  </a:cubicBezTo>
                  <a:cubicBezTo>
                    <a:pt x="175" y="299"/>
                    <a:pt x="175" y="299"/>
                    <a:pt x="174" y="299"/>
                  </a:cubicBezTo>
                  <a:cubicBezTo>
                    <a:pt x="174" y="299"/>
                    <a:pt x="174" y="299"/>
                    <a:pt x="174" y="299"/>
                  </a:cubicBezTo>
                  <a:cubicBezTo>
                    <a:pt x="174" y="299"/>
                    <a:pt x="174" y="299"/>
                    <a:pt x="173" y="299"/>
                  </a:cubicBezTo>
                  <a:cubicBezTo>
                    <a:pt x="173" y="299"/>
                    <a:pt x="173" y="300"/>
                    <a:pt x="173" y="300"/>
                  </a:cubicBezTo>
                  <a:cubicBezTo>
                    <a:pt x="173" y="300"/>
                    <a:pt x="173" y="300"/>
                    <a:pt x="172" y="300"/>
                  </a:cubicBezTo>
                  <a:cubicBezTo>
                    <a:pt x="172" y="300"/>
                    <a:pt x="172" y="301"/>
                    <a:pt x="172" y="301"/>
                  </a:cubicBezTo>
                  <a:cubicBezTo>
                    <a:pt x="171" y="301"/>
                    <a:pt x="171" y="301"/>
                    <a:pt x="171" y="301"/>
                  </a:cubicBezTo>
                  <a:cubicBezTo>
                    <a:pt x="171" y="301"/>
                    <a:pt x="171" y="301"/>
                    <a:pt x="171" y="302"/>
                  </a:cubicBezTo>
                  <a:cubicBezTo>
                    <a:pt x="170" y="302"/>
                    <a:pt x="170" y="302"/>
                    <a:pt x="170" y="302"/>
                  </a:cubicBezTo>
                  <a:cubicBezTo>
                    <a:pt x="170" y="302"/>
                    <a:pt x="169" y="302"/>
                    <a:pt x="169" y="303"/>
                  </a:cubicBezTo>
                  <a:cubicBezTo>
                    <a:pt x="169" y="303"/>
                    <a:pt x="169" y="303"/>
                    <a:pt x="168" y="303"/>
                  </a:cubicBezTo>
                  <a:cubicBezTo>
                    <a:pt x="168" y="303"/>
                    <a:pt x="168" y="303"/>
                    <a:pt x="168" y="303"/>
                  </a:cubicBezTo>
                  <a:cubicBezTo>
                    <a:pt x="168" y="303"/>
                    <a:pt x="168" y="303"/>
                    <a:pt x="167" y="303"/>
                  </a:cubicBezTo>
                  <a:cubicBezTo>
                    <a:pt x="167" y="304"/>
                    <a:pt x="167" y="304"/>
                    <a:pt x="167" y="304"/>
                  </a:cubicBezTo>
                  <a:cubicBezTo>
                    <a:pt x="166" y="304"/>
                    <a:pt x="166" y="304"/>
                    <a:pt x="166" y="304"/>
                  </a:cubicBezTo>
                  <a:cubicBezTo>
                    <a:pt x="166" y="305"/>
                    <a:pt x="166" y="305"/>
                    <a:pt x="166" y="305"/>
                  </a:cubicBezTo>
                  <a:cubicBezTo>
                    <a:pt x="166" y="305"/>
                    <a:pt x="165" y="305"/>
                    <a:pt x="165" y="305"/>
                  </a:cubicBezTo>
                  <a:cubicBezTo>
                    <a:pt x="165" y="305"/>
                    <a:pt x="165" y="306"/>
                    <a:pt x="165" y="306"/>
                  </a:cubicBezTo>
                  <a:cubicBezTo>
                    <a:pt x="164" y="306"/>
                    <a:pt x="164" y="306"/>
                    <a:pt x="164" y="306"/>
                  </a:cubicBezTo>
                  <a:cubicBezTo>
                    <a:pt x="164" y="306"/>
                    <a:pt x="163" y="307"/>
                    <a:pt x="163" y="307"/>
                  </a:cubicBezTo>
                  <a:cubicBezTo>
                    <a:pt x="163" y="307"/>
                    <a:pt x="163" y="307"/>
                    <a:pt x="163" y="307"/>
                  </a:cubicBezTo>
                  <a:cubicBezTo>
                    <a:pt x="162" y="307"/>
                    <a:pt x="162" y="307"/>
                    <a:pt x="162" y="308"/>
                  </a:cubicBezTo>
                  <a:cubicBezTo>
                    <a:pt x="162" y="308"/>
                    <a:pt x="162" y="308"/>
                    <a:pt x="161" y="308"/>
                  </a:cubicBezTo>
                  <a:cubicBezTo>
                    <a:pt x="161" y="308"/>
                    <a:pt x="161" y="308"/>
                    <a:pt x="161" y="309"/>
                  </a:cubicBezTo>
                  <a:cubicBezTo>
                    <a:pt x="161" y="309"/>
                    <a:pt x="160" y="309"/>
                    <a:pt x="160" y="309"/>
                  </a:cubicBezTo>
                  <a:cubicBezTo>
                    <a:pt x="160" y="309"/>
                    <a:pt x="160" y="309"/>
                    <a:pt x="160" y="309"/>
                  </a:cubicBezTo>
                  <a:cubicBezTo>
                    <a:pt x="160" y="309"/>
                    <a:pt x="159" y="309"/>
                    <a:pt x="159" y="309"/>
                  </a:cubicBezTo>
                  <a:cubicBezTo>
                    <a:pt x="159" y="310"/>
                    <a:pt x="159" y="310"/>
                    <a:pt x="159" y="310"/>
                  </a:cubicBezTo>
                  <a:cubicBezTo>
                    <a:pt x="158" y="310"/>
                    <a:pt x="158" y="310"/>
                    <a:pt x="158" y="310"/>
                  </a:cubicBezTo>
                  <a:cubicBezTo>
                    <a:pt x="158" y="310"/>
                    <a:pt x="158" y="311"/>
                    <a:pt x="157" y="311"/>
                  </a:cubicBezTo>
                  <a:cubicBezTo>
                    <a:pt x="157" y="311"/>
                    <a:pt x="157" y="311"/>
                    <a:pt x="157" y="311"/>
                  </a:cubicBezTo>
                  <a:cubicBezTo>
                    <a:pt x="156" y="311"/>
                    <a:pt x="156" y="312"/>
                    <a:pt x="156" y="312"/>
                  </a:cubicBezTo>
                  <a:cubicBezTo>
                    <a:pt x="156" y="312"/>
                    <a:pt x="156" y="312"/>
                    <a:pt x="156" y="312"/>
                  </a:cubicBezTo>
                  <a:cubicBezTo>
                    <a:pt x="155" y="312"/>
                    <a:pt x="155" y="313"/>
                    <a:pt x="155" y="313"/>
                  </a:cubicBezTo>
                  <a:cubicBezTo>
                    <a:pt x="154" y="313"/>
                    <a:pt x="153" y="313"/>
                    <a:pt x="153" y="313"/>
                  </a:cubicBezTo>
                  <a:cubicBezTo>
                    <a:pt x="153" y="313"/>
                    <a:pt x="153" y="313"/>
                    <a:pt x="153" y="314"/>
                  </a:cubicBezTo>
                  <a:cubicBezTo>
                    <a:pt x="152" y="314"/>
                    <a:pt x="152" y="314"/>
                    <a:pt x="152" y="314"/>
                  </a:cubicBezTo>
                  <a:cubicBezTo>
                    <a:pt x="152" y="314"/>
                    <a:pt x="152" y="314"/>
                    <a:pt x="152" y="314"/>
                  </a:cubicBezTo>
                  <a:cubicBezTo>
                    <a:pt x="151" y="314"/>
                    <a:pt x="151" y="314"/>
                    <a:pt x="151" y="314"/>
                  </a:cubicBezTo>
                  <a:cubicBezTo>
                    <a:pt x="151" y="314"/>
                    <a:pt x="151" y="314"/>
                    <a:pt x="151" y="314"/>
                  </a:cubicBezTo>
                  <a:cubicBezTo>
                    <a:pt x="150" y="315"/>
                    <a:pt x="149" y="315"/>
                    <a:pt x="148" y="315"/>
                  </a:cubicBezTo>
                  <a:cubicBezTo>
                    <a:pt x="148" y="315"/>
                    <a:pt x="148" y="315"/>
                    <a:pt x="148" y="315"/>
                  </a:cubicBezTo>
                  <a:cubicBezTo>
                    <a:pt x="147" y="315"/>
                    <a:pt x="146" y="316"/>
                    <a:pt x="146" y="316"/>
                  </a:cubicBezTo>
                  <a:cubicBezTo>
                    <a:pt x="146" y="316"/>
                    <a:pt x="146" y="316"/>
                    <a:pt x="146" y="316"/>
                  </a:cubicBezTo>
                  <a:cubicBezTo>
                    <a:pt x="146" y="316"/>
                    <a:pt x="145" y="316"/>
                    <a:pt x="145" y="316"/>
                  </a:cubicBezTo>
                  <a:cubicBezTo>
                    <a:pt x="145" y="316"/>
                    <a:pt x="145" y="316"/>
                    <a:pt x="145" y="316"/>
                  </a:cubicBezTo>
                  <a:cubicBezTo>
                    <a:pt x="145" y="316"/>
                    <a:pt x="144" y="316"/>
                    <a:pt x="144" y="316"/>
                  </a:cubicBezTo>
                  <a:cubicBezTo>
                    <a:pt x="144" y="316"/>
                    <a:pt x="144" y="317"/>
                    <a:pt x="144" y="317"/>
                  </a:cubicBezTo>
                  <a:cubicBezTo>
                    <a:pt x="144" y="317"/>
                    <a:pt x="143" y="317"/>
                    <a:pt x="143" y="317"/>
                  </a:cubicBezTo>
                  <a:cubicBezTo>
                    <a:pt x="143" y="317"/>
                    <a:pt x="143" y="317"/>
                    <a:pt x="143" y="317"/>
                  </a:cubicBezTo>
                  <a:cubicBezTo>
                    <a:pt x="143" y="317"/>
                    <a:pt x="142" y="317"/>
                    <a:pt x="142" y="317"/>
                  </a:cubicBezTo>
                  <a:cubicBezTo>
                    <a:pt x="142" y="317"/>
                    <a:pt x="142" y="317"/>
                    <a:pt x="142" y="317"/>
                  </a:cubicBezTo>
                  <a:cubicBezTo>
                    <a:pt x="142" y="317"/>
                    <a:pt x="141" y="317"/>
                    <a:pt x="141" y="317"/>
                  </a:cubicBezTo>
                  <a:cubicBezTo>
                    <a:pt x="141" y="318"/>
                    <a:pt x="141" y="318"/>
                    <a:pt x="141" y="318"/>
                  </a:cubicBezTo>
                  <a:cubicBezTo>
                    <a:pt x="141" y="318"/>
                    <a:pt x="140" y="318"/>
                    <a:pt x="140" y="318"/>
                  </a:cubicBezTo>
                  <a:cubicBezTo>
                    <a:pt x="140" y="318"/>
                    <a:pt x="140" y="318"/>
                    <a:pt x="140" y="318"/>
                  </a:cubicBezTo>
                  <a:cubicBezTo>
                    <a:pt x="140" y="318"/>
                    <a:pt x="139" y="318"/>
                    <a:pt x="139" y="318"/>
                  </a:cubicBezTo>
                  <a:cubicBezTo>
                    <a:pt x="139" y="318"/>
                    <a:pt x="139" y="318"/>
                    <a:pt x="139" y="318"/>
                  </a:cubicBezTo>
                  <a:cubicBezTo>
                    <a:pt x="139" y="318"/>
                    <a:pt x="138" y="318"/>
                    <a:pt x="138" y="318"/>
                  </a:cubicBezTo>
                  <a:cubicBezTo>
                    <a:pt x="138" y="319"/>
                    <a:pt x="138" y="319"/>
                    <a:pt x="138" y="319"/>
                  </a:cubicBezTo>
                  <a:cubicBezTo>
                    <a:pt x="138" y="319"/>
                    <a:pt x="137" y="319"/>
                    <a:pt x="137" y="319"/>
                  </a:cubicBezTo>
                  <a:cubicBezTo>
                    <a:pt x="137" y="319"/>
                    <a:pt x="137" y="319"/>
                    <a:pt x="137" y="319"/>
                  </a:cubicBezTo>
                  <a:cubicBezTo>
                    <a:pt x="137" y="319"/>
                    <a:pt x="136" y="319"/>
                    <a:pt x="136" y="319"/>
                  </a:cubicBezTo>
                  <a:cubicBezTo>
                    <a:pt x="136" y="319"/>
                    <a:pt x="136" y="319"/>
                    <a:pt x="136" y="320"/>
                  </a:cubicBezTo>
                  <a:cubicBezTo>
                    <a:pt x="136" y="320"/>
                    <a:pt x="135" y="320"/>
                    <a:pt x="135" y="320"/>
                  </a:cubicBezTo>
                  <a:cubicBezTo>
                    <a:pt x="135" y="320"/>
                    <a:pt x="135" y="320"/>
                    <a:pt x="135" y="320"/>
                  </a:cubicBezTo>
                  <a:cubicBezTo>
                    <a:pt x="135" y="320"/>
                    <a:pt x="135" y="320"/>
                    <a:pt x="134" y="320"/>
                  </a:cubicBezTo>
                  <a:cubicBezTo>
                    <a:pt x="134" y="320"/>
                    <a:pt x="134" y="320"/>
                    <a:pt x="134" y="320"/>
                  </a:cubicBezTo>
                  <a:cubicBezTo>
                    <a:pt x="134" y="320"/>
                    <a:pt x="133" y="320"/>
                    <a:pt x="133" y="320"/>
                  </a:cubicBezTo>
                  <a:cubicBezTo>
                    <a:pt x="133" y="320"/>
                    <a:pt x="133" y="320"/>
                    <a:pt x="133" y="321"/>
                  </a:cubicBezTo>
                  <a:cubicBezTo>
                    <a:pt x="133" y="321"/>
                    <a:pt x="132" y="321"/>
                    <a:pt x="132" y="321"/>
                  </a:cubicBezTo>
                  <a:cubicBezTo>
                    <a:pt x="132" y="321"/>
                    <a:pt x="132" y="321"/>
                    <a:pt x="132" y="321"/>
                  </a:cubicBezTo>
                  <a:cubicBezTo>
                    <a:pt x="132" y="321"/>
                    <a:pt x="131" y="321"/>
                    <a:pt x="131" y="321"/>
                  </a:cubicBezTo>
                  <a:cubicBezTo>
                    <a:pt x="131" y="321"/>
                    <a:pt x="131" y="321"/>
                    <a:pt x="131" y="321"/>
                  </a:cubicBezTo>
                  <a:cubicBezTo>
                    <a:pt x="131" y="321"/>
                    <a:pt x="130" y="321"/>
                    <a:pt x="130" y="321"/>
                  </a:cubicBezTo>
                  <a:cubicBezTo>
                    <a:pt x="130" y="321"/>
                    <a:pt x="130" y="322"/>
                    <a:pt x="130" y="322"/>
                  </a:cubicBezTo>
                  <a:cubicBezTo>
                    <a:pt x="130" y="322"/>
                    <a:pt x="130" y="322"/>
                    <a:pt x="129" y="322"/>
                  </a:cubicBezTo>
                  <a:cubicBezTo>
                    <a:pt x="129" y="322"/>
                    <a:pt x="129" y="322"/>
                    <a:pt x="129" y="322"/>
                  </a:cubicBezTo>
                  <a:cubicBezTo>
                    <a:pt x="129" y="322"/>
                    <a:pt x="128" y="322"/>
                    <a:pt x="127" y="322"/>
                  </a:cubicBezTo>
                  <a:cubicBezTo>
                    <a:pt x="127" y="322"/>
                    <a:pt x="127" y="323"/>
                    <a:pt x="127" y="323"/>
                  </a:cubicBezTo>
                  <a:cubicBezTo>
                    <a:pt x="127" y="323"/>
                    <a:pt x="126" y="323"/>
                    <a:pt x="125" y="323"/>
                  </a:cubicBezTo>
                  <a:cubicBezTo>
                    <a:pt x="125" y="323"/>
                    <a:pt x="125" y="323"/>
                    <a:pt x="125" y="323"/>
                  </a:cubicBezTo>
                  <a:cubicBezTo>
                    <a:pt x="125" y="323"/>
                    <a:pt x="125" y="323"/>
                    <a:pt x="124" y="323"/>
                  </a:cubicBezTo>
                  <a:cubicBezTo>
                    <a:pt x="124" y="323"/>
                    <a:pt x="124" y="324"/>
                    <a:pt x="124" y="324"/>
                  </a:cubicBezTo>
                  <a:cubicBezTo>
                    <a:pt x="124" y="324"/>
                    <a:pt x="124" y="324"/>
                    <a:pt x="123" y="324"/>
                  </a:cubicBezTo>
                  <a:cubicBezTo>
                    <a:pt x="123" y="324"/>
                    <a:pt x="123" y="324"/>
                    <a:pt x="123" y="324"/>
                  </a:cubicBezTo>
                  <a:cubicBezTo>
                    <a:pt x="123" y="324"/>
                    <a:pt x="123" y="324"/>
                    <a:pt x="122" y="324"/>
                  </a:cubicBezTo>
                  <a:cubicBezTo>
                    <a:pt x="121" y="325"/>
                    <a:pt x="119" y="326"/>
                    <a:pt x="117" y="326"/>
                  </a:cubicBezTo>
                  <a:cubicBezTo>
                    <a:pt x="117" y="326"/>
                    <a:pt x="117" y="326"/>
                    <a:pt x="116" y="326"/>
                  </a:cubicBezTo>
                  <a:cubicBezTo>
                    <a:pt x="116" y="326"/>
                    <a:pt x="116" y="326"/>
                    <a:pt x="116" y="327"/>
                  </a:cubicBezTo>
                  <a:cubicBezTo>
                    <a:pt x="116" y="327"/>
                    <a:pt x="115" y="327"/>
                    <a:pt x="114" y="327"/>
                  </a:cubicBezTo>
                  <a:cubicBezTo>
                    <a:pt x="114" y="327"/>
                    <a:pt x="114" y="327"/>
                    <a:pt x="114" y="327"/>
                  </a:cubicBezTo>
                  <a:cubicBezTo>
                    <a:pt x="114" y="327"/>
                    <a:pt x="113" y="327"/>
                    <a:pt x="113" y="328"/>
                  </a:cubicBezTo>
                  <a:cubicBezTo>
                    <a:pt x="113" y="328"/>
                    <a:pt x="113" y="328"/>
                    <a:pt x="113" y="328"/>
                  </a:cubicBezTo>
                  <a:cubicBezTo>
                    <a:pt x="113" y="328"/>
                    <a:pt x="112" y="328"/>
                    <a:pt x="112" y="328"/>
                  </a:cubicBezTo>
                  <a:cubicBezTo>
                    <a:pt x="112" y="328"/>
                    <a:pt x="112" y="328"/>
                    <a:pt x="112" y="329"/>
                  </a:cubicBezTo>
                  <a:cubicBezTo>
                    <a:pt x="112" y="329"/>
                    <a:pt x="111" y="329"/>
                    <a:pt x="111" y="329"/>
                  </a:cubicBezTo>
                  <a:cubicBezTo>
                    <a:pt x="111" y="329"/>
                    <a:pt x="111" y="329"/>
                    <a:pt x="111" y="329"/>
                  </a:cubicBezTo>
                  <a:cubicBezTo>
                    <a:pt x="111" y="329"/>
                    <a:pt x="110" y="329"/>
                    <a:pt x="110" y="329"/>
                  </a:cubicBezTo>
                  <a:cubicBezTo>
                    <a:pt x="110" y="329"/>
                    <a:pt x="110" y="330"/>
                    <a:pt x="110" y="330"/>
                  </a:cubicBezTo>
                  <a:cubicBezTo>
                    <a:pt x="110" y="330"/>
                    <a:pt x="109" y="330"/>
                    <a:pt x="109" y="330"/>
                  </a:cubicBezTo>
                  <a:cubicBezTo>
                    <a:pt x="109" y="330"/>
                    <a:pt x="109" y="330"/>
                    <a:pt x="109" y="331"/>
                  </a:cubicBezTo>
                  <a:cubicBezTo>
                    <a:pt x="108" y="331"/>
                    <a:pt x="108" y="331"/>
                    <a:pt x="108" y="331"/>
                  </a:cubicBezTo>
                  <a:cubicBezTo>
                    <a:pt x="108" y="331"/>
                    <a:pt x="108" y="331"/>
                    <a:pt x="108" y="331"/>
                  </a:cubicBezTo>
                  <a:cubicBezTo>
                    <a:pt x="107" y="331"/>
                    <a:pt x="107" y="331"/>
                    <a:pt x="107" y="331"/>
                  </a:cubicBezTo>
                  <a:cubicBezTo>
                    <a:pt x="107" y="332"/>
                    <a:pt x="107" y="332"/>
                    <a:pt x="107" y="332"/>
                  </a:cubicBezTo>
                  <a:cubicBezTo>
                    <a:pt x="106" y="332"/>
                    <a:pt x="106" y="332"/>
                    <a:pt x="106" y="332"/>
                  </a:cubicBezTo>
                  <a:cubicBezTo>
                    <a:pt x="106" y="332"/>
                    <a:pt x="106" y="333"/>
                    <a:pt x="106" y="333"/>
                  </a:cubicBezTo>
                  <a:cubicBezTo>
                    <a:pt x="105" y="333"/>
                    <a:pt x="105" y="333"/>
                    <a:pt x="105" y="333"/>
                  </a:cubicBezTo>
                  <a:cubicBezTo>
                    <a:pt x="105" y="333"/>
                    <a:pt x="105" y="333"/>
                    <a:pt x="104" y="334"/>
                  </a:cubicBezTo>
                  <a:cubicBezTo>
                    <a:pt x="104" y="334"/>
                    <a:pt x="104" y="334"/>
                    <a:pt x="103" y="334"/>
                  </a:cubicBezTo>
                  <a:cubicBezTo>
                    <a:pt x="103" y="334"/>
                    <a:pt x="103" y="334"/>
                    <a:pt x="103" y="335"/>
                  </a:cubicBezTo>
                  <a:cubicBezTo>
                    <a:pt x="102" y="335"/>
                    <a:pt x="102" y="335"/>
                    <a:pt x="102" y="335"/>
                  </a:cubicBezTo>
                  <a:cubicBezTo>
                    <a:pt x="102" y="335"/>
                    <a:pt x="102" y="335"/>
                    <a:pt x="102" y="335"/>
                  </a:cubicBezTo>
                  <a:cubicBezTo>
                    <a:pt x="101" y="335"/>
                    <a:pt x="101" y="335"/>
                    <a:pt x="101" y="335"/>
                  </a:cubicBezTo>
                  <a:cubicBezTo>
                    <a:pt x="101" y="335"/>
                    <a:pt x="101" y="335"/>
                    <a:pt x="101" y="336"/>
                  </a:cubicBezTo>
                  <a:cubicBezTo>
                    <a:pt x="101" y="336"/>
                    <a:pt x="100" y="336"/>
                    <a:pt x="100" y="336"/>
                  </a:cubicBezTo>
                  <a:cubicBezTo>
                    <a:pt x="100" y="336"/>
                    <a:pt x="100" y="336"/>
                    <a:pt x="100" y="337"/>
                  </a:cubicBezTo>
                  <a:cubicBezTo>
                    <a:pt x="99" y="337"/>
                    <a:pt x="99" y="337"/>
                    <a:pt x="99" y="337"/>
                  </a:cubicBezTo>
                  <a:cubicBezTo>
                    <a:pt x="99" y="337"/>
                    <a:pt x="99" y="337"/>
                    <a:pt x="99" y="337"/>
                  </a:cubicBezTo>
                  <a:cubicBezTo>
                    <a:pt x="98" y="337"/>
                    <a:pt x="98" y="337"/>
                    <a:pt x="98" y="337"/>
                  </a:cubicBezTo>
                  <a:cubicBezTo>
                    <a:pt x="98" y="338"/>
                    <a:pt x="98" y="338"/>
                    <a:pt x="97" y="338"/>
                  </a:cubicBezTo>
                  <a:cubicBezTo>
                    <a:pt x="97" y="338"/>
                    <a:pt x="97" y="338"/>
                    <a:pt x="97" y="338"/>
                  </a:cubicBezTo>
                  <a:cubicBezTo>
                    <a:pt x="97" y="338"/>
                    <a:pt x="97" y="339"/>
                    <a:pt x="96" y="339"/>
                  </a:cubicBezTo>
                  <a:cubicBezTo>
                    <a:pt x="96" y="339"/>
                    <a:pt x="96" y="339"/>
                    <a:pt x="96" y="339"/>
                  </a:cubicBezTo>
                  <a:cubicBezTo>
                    <a:pt x="96" y="339"/>
                    <a:pt x="95" y="339"/>
                    <a:pt x="95" y="339"/>
                  </a:cubicBezTo>
                  <a:cubicBezTo>
                    <a:pt x="95" y="339"/>
                    <a:pt x="95" y="339"/>
                    <a:pt x="95" y="339"/>
                  </a:cubicBezTo>
                  <a:cubicBezTo>
                    <a:pt x="95" y="340"/>
                    <a:pt x="94" y="340"/>
                    <a:pt x="94" y="340"/>
                  </a:cubicBezTo>
                  <a:cubicBezTo>
                    <a:pt x="94" y="340"/>
                    <a:pt x="94" y="340"/>
                    <a:pt x="94" y="340"/>
                  </a:cubicBezTo>
                  <a:cubicBezTo>
                    <a:pt x="94" y="340"/>
                    <a:pt x="94" y="340"/>
                    <a:pt x="94" y="341"/>
                  </a:cubicBezTo>
                  <a:cubicBezTo>
                    <a:pt x="93" y="341"/>
                    <a:pt x="93" y="341"/>
                    <a:pt x="93" y="341"/>
                  </a:cubicBezTo>
                  <a:cubicBezTo>
                    <a:pt x="92" y="341"/>
                    <a:pt x="92" y="341"/>
                    <a:pt x="92" y="342"/>
                  </a:cubicBezTo>
                  <a:cubicBezTo>
                    <a:pt x="92" y="342"/>
                    <a:pt x="92" y="342"/>
                    <a:pt x="92" y="342"/>
                  </a:cubicBezTo>
                  <a:cubicBezTo>
                    <a:pt x="91" y="342"/>
                    <a:pt x="91" y="342"/>
                    <a:pt x="91" y="342"/>
                  </a:cubicBezTo>
                  <a:cubicBezTo>
                    <a:pt x="91" y="342"/>
                    <a:pt x="91" y="342"/>
                    <a:pt x="90" y="342"/>
                  </a:cubicBezTo>
                  <a:cubicBezTo>
                    <a:pt x="90" y="342"/>
                    <a:pt x="90" y="343"/>
                    <a:pt x="90" y="343"/>
                  </a:cubicBezTo>
                  <a:cubicBezTo>
                    <a:pt x="90" y="343"/>
                    <a:pt x="90" y="343"/>
                    <a:pt x="89" y="343"/>
                  </a:cubicBezTo>
                  <a:cubicBezTo>
                    <a:pt x="89" y="343"/>
                    <a:pt x="89" y="343"/>
                    <a:pt x="89" y="344"/>
                  </a:cubicBezTo>
                  <a:cubicBezTo>
                    <a:pt x="89" y="344"/>
                    <a:pt x="88" y="344"/>
                    <a:pt x="88" y="344"/>
                  </a:cubicBezTo>
                  <a:cubicBezTo>
                    <a:pt x="88" y="344"/>
                    <a:pt x="87" y="344"/>
                    <a:pt x="87" y="345"/>
                  </a:cubicBezTo>
                  <a:cubicBezTo>
                    <a:pt x="87" y="345"/>
                    <a:pt x="87" y="345"/>
                    <a:pt x="87" y="345"/>
                  </a:cubicBezTo>
                  <a:cubicBezTo>
                    <a:pt x="87" y="345"/>
                    <a:pt x="86" y="345"/>
                    <a:pt x="86" y="345"/>
                  </a:cubicBezTo>
                  <a:cubicBezTo>
                    <a:pt x="86" y="345"/>
                    <a:pt x="86" y="345"/>
                    <a:pt x="86" y="345"/>
                  </a:cubicBezTo>
                  <a:cubicBezTo>
                    <a:pt x="85" y="346"/>
                    <a:pt x="85" y="346"/>
                    <a:pt x="85" y="346"/>
                  </a:cubicBezTo>
                  <a:cubicBezTo>
                    <a:pt x="85" y="346"/>
                    <a:pt x="85" y="346"/>
                    <a:pt x="85" y="346"/>
                  </a:cubicBezTo>
                  <a:cubicBezTo>
                    <a:pt x="84" y="346"/>
                    <a:pt x="84" y="347"/>
                    <a:pt x="84" y="347"/>
                  </a:cubicBezTo>
                  <a:cubicBezTo>
                    <a:pt x="84" y="347"/>
                    <a:pt x="84" y="347"/>
                    <a:pt x="83" y="347"/>
                  </a:cubicBezTo>
                  <a:cubicBezTo>
                    <a:pt x="83" y="347"/>
                    <a:pt x="83" y="347"/>
                    <a:pt x="83" y="348"/>
                  </a:cubicBezTo>
                  <a:cubicBezTo>
                    <a:pt x="83" y="348"/>
                    <a:pt x="83" y="348"/>
                    <a:pt x="82" y="348"/>
                  </a:cubicBezTo>
                  <a:cubicBezTo>
                    <a:pt x="82" y="348"/>
                    <a:pt x="82" y="348"/>
                    <a:pt x="82" y="348"/>
                  </a:cubicBezTo>
                  <a:cubicBezTo>
                    <a:pt x="82" y="348"/>
                    <a:pt x="82" y="348"/>
                    <a:pt x="81" y="348"/>
                  </a:cubicBezTo>
                  <a:cubicBezTo>
                    <a:pt x="81" y="348"/>
                    <a:pt x="81" y="349"/>
                    <a:pt x="81" y="349"/>
                  </a:cubicBezTo>
                  <a:cubicBezTo>
                    <a:pt x="81" y="349"/>
                    <a:pt x="81" y="349"/>
                    <a:pt x="80" y="349"/>
                  </a:cubicBezTo>
                  <a:cubicBezTo>
                    <a:pt x="80" y="349"/>
                    <a:pt x="80" y="349"/>
                    <a:pt x="80" y="350"/>
                  </a:cubicBezTo>
                  <a:cubicBezTo>
                    <a:pt x="80" y="350"/>
                    <a:pt x="80" y="350"/>
                    <a:pt x="79" y="350"/>
                  </a:cubicBezTo>
                  <a:cubicBezTo>
                    <a:pt x="79" y="350"/>
                    <a:pt x="79" y="350"/>
                    <a:pt x="79" y="350"/>
                  </a:cubicBezTo>
                  <a:cubicBezTo>
                    <a:pt x="79" y="350"/>
                    <a:pt x="78" y="350"/>
                    <a:pt x="78" y="350"/>
                  </a:cubicBezTo>
                  <a:cubicBezTo>
                    <a:pt x="78" y="350"/>
                    <a:pt x="78" y="351"/>
                    <a:pt x="78" y="351"/>
                  </a:cubicBezTo>
                  <a:cubicBezTo>
                    <a:pt x="78" y="351"/>
                    <a:pt x="78" y="351"/>
                    <a:pt x="77" y="351"/>
                  </a:cubicBezTo>
                  <a:cubicBezTo>
                    <a:pt x="77" y="351"/>
                    <a:pt x="77" y="351"/>
                    <a:pt x="77" y="352"/>
                  </a:cubicBezTo>
                  <a:cubicBezTo>
                    <a:pt x="77" y="352"/>
                    <a:pt x="76" y="352"/>
                    <a:pt x="76" y="352"/>
                  </a:cubicBezTo>
                  <a:cubicBezTo>
                    <a:pt x="76" y="352"/>
                    <a:pt x="76" y="352"/>
                    <a:pt x="76" y="352"/>
                  </a:cubicBezTo>
                  <a:cubicBezTo>
                    <a:pt x="76" y="352"/>
                    <a:pt x="75" y="352"/>
                    <a:pt x="75" y="352"/>
                  </a:cubicBezTo>
                  <a:cubicBezTo>
                    <a:pt x="75" y="353"/>
                    <a:pt x="75" y="353"/>
                    <a:pt x="75" y="353"/>
                  </a:cubicBezTo>
                  <a:cubicBezTo>
                    <a:pt x="74" y="353"/>
                    <a:pt x="74" y="353"/>
                    <a:pt x="73" y="353"/>
                  </a:cubicBezTo>
                  <a:cubicBezTo>
                    <a:pt x="73" y="354"/>
                    <a:pt x="73" y="354"/>
                    <a:pt x="73" y="354"/>
                  </a:cubicBezTo>
                  <a:cubicBezTo>
                    <a:pt x="73" y="354"/>
                    <a:pt x="73" y="354"/>
                    <a:pt x="72" y="354"/>
                  </a:cubicBezTo>
                  <a:cubicBezTo>
                    <a:pt x="72" y="353"/>
                    <a:pt x="71" y="352"/>
                    <a:pt x="70" y="351"/>
                  </a:cubicBezTo>
                  <a:cubicBezTo>
                    <a:pt x="70" y="351"/>
                    <a:pt x="70" y="350"/>
                    <a:pt x="70" y="350"/>
                  </a:cubicBezTo>
                  <a:cubicBezTo>
                    <a:pt x="70" y="350"/>
                    <a:pt x="69" y="350"/>
                    <a:pt x="69" y="350"/>
                  </a:cubicBezTo>
                  <a:cubicBezTo>
                    <a:pt x="69" y="349"/>
                    <a:pt x="69" y="349"/>
                    <a:pt x="69" y="349"/>
                  </a:cubicBezTo>
                  <a:cubicBezTo>
                    <a:pt x="69" y="349"/>
                    <a:pt x="69" y="349"/>
                    <a:pt x="69" y="349"/>
                  </a:cubicBezTo>
                  <a:cubicBezTo>
                    <a:pt x="69" y="349"/>
                    <a:pt x="69" y="348"/>
                    <a:pt x="69" y="348"/>
                  </a:cubicBezTo>
                  <a:cubicBezTo>
                    <a:pt x="69" y="348"/>
                    <a:pt x="69" y="348"/>
                    <a:pt x="68" y="348"/>
                  </a:cubicBezTo>
                  <a:cubicBezTo>
                    <a:pt x="68" y="348"/>
                    <a:pt x="68" y="348"/>
                    <a:pt x="68" y="348"/>
                  </a:cubicBezTo>
                  <a:cubicBezTo>
                    <a:pt x="68" y="348"/>
                    <a:pt x="68" y="348"/>
                    <a:pt x="68" y="348"/>
                  </a:cubicBezTo>
                  <a:cubicBezTo>
                    <a:pt x="68" y="347"/>
                    <a:pt x="68" y="347"/>
                    <a:pt x="68" y="347"/>
                  </a:cubicBezTo>
                  <a:cubicBezTo>
                    <a:pt x="68" y="347"/>
                    <a:pt x="68" y="347"/>
                    <a:pt x="67" y="346"/>
                  </a:cubicBezTo>
                  <a:cubicBezTo>
                    <a:pt x="67" y="346"/>
                    <a:pt x="67" y="346"/>
                    <a:pt x="67" y="346"/>
                  </a:cubicBezTo>
                  <a:cubicBezTo>
                    <a:pt x="67" y="346"/>
                    <a:pt x="67" y="346"/>
                    <a:pt x="67" y="346"/>
                  </a:cubicBezTo>
                  <a:cubicBezTo>
                    <a:pt x="67" y="346"/>
                    <a:pt x="67" y="345"/>
                    <a:pt x="67" y="345"/>
                  </a:cubicBezTo>
                  <a:cubicBezTo>
                    <a:pt x="67" y="345"/>
                    <a:pt x="67" y="345"/>
                    <a:pt x="67" y="345"/>
                  </a:cubicBezTo>
                  <a:cubicBezTo>
                    <a:pt x="67" y="345"/>
                    <a:pt x="67" y="345"/>
                    <a:pt x="67" y="344"/>
                  </a:cubicBezTo>
                  <a:cubicBezTo>
                    <a:pt x="67" y="344"/>
                    <a:pt x="66" y="344"/>
                    <a:pt x="66" y="344"/>
                  </a:cubicBezTo>
                  <a:cubicBezTo>
                    <a:pt x="66" y="344"/>
                    <a:pt x="66" y="344"/>
                    <a:pt x="66" y="344"/>
                  </a:cubicBezTo>
                  <a:cubicBezTo>
                    <a:pt x="66" y="344"/>
                    <a:pt x="66" y="344"/>
                    <a:pt x="66" y="344"/>
                  </a:cubicBezTo>
                  <a:cubicBezTo>
                    <a:pt x="66" y="343"/>
                    <a:pt x="66" y="343"/>
                    <a:pt x="66" y="343"/>
                  </a:cubicBezTo>
                  <a:cubicBezTo>
                    <a:pt x="66" y="343"/>
                    <a:pt x="66" y="343"/>
                    <a:pt x="65" y="343"/>
                  </a:cubicBezTo>
                  <a:cubicBezTo>
                    <a:pt x="65" y="342"/>
                    <a:pt x="65" y="342"/>
                    <a:pt x="65" y="342"/>
                  </a:cubicBezTo>
                  <a:cubicBezTo>
                    <a:pt x="65" y="342"/>
                    <a:pt x="65" y="342"/>
                    <a:pt x="65" y="342"/>
                  </a:cubicBezTo>
                  <a:cubicBezTo>
                    <a:pt x="65" y="342"/>
                    <a:pt x="65" y="341"/>
                    <a:pt x="65" y="341"/>
                  </a:cubicBezTo>
                  <a:cubicBezTo>
                    <a:pt x="65" y="341"/>
                    <a:pt x="65" y="341"/>
                    <a:pt x="65" y="341"/>
                  </a:cubicBezTo>
                  <a:cubicBezTo>
                    <a:pt x="65" y="341"/>
                    <a:pt x="65" y="341"/>
                    <a:pt x="65" y="341"/>
                  </a:cubicBezTo>
                  <a:cubicBezTo>
                    <a:pt x="64" y="341"/>
                    <a:pt x="64" y="341"/>
                    <a:pt x="64" y="341"/>
                  </a:cubicBezTo>
                  <a:cubicBezTo>
                    <a:pt x="64" y="340"/>
                    <a:pt x="64" y="340"/>
                    <a:pt x="64" y="340"/>
                  </a:cubicBezTo>
                  <a:cubicBezTo>
                    <a:pt x="64" y="340"/>
                    <a:pt x="64" y="340"/>
                    <a:pt x="64" y="340"/>
                  </a:cubicBezTo>
                  <a:cubicBezTo>
                    <a:pt x="64" y="340"/>
                    <a:pt x="64" y="339"/>
                    <a:pt x="64" y="339"/>
                  </a:cubicBezTo>
                  <a:cubicBezTo>
                    <a:pt x="64" y="339"/>
                    <a:pt x="64" y="339"/>
                    <a:pt x="64" y="339"/>
                  </a:cubicBezTo>
                  <a:cubicBezTo>
                    <a:pt x="64" y="339"/>
                    <a:pt x="64" y="339"/>
                    <a:pt x="64" y="338"/>
                  </a:cubicBezTo>
                  <a:cubicBezTo>
                    <a:pt x="63" y="338"/>
                    <a:pt x="63" y="338"/>
                    <a:pt x="63" y="338"/>
                  </a:cubicBezTo>
                  <a:cubicBezTo>
                    <a:pt x="63" y="338"/>
                    <a:pt x="63" y="338"/>
                    <a:pt x="63" y="338"/>
                  </a:cubicBezTo>
                  <a:cubicBezTo>
                    <a:pt x="63" y="338"/>
                    <a:pt x="63" y="338"/>
                    <a:pt x="63" y="338"/>
                  </a:cubicBezTo>
                  <a:cubicBezTo>
                    <a:pt x="63" y="337"/>
                    <a:pt x="63" y="337"/>
                    <a:pt x="63" y="336"/>
                  </a:cubicBezTo>
                  <a:cubicBezTo>
                    <a:pt x="62" y="336"/>
                    <a:pt x="62" y="336"/>
                    <a:pt x="62" y="336"/>
                  </a:cubicBezTo>
                  <a:cubicBezTo>
                    <a:pt x="62" y="335"/>
                    <a:pt x="61" y="335"/>
                    <a:pt x="61" y="334"/>
                  </a:cubicBezTo>
                  <a:cubicBezTo>
                    <a:pt x="61" y="334"/>
                    <a:pt x="61" y="334"/>
                    <a:pt x="61" y="334"/>
                  </a:cubicBezTo>
                  <a:cubicBezTo>
                    <a:pt x="61" y="334"/>
                    <a:pt x="61" y="333"/>
                    <a:pt x="61" y="333"/>
                  </a:cubicBezTo>
                  <a:cubicBezTo>
                    <a:pt x="61" y="333"/>
                    <a:pt x="61" y="333"/>
                    <a:pt x="60" y="333"/>
                  </a:cubicBezTo>
                  <a:cubicBezTo>
                    <a:pt x="60" y="333"/>
                    <a:pt x="60" y="333"/>
                    <a:pt x="60" y="332"/>
                  </a:cubicBezTo>
                  <a:cubicBezTo>
                    <a:pt x="60" y="332"/>
                    <a:pt x="60" y="332"/>
                    <a:pt x="60" y="332"/>
                  </a:cubicBezTo>
                  <a:cubicBezTo>
                    <a:pt x="60" y="332"/>
                    <a:pt x="60" y="331"/>
                    <a:pt x="59" y="330"/>
                  </a:cubicBezTo>
                  <a:cubicBezTo>
                    <a:pt x="59" y="330"/>
                    <a:pt x="59" y="330"/>
                    <a:pt x="59" y="330"/>
                  </a:cubicBezTo>
                  <a:cubicBezTo>
                    <a:pt x="59" y="330"/>
                    <a:pt x="59" y="330"/>
                    <a:pt x="59" y="329"/>
                  </a:cubicBezTo>
                  <a:cubicBezTo>
                    <a:pt x="59" y="329"/>
                    <a:pt x="59" y="329"/>
                    <a:pt x="59" y="329"/>
                  </a:cubicBezTo>
                  <a:cubicBezTo>
                    <a:pt x="59" y="329"/>
                    <a:pt x="59" y="329"/>
                    <a:pt x="59" y="329"/>
                  </a:cubicBezTo>
                  <a:cubicBezTo>
                    <a:pt x="59" y="329"/>
                    <a:pt x="58" y="329"/>
                    <a:pt x="58" y="329"/>
                  </a:cubicBezTo>
                  <a:cubicBezTo>
                    <a:pt x="58" y="328"/>
                    <a:pt x="58" y="328"/>
                    <a:pt x="58" y="327"/>
                  </a:cubicBezTo>
                  <a:cubicBezTo>
                    <a:pt x="58" y="327"/>
                    <a:pt x="58" y="327"/>
                    <a:pt x="58" y="327"/>
                  </a:cubicBezTo>
                  <a:cubicBezTo>
                    <a:pt x="57" y="327"/>
                    <a:pt x="57" y="326"/>
                    <a:pt x="57" y="326"/>
                  </a:cubicBezTo>
                  <a:cubicBezTo>
                    <a:pt x="57" y="326"/>
                    <a:pt x="57" y="326"/>
                    <a:pt x="57" y="326"/>
                  </a:cubicBezTo>
                  <a:cubicBezTo>
                    <a:pt x="57" y="325"/>
                    <a:pt x="57" y="325"/>
                    <a:pt x="57" y="325"/>
                  </a:cubicBezTo>
                  <a:cubicBezTo>
                    <a:pt x="56" y="322"/>
                    <a:pt x="54" y="320"/>
                    <a:pt x="54" y="316"/>
                  </a:cubicBezTo>
                  <a:cubicBezTo>
                    <a:pt x="55" y="315"/>
                    <a:pt x="54" y="315"/>
                    <a:pt x="55" y="315"/>
                  </a:cubicBezTo>
                  <a:cubicBezTo>
                    <a:pt x="55" y="315"/>
                    <a:pt x="55" y="314"/>
                    <a:pt x="56" y="314"/>
                  </a:cubicBezTo>
                  <a:cubicBezTo>
                    <a:pt x="56" y="314"/>
                    <a:pt x="56" y="314"/>
                    <a:pt x="56" y="314"/>
                  </a:cubicBezTo>
                  <a:cubicBezTo>
                    <a:pt x="56" y="313"/>
                    <a:pt x="57" y="313"/>
                    <a:pt x="57" y="312"/>
                  </a:cubicBezTo>
                  <a:cubicBezTo>
                    <a:pt x="57" y="312"/>
                    <a:pt x="57" y="312"/>
                    <a:pt x="58" y="311"/>
                  </a:cubicBezTo>
                  <a:cubicBezTo>
                    <a:pt x="58" y="311"/>
                    <a:pt x="58" y="311"/>
                    <a:pt x="58" y="311"/>
                  </a:cubicBezTo>
                  <a:cubicBezTo>
                    <a:pt x="59" y="311"/>
                    <a:pt x="59" y="310"/>
                    <a:pt x="60" y="310"/>
                  </a:cubicBezTo>
                  <a:cubicBezTo>
                    <a:pt x="60" y="310"/>
                    <a:pt x="60" y="310"/>
                    <a:pt x="60" y="310"/>
                  </a:cubicBezTo>
                  <a:cubicBezTo>
                    <a:pt x="61" y="309"/>
                    <a:pt x="61" y="309"/>
                    <a:pt x="61" y="309"/>
                  </a:cubicBezTo>
                  <a:cubicBezTo>
                    <a:pt x="61" y="309"/>
                    <a:pt x="62" y="309"/>
                    <a:pt x="62" y="309"/>
                  </a:cubicBezTo>
                  <a:cubicBezTo>
                    <a:pt x="62" y="308"/>
                    <a:pt x="63" y="308"/>
                    <a:pt x="63" y="307"/>
                  </a:cubicBezTo>
                  <a:cubicBezTo>
                    <a:pt x="63" y="307"/>
                    <a:pt x="63" y="307"/>
                    <a:pt x="64" y="307"/>
                  </a:cubicBezTo>
                  <a:cubicBezTo>
                    <a:pt x="64" y="307"/>
                    <a:pt x="64" y="306"/>
                    <a:pt x="65" y="306"/>
                  </a:cubicBezTo>
                  <a:cubicBezTo>
                    <a:pt x="65" y="306"/>
                    <a:pt x="65" y="306"/>
                    <a:pt x="65" y="306"/>
                  </a:cubicBezTo>
                  <a:cubicBezTo>
                    <a:pt x="66" y="306"/>
                    <a:pt x="66" y="305"/>
                    <a:pt x="66" y="305"/>
                  </a:cubicBezTo>
                  <a:cubicBezTo>
                    <a:pt x="67" y="304"/>
                    <a:pt x="68" y="303"/>
                    <a:pt x="68" y="303"/>
                  </a:cubicBezTo>
                  <a:cubicBezTo>
                    <a:pt x="68" y="303"/>
                    <a:pt x="68" y="302"/>
                    <a:pt x="68" y="302"/>
                  </a:cubicBezTo>
                  <a:cubicBezTo>
                    <a:pt x="69" y="302"/>
                    <a:pt x="69" y="302"/>
                    <a:pt x="70" y="301"/>
                  </a:cubicBezTo>
                  <a:cubicBezTo>
                    <a:pt x="70" y="301"/>
                    <a:pt x="70" y="300"/>
                    <a:pt x="70" y="299"/>
                  </a:cubicBezTo>
                  <a:cubicBezTo>
                    <a:pt x="70" y="299"/>
                    <a:pt x="70" y="299"/>
                    <a:pt x="71" y="299"/>
                  </a:cubicBezTo>
                  <a:cubicBezTo>
                    <a:pt x="71" y="298"/>
                    <a:pt x="71" y="296"/>
                    <a:pt x="71" y="295"/>
                  </a:cubicBezTo>
                  <a:cubicBezTo>
                    <a:pt x="71" y="295"/>
                    <a:pt x="71" y="295"/>
                    <a:pt x="71" y="295"/>
                  </a:cubicBezTo>
                  <a:cubicBezTo>
                    <a:pt x="71" y="294"/>
                    <a:pt x="71" y="293"/>
                    <a:pt x="71" y="292"/>
                  </a:cubicBezTo>
                  <a:cubicBezTo>
                    <a:pt x="70" y="292"/>
                    <a:pt x="70" y="292"/>
                    <a:pt x="70" y="292"/>
                  </a:cubicBezTo>
                  <a:cubicBezTo>
                    <a:pt x="70" y="291"/>
                    <a:pt x="70" y="290"/>
                    <a:pt x="70" y="289"/>
                  </a:cubicBezTo>
                  <a:cubicBezTo>
                    <a:pt x="69" y="286"/>
                    <a:pt x="68" y="283"/>
                    <a:pt x="67" y="280"/>
                  </a:cubicBezTo>
                  <a:cubicBezTo>
                    <a:pt x="67" y="280"/>
                    <a:pt x="66" y="279"/>
                    <a:pt x="66" y="279"/>
                  </a:cubicBezTo>
                  <a:cubicBezTo>
                    <a:pt x="66" y="279"/>
                    <a:pt x="66" y="279"/>
                    <a:pt x="66" y="279"/>
                  </a:cubicBezTo>
                  <a:cubicBezTo>
                    <a:pt x="66" y="278"/>
                    <a:pt x="66" y="277"/>
                    <a:pt x="65" y="277"/>
                  </a:cubicBezTo>
                  <a:cubicBezTo>
                    <a:pt x="65" y="277"/>
                    <a:pt x="65" y="277"/>
                    <a:pt x="65" y="277"/>
                  </a:cubicBezTo>
                  <a:cubicBezTo>
                    <a:pt x="65" y="276"/>
                    <a:pt x="65" y="276"/>
                    <a:pt x="65" y="276"/>
                  </a:cubicBezTo>
                  <a:cubicBezTo>
                    <a:pt x="65" y="276"/>
                    <a:pt x="65" y="276"/>
                    <a:pt x="65" y="276"/>
                  </a:cubicBezTo>
                  <a:cubicBezTo>
                    <a:pt x="65" y="276"/>
                    <a:pt x="65" y="275"/>
                    <a:pt x="65" y="275"/>
                  </a:cubicBezTo>
                  <a:cubicBezTo>
                    <a:pt x="64" y="275"/>
                    <a:pt x="64" y="275"/>
                    <a:pt x="64" y="275"/>
                  </a:cubicBezTo>
                  <a:cubicBezTo>
                    <a:pt x="64" y="274"/>
                    <a:pt x="64" y="274"/>
                    <a:pt x="64" y="273"/>
                  </a:cubicBezTo>
                  <a:cubicBezTo>
                    <a:pt x="63" y="273"/>
                    <a:pt x="63" y="273"/>
                    <a:pt x="63" y="273"/>
                  </a:cubicBezTo>
                  <a:cubicBezTo>
                    <a:pt x="63" y="272"/>
                    <a:pt x="63" y="272"/>
                    <a:pt x="63" y="272"/>
                  </a:cubicBezTo>
                  <a:cubicBezTo>
                    <a:pt x="62" y="271"/>
                    <a:pt x="61" y="270"/>
                    <a:pt x="60" y="269"/>
                  </a:cubicBezTo>
                  <a:cubicBezTo>
                    <a:pt x="60" y="269"/>
                    <a:pt x="60" y="269"/>
                    <a:pt x="60" y="269"/>
                  </a:cubicBezTo>
                  <a:cubicBezTo>
                    <a:pt x="59" y="269"/>
                    <a:pt x="59" y="269"/>
                    <a:pt x="59" y="268"/>
                  </a:cubicBezTo>
                  <a:cubicBezTo>
                    <a:pt x="59" y="268"/>
                    <a:pt x="59" y="268"/>
                    <a:pt x="59" y="268"/>
                  </a:cubicBezTo>
                  <a:cubicBezTo>
                    <a:pt x="57" y="266"/>
                    <a:pt x="55" y="264"/>
                    <a:pt x="53" y="263"/>
                  </a:cubicBezTo>
                  <a:cubicBezTo>
                    <a:pt x="53" y="262"/>
                    <a:pt x="52" y="261"/>
                    <a:pt x="52" y="260"/>
                  </a:cubicBezTo>
                  <a:cubicBezTo>
                    <a:pt x="51" y="260"/>
                    <a:pt x="51" y="260"/>
                    <a:pt x="51" y="260"/>
                  </a:cubicBezTo>
                  <a:cubicBezTo>
                    <a:pt x="51" y="260"/>
                    <a:pt x="51" y="260"/>
                    <a:pt x="51" y="259"/>
                  </a:cubicBezTo>
                  <a:cubicBezTo>
                    <a:pt x="50" y="258"/>
                    <a:pt x="49" y="257"/>
                    <a:pt x="47" y="256"/>
                  </a:cubicBezTo>
                  <a:cubicBezTo>
                    <a:pt x="47" y="256"/>
                    <a:pt x="47" y="256"/>
                    <a:pt x="47" y="256"/>
                  </a:cubicBezTo>
                  <a:cubicBezTo>
                    <a:pt x="47" y="255"/>
                    <a:pt x="46" y="254"/>
                    <a:pt x="45" y="253"/>
                  </a:cubicBezTo>
                  <a:cubicBezTo>
                    <a:pt x="45" y="253"/>
                    <a:pt x="45" y="253"/>
                    <a:pt x="45" y="253"/>
                  </a:cubicBezTo>
                  <a:cubicBezTo>
                    <a:pt x="44" y="252"/>
                    <a:pt x="44" y="252"/>
                    <a:pt x="43" y="251"/>
                  </a:cubicBezTo>
                  <a:cubicBezTo>
                    <a:pt x="43" y="251"/>
                    <a:pt x="43" y="251"/>
                    <a:pt x="43" y="251"/>
                  </a:cubicBezTo>
                  <a:cubicBezTo>
                    <a:pt x="43" y="250"/>
                    <a:pt x="42" y="250"/>
                    <a:pt x="42" y="250"/>
                  </a:cubicBezTo>
                  <a:cubicBezTo>
                    <a:pt x="42" y="249"/>
                    <a:pt x="42" y="249"/>
                    <a:pt x="42" y="249"/>
                  </a:cubicBezTo>
                  <a:cubicBezTo>
                    <a:pt x="42" y="249"/>
                    <a:pt x="41" y="248"/>
                    <a:pt x="41" y="248"/>
                  </a:cubicBezTo>
                  <a:cubicBezTo>
                    <a:pt x="41" y="248"/>
                    <a:pt x="41" y="248"/>
                    <a:pt x="41" y="247"/>
                  </a:cubicBezTo>
                  <a:cubicBezTo>
                    <a:pt x="40" y="247"/>
                    <a:pt x="40" y="247"/>
                    <a:pt x="40" y="247"/>
                  </a:cubicBezTo>
                  <a:cubicBezTo>
                    <a:pt x="40" y="247"/>
                    <a:pt x="40" y="246"/>
                    <a:pt x="40" y="246"/>
                  </a:cubicBezTo>
                  <a:cubicBezTo>
                    <a:pt x="40" y="246"/>
                    <a:pt x="39" y="246"/>
                    <a:pt x="39" y="246"/>
                  </a:cubicBezTo>
                  <a:cubicBezTo>
                    <a:pt x="39" y="245"/>
                    <a:pt x="39" y="245"/>
                    <a:pt x="39" y="245"/>
                  </a:cubicBezTo>
                  <a:cubicBezTo>
                    <a:pt x="39" y="245"/>
                    <a:pt x="39" y="245"/>
                    <a:pt x="38" y="245"/>
                  </a:cubicBezTo>
                  <a:cubicBezTo>
                    <a:pt x="38" y="244"/>
                    <a:pt x="38" y="244"/>
                    <a:pt x="38" y="244"/>
                  </a:cubicBezTo>
                  <a:cubicBezTo>
                    <a:pt x="38" y="244"/>
                    <a:pt x="38" y="244"/>
                    <a:pt x="38" y="244"/>
                  </a:cubicBezTo>
                  <a:cubicBezTo>
                    <a:pt x="37" y="243"/>
                    <a:pt x="37" y="242"/>
                    <a:pt x="37" y="242"/>
                  </a:cubicBezTo>
                  <a:cubicBezTo>
                    <a:pt x="37" y="242"/>
                    <a:pt x="37" y="242"/>
                    <a:pt x="37" y="242"/>
                  </a:cubicBezTo>
                  <a:cubicBezTo>
                    <a:pt x="37" y="241"/>
                    <a:pt x="37" y="241"/>
                    <a:pt x="37" y="241"/>
                  </a:cubicBezTo>
                  <a:cubicBezTo>
                    <a:pt x="37" y="241"/>
                    <a:pt x="36" y="241"/>
                    <a:pt x="36" y="241"/>
                  </a:cubicBezTo>
                  <a:cubicBezTo>
                    <a:pt x="36" y="240"/>
                    <a:pt x="36" y="239"/>
                    <a:pt x="36" y="239"/>
                  </a:cubicBezTo>
                  <a:cubicBezTo>
                    <a:pt x="35" y="239"/>
                    <a:pt x="35" y="239"/>
                    <a:pt x="35" y="239"/>
                  </a:cubicBezTo>
                  <a:cubicBezTo>
                    <a:pt x="35" y="238"/>
                    <a:pt x="35" y="238"/>
                    <a:pt x="35" y="238"/>
                  </a:cubicBezTo>
                  <a:cubicBezTo>
                    <a:pt x="35" y="238"/>
                    <a:pt x="35" y="238"/>
                    <a:pt x="35" y="238"/>
                  </a:cubicBezTo>
                  <a:cubicBezTo>
                    <a:pt x="35" y="237"/>
                    <a:pt x="35" y="237"/>
                    <a:pt x="35" y="237"/>
                  </a:cubicBezTo>
                  <a:cubicBezTo>
                    <a:pt x="35" y="237"/>
                    <a:pt x="35" y="237"/>
                    <a:pt x="35" y="237"/>
                  </a:cubicBezTo>
                  <a:cubicBezTo>
                    <a:pt x="35" y="237"/>
                    <a:pt x="35" y="236"/>
                    <a:pt x="35" y="236"/>
                  </a:cubicBezTo>
                  <a:cubicBezTo>
                    <a:pt x="34" y="236"/>
                    <a:pt x="34" y="236"/>
                    <a:pt x="34" y="236"/>
                  </a:cubicBezTo>
                  <a:cubicBezTo>
                    <a:pt x="34" y="236"/>
                    <a:pt x="34" y="235"/>
                    <a:pt x="34" y="235"/>
                  </a:cubicBezTo>
                  <a:cubicBezTo>
                    <a:pt x="34" y="235"/>
                    <a:pt x="34" y="235"/>
                    <a:pt x="34" y="235"/>
                  </a:cubicBezTo>
                  <a:cubicBezTo>
                    <a:pt x="33" y="234"/>
                    <a:pt x="33" y="232"/>
                    <a:pt x="33" y="231"/>
                  </a:cubicBezTo>
                  <a:cubicBezTo>
                    <a:pt x="33" y="231"/>
                    <a:pt x="33" y="231"/>
                    <a:pt x="32" y="231"/>
                  </a:cubicBezTo>
                  <a:cubicBezTo>
                    <a:pt x="32" y="230"/>
                    <a:pt x="32" y="229"/>
                    <a:pt x="32" y="228"/>
                  </a:cubicBezTo>
                  <a:cubicBezTo>
                    <a:pt x="32" y="228"/>
                    <a:pt x="32" y="228"/>
                    <a:pt x="32" y="228"/>
                  </a:cubicBezTo>
                  <a:cubicBezTo>
                    <a:pt x="32" y="227"/>
                    <a:pt x="31" y="227"/>
                    <a:pt x="31" y="226"/>
                  </a:cubicBezTo>
                  <a:cubicBezTo>
                    <a:pt x="31" y="226"/>
                    <a:pt x="31" y="226"/>
                    <a:pt x="31" y="226"/>
                  </a:cubicBezTo>
                  <a:cubicBezTo>
                    <a:pt x="31" y="225"/>
                    <a:pt x="31" y="225"/>
                    <a:pt x="31" y="225"/>
                  </a:cubicBezTo>
                  <a:cubicBezTo>
                    <a:pt x="31" y="225"/>
                    <a:pt x="31" y="225"/>
                    <a:pt x="31" y="225"/>
                  </a:cubicBezTo>
                  <a:cubicBezTo>
                    <a:pt x="31" y="224"/>
                    <a:pt x="31" y="224"/>
                    <a:pt x="31" y="223"/>
                  </a:cubicBezTo>
                  <a:cubicBezTo>
                    <a:pt x="31" y="223"/>
                    <a:pt x="30" y="223"/>
                    <a:pt x="30" y="223"/>
                  </a:cubicBezTo>
                  <a:cubicBezTo>
                    <a:pt x="30" y="223"/>
                    <a:pt x="30" y="222"/>
                    <a:pt x="30" y="221"/>
                  </a:cubicBezTo>
                  <a:cubicBezTo>
                    <a:pt x="30" y="221"/>
                    <a:pt x="30" y="221"/>
                    <a:pt x="30" y="221"/>
                  </a:cubicBezTo>
                  <a:cubicBezTo>
                    <a:pt x="30" y="221"/>
                    <a:pt x="30" y="221"/>
                    <a:pt x="30" y="221"/>
                  </a:cubicBezTo>
                  <a:cubicBezTo>
                    <a:pt x="30" y="221"/>
                    <a:pt x="29" y="221"/>
                    <a:pt x="29" y="221"/>
                  </a:cubicBezTo>
                  <a:cubicBezTo>
                    <a:pt x="29" y="220"/>
                    <a:pt x="29" y="220"/>
                    <a:pt x="29" y="220"/>
                  </a:cubicBezTo>
                  <a:cubicBezTo>
                    <a:pt x="29" y="220"/>
                    <a:pt x="29" y="220"/>
                    <a:pt x="29" y="220"/>
                  </a:cubicBezTo>
                  <a:cubicBezTo>
                    <a:pt x="29" y="219"/>
                    <a:pt x="29" y="219"/>
                    <a:pt x="29" y="219"/>
                  </a:cubicBezTo>
                  <a:cubicBezTo>
                    <a:pt x="29" y="219"/>
                    <a:pt x="29" y="219"/>
                    <a:pt x="29" y="219"/>
                  </a:cubicBezTo>
                  <a:cubicBezTo>
                    <a:pt x="29" y="219"/>
                    <a:pt x="29" y="218"/>
                    <a:pt x="29" y="218"/>
                  </a:cubicBezTo>
                  <a:cubicBezTo>
                    <a:pt x="28" y="218"/>
                    <a:pt x="28" y="218"/>
                    <a:pt x="28" y="218"/>
                  </a:cubicBezTo>
                  <a:cubicBezTo>
                    <a:pt x="28" y="218"/>
                    <a:pt x="28" y="218"/>
                    <a:pt x="28" y="217"/>
                  </a:cubicBezTo>
                  <a:cubicBezTo>
                    <a:pt x="28" y="217"/>
                    <a:pt x="28" y="217"/>
                    <a:pt x="28" y="217"/>
                  </a:cubicBezTo>
                  <a:cubicBezTo>
                    <a:pt x="28" y="217"/>
                    <a:pt x="28" y="217"/>
                    <a:pt x="28" y="216"/>
                  </a:cubicBezTo>
                  <a:cubicBezTo>
                    <a:pt x="27" y="216"/>
                    <a:pt x="27" y="216"/>
                    <a:pt x="26" y="215"/>
                  </a:cubicBezTo>
                  <a:cubicBezTo>
                    <a:pt x="26" y="215"/>
                    <a:pt x="26" y="215"/>
                    <a:pt x="26" y="215"/>
                  </a:cubicBezTo>
                  <a:cubicBezTo>
                    <a:pt x="26" y="215"/>
                    <a:pt x="26" y="215"/>
                    <a:pt x="25" y="215"/>
                  </a:cubicBezTo>
                  <a:cubicBezTo>
                    <a:pt x="25" y="215"/>
                    <a:pt x="25" y="214"/>
                    <a:pt x="25" y="214"/>
                  </a:cubicBezTo>
                  <a:cubicBezTo>
                    <a:pt x="25" y="214"/>
                    <a:pt x="24" y="214"/>
                    <a:pt x="24" y="214"/>
                  </a:cubicBezTo>
                  <a:cubicBezTo>
                    <a:pt x="24" y="214"/>
                    <a:pt x="24" y="214"/>
                    <a:pt x="24" y="214"/>
                  </a:cubicBezTo>
                  <a:cubicBezTo>
                    <a:pt x="23" y="213"/>
                    <a:pt x="22" y="213"/>
                    <a:pt x="22" y="213"/>
                  </a:cubicBezTo>
                  <a:cubicBezTo>
                    <a:pt x="22" y="213"/>
                    <a:pt x="22" y="213"/>
                    <a:pt x="22" y="213"/>
                  </a:cubicBezTo>
                  <a:cubicBezTo>
                    <a:pt x="21" y="212"/>
                    <a:pt x="20" y="212"/>
                    <a:pt x="19" y="212"/>
                  </a:cubicBezTo>
                  <a:cubicBezTo>
                    <a:pt x="19" y="212"/>
                    <a:pt x="19" y="212"/>
                    <a:pt x="19" y="212"/>
                  </a:cubicBezTo>
                  <a:cubicBezTo>
                    <a:pt x="19" y="212"/>
                    <a:pt x="19" y="212"/>
                    <a:pt x="19" y="212"/>
                  </a:cubicBezTo>
                  <a:cubicBezTo>
                    <a:pt x="19" y="212"/>
                    <a:pt x="19" y="212"/>
                    <a:pt x="19" y="211"/>
                  </a:cubicBezTo>
                  <a:cubicBezTo>
                    <a:pt x="18" y="211"/>
                    <a:pt x="17" y="211"/>
                    <a:pt x="17" y="211"/>
                  </a:cubicBezTo>
                  <a:cubicBezTo>
                    <a:pt x="17" y="211"/>
                    <a:pt x="17" y="211"/>
                    <a:pt x="17" y="211"/>
                  </a:cubicBezTo>
                  <a:cubicBezTo>
                    <a:pt x="16" y="211"/>
                    <a:pt x="16" y="211"/>
                    <a:pt x="16" y="211"/>
                  </a:cubicBezTo>
                  <a:cubicBezTo>
                    <a:pt x="16" y="211"/>
                    <a:pt x="16" y="211"/>
                    <a:pt x="16" y="210"/>
                  </a:cubicBezTo>
                  <a:cubicBezTo>
                    <a:pt x="15" y="210"/>
                    <a:pt x="15" y="210"/>
                    <a:pt x="15" y="210"/>
                  </a:cubicBezTo>
                  <a:cubicBezTo>
                    <a:pt x="15" y="210"/>
                    <a:pt x="15" y="210"/>
                    <a:pt x="15" y="210"/>
                  </a:cubicBezTo>
                  <a:cubicBezTo>
                    <a:pt x="14" y="210"/>
                    <a:pt x="14" y="210"/>
                    <a:pt x="14" y="210"/>
                  </a:cubicBezTo>
                  <a:cubicBezTo>
                    <a:pt x="14" y="210"/>
                    <a:pt x="14" y="210"/>
                    <a:pt x="14" y="210"/>
                  </a:cubicBezTo>
                  <a:cubicBezTo>
                    <a:pt x="13" y="210"/>
                    <a:pt x="13" y="210"/>
                    <a:pt x="12" y="210"/>
                  </a:cubicBezTo>
                  <a:cubicBezTo>
                    <a:pt x="12" y="210"/>
                    <a:pt x="12" y="209"/>
                    <a:pt x="12" y="209"/>
                  </a:cubicBezTo>
                  <a:cubicBezTo>
                    <a:pt x="12" y="209"/>
                    <a:pt x="12" y="209"/>
                    <a:pt x="11" y="209"/>
                  </a:cubicBezTo>
                  <a:cubicBezTo>
                    <a:pt x="11" y="209"/>
                    <a:pt x="11" y="209"/>
                    <a:pt x="11" y="209"/>
                  </a:cubicBezTo>
                  <a:cubicBezTo>
                    <a:pt x="11" y="209"/>
                    <a:pt x="11" y="209"/>
                    <a:pt x="10" y="209"/>
                  </a:cubicBezTo>
                  <a:cubicBezTo>
                    <a:pt x="10" y="209"/>
                    <a:pt x="10" y="209"/>
                    <a:pt x="10" y="209"/>
                  </a:cubicBezTo>
                  <a:cubicBezTo>
                    <a:pt x="9" y="208"/>
                    <a:pt x="8" y="208"/>
                    <a:pt x="7" y="208"/>
                  </a:cubicBezTo>
                  <a:cubicBezTo>
                    <a:pt x="7" y="208"/>
                    <a:pt x="7" y="208"/>
                    <a:pt x="7" y="208"/>
                  </a:cubicBezTo>
                  <a:cubicBezTo>
                    <a:pt x="7" y="207"/>
                    <a:pt x="6" y="207"/>
                    <a:pt x="6" y="207"/>
                  </a:cubicBezTo>
                  <a:cubicBezTo>
                    <a:pt x="6" y="207"/>
                    <a:pt x="6" y="207"/>
                    <a:pt x="6" y="207"/>
                  </a:cubicBezTo>
                  <a:cubicBezTo>
                    <a:pt x="5" y="207"/>
                    <a:pt x="4" y="206"/>
                    <a:pt x="3" y="206"/>
                  </a:cubicBezTo>
                  <a:cubicBezTo>
                    <a:pt x="3" y="206"/>
                    <a:pt x="2" y="205"/>
                    <a:pt x="2" y="205"/>
                  </a:cubicBezTo>
                  <a:cubicBezTo>
                    <a:pt x="2" y="205"/>
                    <a:pt x="2" y="205"/>
                    <a:pt x="2" y="205"/>
                  </a:cubicBezTo>
                  <a:cubicBezTo>
                    <a:pt x="2" y="205"/>
                    <a:pt x="2" y="205"/>
                    <a:pt x="2" y="205"/>
                  </a:cubicBezTo>
                  <a:cubicBezTo>
                    <a:pt x="1" y="205"/>
                    <a:pt x="1" y="204"/>
                    <a:pt x="1" y="204"/>
                  </a:cubicBezTo>
                  <a:cubicBezTo>
                    <a:pt x="1" y="204"/>
                    <a:pt x="1" y="204"/>
                    <a:pt x="1" y="204"/>
                  </a:cubicBezTo>
                  <a:cubicBezTo>
                    <a:pt x="1" y="204"/>
                    <a:pt x="1" y="204"/>
                    <a:pt x="1" y="203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1" y="199"/>
                    <a:pt x="3" y="197"/>
                    <a:pt x="5" y="194"/>
                  </a:cubicBezTo>
                  <a:cubicBezTo>
                    <a:pt x="5" y="194"/>
                    <a:pt x="5" y="193"/>
                    <a:pt x="5" y="193"/>
                  </a:cubicBezTo>
                  <a:cubicBezTo>
                    <a:pt x="5" y="192"/>
                    <a:pt x="6" y="192"/>
                    <a:pt x="6" y="192"/>
                  </a:cubicBezTo>
                  <a:cubicBezTo>
                    <a:pt x="6" y="192"/>
                    <a:pt x="6" y="191"/>
                    <a:pt x="6" y="191"/>
                  </a:cubicBezTo>
                  <a:cubicBezTo>
                    <a:pt x="6" y="191"/>
                    <a:pt x="7" y="191"/>
                    <a:pt x="7" y="190"/>
                  </a:cubicBezTo>
                  <a:cubicBezTo>
                    <a:pt x="7" y="190"/>
                    <a:pt x="7" y="190"/>
                    <a:pt x="7" y="190"/>
                  </a:cubicBezTo>
                  <a:cubicBezTo>
                    <a:pt x="7" y="190"/>
                    <a:pt x="7" y="190"/>
                    <a:pt x="8" y="189"/>
                  </a:cubicBezTo>
                  <a:cubicBezTo>
                    <a:pt x="8" y="189"/>
                    <a:pt x="8" y="188"/>
                    <a:pt x="8" y="188"/>
                  </a:cubicBezTo>
                  <a:cubicBezTo>
                    <a:pt x="8" y="188"/>
                    <a:pt x="8" y="188"/>
                    <a:pt x="9" y="188"/>
                  </a:cubicBezTo>
                  <a:cubicBezTo>
                    <a:pt x="9" y="187"/>
                    <a:pt x="9" y="187"/>
                    <a:pt x="9" y="187"/>
                  </a:cubicBezTo>
                  <a:cubicBezTo>
                    <a:pt x="9" y="187"/>
                    <a:pt x="9" y="187"/>
                    <a:pt x="9" y="187"/>
                  </a:cubicBezTo>
                  <a:cubicBezTo>
                    <a:pt x="9" y="186"/>
                    <a:pt x="10" y="186"/>
                    <a:pt x="10" y="185"/>
                  </a:cubicBezTo>
                  <a:cubicBezTo>
                    <a:pt x="10" y="185"/>
                    <a:pt x="10" y="185"/>
                    <a:pt x="10" y="185"/>
                  </a:cubicBezTo>
                  <a:cubicBezTo>
                    <a:pt x="10" y="185"/>
                    <a:pt x="10" y="184"/>
                    <a:pt x="10" y="184"/>
                  </a:cubicBezTo>
                  <a:cubicBezTo>
                    <a:pt x="11" y="184"/>
                    <a:pt x="11" y="184"/>
                    <a:pt x="11" y="184"/>
                  </a:cubicBezTo>
                  <a:cubicBezTo>
                    <a:pt x="11" y="183"/>
                    <a:pt x="11" y="183"/>
                    <a:pt x="11" y="183"/>
                  </a:cubicBezTo>
                  <a:cubicBezTo>
                    <a:pt x="12" y="183"/>
                    <a:pt x="12" y="183"/>
                    <a:pt x="12" y="183"/>
                  </a:cubicBezTo>
                  <a:cubicBezTo>
                    <a:pt x="12" y="182"/>
                    <a:pt x="12" y="182"/>
                    <a:pt x="12" y="181"/>
                  </a:cubicBezTo>
                  <a:cubicBezTo>
                    <a:pt x="12" y="181"/>
                    <a:pt x="12" y="181"/>
                    <a:pt x="12" y="181"/>
                  </a:cubicBezTo>
                  <a:cubicBezTo>
                    <a:pt x="13" y="181"/>
                    <a:pt x="13" y="181"/>
                    <a:pt x="13" y="180"/>
                  </a:cubicBezTo>
                  <a:cubicBezTo>
                    <a:pt x="13" y="180"/>
                    <a:pt x="13" y="180"/>
                    <a:pt x="14" y="180"/>
                  </a:cubicBezTo>
                  <a:cubicBezTo>
                    <a:pt x="14" y="180"/>
                    <a:pt x="14" y="180"/>
                    <a:pt x="14" y="179"/>
                  </a:cubicBezTo>
                  <a:cubicBezTo>
                    <a:pt x="14" y="179"/>
                    <a:pt x="14" y="179"/>
                    <a:pt x="14" y="179"/>
                  </a:cubicBezTo>
                  <a:cubicBezTo>
                    <a:pt x="14" y="179"/>
                    <a:pt x="14" y="179"/>
                    <a:pt x="14" y="179"/>
                  </a:cubicBezTo>
                  <a:cubicBezTo>
                    <a:pt x="14" y="178"/>
                    <a:pt x="14" y="178"/>
                    <a:pt x="15" y="178"/>
                  </a:cubicBezTo>
                  <a:cubicBezTo>
                    <a:pt x="15" y="178"/>
                    <a:pt x="15" y="177"/>
                    <a:pt x="15" y="177"/>
                  </a:cubicBezTo>
                  <a:cubicBezTo>
                    <a:pt x="15" y="177"/>
                    <a:pt x="15" y="177"/>
                    <a:pt x="15" y="177"/>
                  </a:cubicBezTo>
                  <a:cubicBezTo>
                    <a:pt x="15" y="176"/>
                    <a:pt x="16" y="176"/>
                    <a:pt x="16" y="176"/>
                  </a:cubicBezTo>
                  <a:cubicBezTo>
                    <a:pt x="16" y="176"/>
                    <a:pt x="16" y="176"/>
                    <a:pt x="16" y="175"/>
                  </a:cubicBezTo>
                  <a:cubicBezTo>
                    <a:pt x="16" y="175"/>
                    <a:pt x="16" y="175"/>
                    <a:pt x="16" y="175"/>
                  </a:cubicBezTo>
                  <a:cubicBezTo>
                    <a:pt x="16" y="175"/>
                    <a:pt x="17" y="175"/>
                    <a:pt x="17" y="175"/>
                  </a:cubicBezTo>
                  <a:cubicBezTo>
                    <a:pt x="17" y="175"/>
                    <a:pt x="17" y="174"/>
                    <a:pt x="17" y="174"/>
                  </a:cubicBezTo>
                  <a:cubicBezTo>
                    <a:pt x="17" y="174"/>
                    <a:pt x="17" y="174"/>
                    <a:pt x="17" y="174"/>
                  </a:cubicBezTo>
                  <a:cubicBezTo>
                    <a:pt x="18" y="173"/>
                    <a:pt x="18" y="172"/>
                    <a:pt x="18" y="172"/>
                  </a:cubicBezTo>
                  <a:cubicBezTo>
                    <a:pt x="18" y="171"/>
                    <a:pt x="19" y="171"/>
                    <a:pt x="19" y="171"/>
                  </a:cubicBezTo>
                  <a:cubicBezTo>
                    <a:pt x="19" y="171"/>
                    <a:pt x="19" y="171"/>
                    <a:pt x="19" y="171"/>
                  </a:cubicBezTo>
                  <a:cubicBezTo>
                    <a:pt x="19" y="171"/>
                    <a:pt x="19" y="171"/>
                    <a:pt x="19" y="171"/>
                  </a:cubicBezTo>
                  <a:cubicBezTo>
                    <a:pt x="19" y="170"/>
                    <a:pt x="19" y="170"/>
                    <a:pt x="19" y="170"/>
                  </a:cubicBezTo>
                  <a:cubicBezTo>
                    <a:pt x="19" y="170"/>
                    <a:pt x="19" y="170"/>
                    <a:pt x="19" y="170"/>
                  </a:cubicBezTo>
                  <a:cubicBezTo>
                    <a:pt x="19" y="170"/>
                    <a:pt x="19" y="169"/>
                    <a:pt x="19" y="169"/>
                  </a:cubicBezTo>
                  <a:cubicBezTo>
                    <a:pt x="20" y="169"/>
                    <a:pt x="20" y="169"/>
                    <a:pt x="20" y="169"/>
                  </a:cubicBezTo>
                  <a:cubicBezTo>
                    <a:pt x="20" y="169"/>
                    <a:pt x="20" y="169"/>
                    <a:pt x="20" y="168"/>
                  </a:cubicBezTo>
                  <a:cubicBezTo>
                    <a:pt x="20" y="168"/>
                    <a:pt x="20" y="168"/>
                    <a:pt x="20" y="168"/>
                  </a:cubicBezTo>
                  <a:cubicBezTo>
                    <a:pt x="20" y="168"/>
                    <a:pt x="20" y="168"/>
                    <a:pt x="20" y="168"/>
                  </a:cubicBezTo>
                  <a:cubicBezTo>
                    <a:pt x="20" y="168"/>
                    <a:pt x="20" y="168"/>
                    <a:pt x="21" y="168"/>
                  </a:cubicBezTo>
                  <a:cubicBezTo>
                    <a:pt x="21" y="168"/>
                    <a:pt x="21" y="167"/>
                    <a:pt x="21" y="167"/>
                  </a:cubicBezTo>
                  <a:cubicBezTo>
                    <a:pt x="21" y="167"/>
                    <a:pt x="21" y="167"/>
                    <a:pt x="21" y="167"/>
                  </a:cubicBezTo>
                  <a:cubicBezTo>
                    <a:pt x="21" y="166"/>
                    <a:pt x="21" y="166"/>
                    <a:pt x="22" y="165"/>
                  </a:cubicBezTo>
                  <a:cubicBezTo>
                    <a:pt x="22" y="165"/>
                    <a:pt x="22" y="165"/>
                    <a:pt x="22" y="165"/>
                  </a:cubicBezTo>
                  <a:cubicBezTo>
                    <a:pt x="22" y="165"/>
                    <a:pt x="22" y="164"/>
                    <a:pt x="22" y="164"/>
                  </a:cubicBezTo>
                  <a:cubicBezTo>
                    <a:pt x="22" y="164"/>
                    <a:pt x="22" y="164"/>
                    <a:pt x="22" y="164"/>
                  </a:cubicBezTo>
                  <a:cubicBezTo>
                    <a:pt x="22" y="164"/>
                    <a:pt x="22" y="163"/>
                    <a:pt x="22" y="163"/>
                  </a:cubicBezTo>
                  <a:cubicBezTo>
                    <a:pt x="22" y="163"/>
                    <a:pt x="23" y="163"/>
                    <a:pt x="23" y="163"/>
                  </a:cubicBezTo>
                  <a:cubicBezTo>
                    <a:pt x="23" y="161"/>
                    <a:pt x="23" y="159"/>
                    <a:pt x="23" y="156"/>
                  </a:cubicBezTo>
                  <a:cubicBezTo>
                    <a:pt x="23" y="156"/>
                    <a:pt x="24" y="156"/>
                    <a:pt x="24" y="156"/>
                  </a:cubicBezTo>
                  <a:cubicBezTo>
                    <a:pt x="24" y="154"/>
                    <a:pt x="24" y="152"/>
                    <a:pt x="24" y="150"/>
                  </a:cubicBezTo>
                  <a:cubicBezTo>
                    <a:pt x="24" y="149"/>
                    <a:pt x="25" y="141"/>
                    <a:pt x="24" y="140"/>
                  </a:cubicBezTo>
                  <a:cubicBezTo>
                    <a:pt x="23" y="135"/>
                    <a:pt x="21" y="128"/>
                    <a:pt x="23" y="123"/>
                  </a:cubicBezTo>
                  <a:cubicBezTo>
                    <a:pt x="23" y="122"/>
                    <a:pt x="23" y="122"/>
                    <a:pt x="23" y="121"/>
                  </a:cubicBezTo>
                  <a:cubicBezTo>
                    <a:pt x="23" y="121"/>
                    <a:pt x="23" y="121"/>
                    <a:pt x="23" y="121"/>
                  </a:cubicBezTo>
                  <a:cubicBezTo>
                    <a:pt x="23" y="121"/>
                    <a:pt x="24" y="120"/>
                    <a:pt x="24" y="120"/>
                  </a:cubicBezTo>
                  <a:cubicBezTo>
                    <a:pt x="24" y="120"/>
                    <a:pt x="24" y="120"/>
                    <a:pt x="24" y="120"/>
                  </a:cubicBezTo>
                  <a:cubicBezTo>
                    <a:pt x="24" y="119"/>
                    <a:pt x="24" y="119"/>
                    <a:pt x="24" y="118"/>
                  </a:cubicBezTo>
                  <a:cubicBezTo>
                    <a:pt x="25" y="118"/>
                    <a:pt x="25" y="118"/>
                    <a:pt x="25" y="118"/>
                  </a:cubicBezTo>
                  <a:cubicBezTo>
                    <a:pt x="25" y="118"/>
                    <a:pt x="25" y="118"/>
                    <a:pt x="25" y="117"/>
                  </a:cubicBezTo>
                  <a:cubicBezTo>
                    <a:pt x="25" y="117"/>
                    <a:pt x="26" y="117"/>
                    <a:pt x="26" y="117"/>
                  </a:cubicBezTo>
                  <a:cubicBezTo>
                    <a:pt x="26" y="117"/>
                    <a:pt x="26" y="117"/>
                    <a:pt x="26" y="116"/>
                  </a:cubicBezTo>
                  <a:cubicBezTo>
                    <a:pt x="26" y="116"/>
                    <a:pt x="26" y="116"/>
                    <a:pt x="26" y="116"/>
                  </a:cubicBezTo>
                  <a:cubicBezTo>
                    <a:pt x="26" y="116"/>
                    <a:pt x="26" y="116"/>
                    <a:pt x="26" y="115"/>
                  </a:cubicBezTo>
                  <a:cubicBezTo>
                    <a:pt x="27" y="115"/>
                    <a:pt x="27" y="115"/>
                    <a:pt x="28" y="115"/>
                  </a:cubicBezTo>
                  <a:cubicBezTo>
                    <a:pt x="28" y="114"/>
                    <a:pt x="28" y="114"/>
                    <a:pt x="28" y="114"/>
                  </a:cubicBezTo>
                  <a:cubicBezTo>
                    <a:pt x="28" y="114"/>
                    <a:pt x="28" y="113"/>
                    <a:pt x="29" y="113"/>
                  </a:cubicBezTo>
                  <a:cubicBezTo>
                    <a:pt x="29" y="113"/>
                    <a:pt x="29" y="112"/>
                    <a:pt x="29" y="112"/>
                  </a:cubicBezTo>
                  <a:cubicBezTo>
                    <a:pt x="30" y="112"/>
                    <a:pt x="30" y="111"/>
                    <a:pt x="31" y="111"/>
                  </a:cubicBezTo>
                  <a:cubicBezTo>
                    <a:pt x="31" y="111"/>
                    <a:pt x="31" y="110"/>
                    <a:pt x="31" y="110"/>
                  </a:cubicBezTo>
                  <a:cubicBezTo>
                    <a:pt x="31" y="109"/>
                    <a:pt x="32" y="109"/>
                    <a:pt x="33" y="108"/>
                  </a:cubicBezTo>
                  <a:cubicBezTo>
                    <a:pt x="33" y="108"/>
                    <a:pt x="33" y="107"/>
                    <a:pt x="33" y="107"/>
                  </a:cubicBezTo>
                  <a:cubicBezTo>
                    <a:pt x="35" y="106"/>
                    <a:pt x="37" y="104"/>
                    <a:pt x="38" y="102"/>
                  </a:cubicBezTo>
                  <a:cubicBezTo>
                    <a:pt x="38" y="102"/>
                    <a:pt x="38" y="102"/>
                    <a:pt x="38" y="102"/>
                  </a:cubicBezTo>
                  <a:cubicBezTo>
                    <a:pt x="40" y="100"/>
                    <a:pt x="42" y="98"/>
                    <a:pt x="44" y="97"/>
                  </a:cubicBezTo>
                  <a:cubicBezTo>
                    <a:pt x="45" y="95"/>
                    <a:pt x="46" y="94"/>
                    <a:pt x="47" y="93"/>
                  </a:cubicBezTo>
                  <a:cubicBezTo>
                    <a:pt x="48" y="91"/>
                    <a:pt x="50" y="90"/>
                    <a:pt x="51" y="89"/>
                  </a:cubicBezTo>
                  <a:cubicBezTo>
                    <a:pt x="51" y="89"/>
                    <a:pt x="51" y="89"/>
                    <a:pt x="51" y="88"/>
                  </a:cubicBezTo>
                  <a:cubicBezTo>
                    <a:pt x="53" y="87"/>
                    <a:pt x="54" y="85"/>
                    <a:pt x="56" y="84"/>
                  </a:cubicBezTo>
                  <a:cubicBezTo>
                    <a:pt x="56" y="84"/>
                    <a:pt x="56" y="83"/>
                    <a:pt x="56" y="83"/>
                  </a:cubicBezTo>
                  <a:cubicBezTo>
                    <a:pt x="57" y="82"/>
                    <a:pt x="59" y="80"/>
                    <a:pt x="61" y="79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2" y="76"/>
                    <a:pt x="64" y="75"/>
                    <a:pt x="66" y="73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67" y="71"/>
                    <a:pt x="69" y="70"/>
                    <a:pt x="71" y="68"/>
                  </a:cubicBezTo>
                  <a:cubicBezTo>
                    <a:pt x="73" y="64"/>
                    <a:pt x="77" y="61"/>
                    <a:pt x="80" y="57"/>
                  </a:cubicBezTo>
                  <a:cubicBezTo>
                    <a:pt x="82" y="55"/>
                    <a:pt x="84" y="54"/>
                    <a:pt x="85" y="52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6" y="51"/>
                    <a:pt x="87" y="50"/>
                    <a:pt x="88" y="49"/>
                  </a:cubicBezTo>
                  <a:cubicBezTo>
                    <a:pt x="89" y="49"/>
                    <a:pt x="89" y="48"/>
                    <a:pt x="89" y="47"/>
                  </a:cubicBezTo>
                  <a:cubicBezTo>
                    <a:pt x="90" y="47"/>
                    <a:pt x="90" y="47"/>
                    <a:pt x="90" y="47"/>
                  </a:cubicBezTo>
                  <a:cubicBezTo>
                    <a:pt x="90" y="47"/>
                    <a:pt x="90" y="47"/>
                    <a:pt x="90" y="46"/>
                  </a:cubicBezTo>
                  <a:cubicBezTo>
                    <a:pt x="91" y="45"/>
                    <a:pt x="92" y="44"/>
                    <a:pt x="94" y="43"/>
                  </a:cubicBezTo>
                  <a:cubicBezTo>
                    <a:pt x="94" y="42"/>
                    <a:pt x="95" y="41"/>
                    <a:pt x="96" y="40"/>
                  </a:cubicBezTo>
                  <a:cubicBezTo>
                    <a:pt x="98" y="39"/>
                    <a:pt x="100" y="38"/>
                    <a:pt x="102" y="38"/>
                  </a:cubicBezTo>
                  <a:cubicBezTo>
                    <a:pt x="102" y="37"/>
                    <a:pt x="102" y="37"/>
                    <a:pt x="102" y="37"/>
                  </a:cubicBezTo>
                  <a:cubicBezTo>
                    <a:pt x="102" y="37"/>
                    <a:pt x="102" y="37"/>
                    <a:pt x="103" y="37"/>
                  </a:cubicBezTo>
                  <a:cubicBezTo>
                    <a:pt x="103" y="37"/>
                    <a:pt x="103" y="37"/>
                    <a:pt x="103" y="37"/>
                  </a:cubicBezTo>
                  <a:cubicBezTo>
                    <a:pt x="103" y="37"/>
                    <a:pt x="103" y="37"/>
                    <a:pt x="103" y="37"/>
                  </a:cubicBezTo>
                  <a:cubicBezTo>
                    <a:pt x="103" y="36"/>
                    <a:pt x="103" y="36"/>
                    <a:pt x="103" y="36"/>
                  </a:cubicBezTo>
                  <a:cubicBezTo>
                    <a:pt x="104" y="36"/>
                    <a:pt x="104" y="36"/>
                    <a:pt x="104" y="36"/>
                  </a:cubicBezTo>
                  <a:cubicBezTo>
                    <a:pt x="104" y="36"/>
                    <a:pt x="104" y="36"/>
                    <a:pt x="104" y="36"/>
                  </a:cubicBezTo>
                  <a:cubicBezTo>
                    <a:pt x="104" y="36"/>
                    <a:pt x="105" y="36"/>
                    <a:pt x="105" y="36"/>
                  </a:cubicBezTo>
                  <a:cubicBezTo>
                    <a:pt x="105" y="36"/>
                    <a:pt x="105" y="36"/>
                    <a:pt x="105" y="36"/>
                  </a:cubicBezTo>
                  <a:cubicBezTo>
                    <a:pt x="105" y="36"/>
                    <a:pt x="105" y="36"/>
                    <a:pt x="106" y="36"/>
                  </a:cubicBezTo>
                  <a:cubicBezTo>
                    <a:pt x="106" y="35"/>
                    <a:pt x="106" y="35"/>
                    <a:pt x="106" y="35"/>
                  </a:cubicBezTo>
                  <a:cubicBezTo>
                    <a:pt x="106" y="35"/>
                    <a:pt x="106" y="35"/>
                    <a:pt x="106" y="35"/>
                  </a:cubicBezTo>
                  <a:cubicBezTo>
                    <a:pt x="108" y="34"/>
                    <a:pt x="109" y="33"/>
                    <a:pt x="111" y="32"/>
                  </a:cubicBezTo>
                  <a:cubicBezTo>
                    <a:pt x="111" y="32"/>
                    <a:pt x="111" y="32"/>
                    <a:pt x="111" y="32"/>
                  </a:cubicBezTo>
                  <a:cubicBezTo>
                    <a:pt x="111" y="32"/>
                    <a:pt x="111" y="32"/>
                    <a:pt x="111" y="32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2" y="32"/>
                    <a:pt x="113" y="32"/>
                    <a:pt x="113" y="32"/>
                  </a:cubicBezTo>
                  <a:cubicBezTo>
                    <a:pt x="113" y="32"/>
                    <a:pt x="113" y="31"/>
                    <a:pt x="113" y="31"/>
                  </a:cubicBezTo>
                  <a:cubicBezTo>
                    <a:pt x="113" y="31"/>
                    <a:pt x="113" y="31"/>
                    <a:pt x="114" y="31"/>
                  </a:cubicBezTo>
                  <a:cubicBezTo>
                    <a:pt x="114" y="31"/>
                    <a:pt x="114" y="31"/>
                    <a:pt x="114" y="31"/>
                  </a:cubicBezTo>
                  <a:cubicBezTo>
                    <a:pt x="114" y="31"/>
                    <a:pt x="114" y="31"/>
                    <a:pt x="114" y="31"/>
                  </a:cubicBezTo>
                  <a:cubicBezTo>
                    <a:pt x="114" y="31"/>
                    <a:pt x="114" y="31"/>
                    <a:pt x="114" y="31"/>
                  </a:cubicBezTo>
                  <a:cubicBezTo>
                    <a:pt x="114" y="31"/>
                    <a:pt x="115" y="31"/>
                    <a:pt x="115" y="31"/>
                  </a:cubicBezTo>
                  <a:cubicBezTo>
                    <a:pt x="115" y="30"/>
                    <a:pt x="115" y="30"/>
                    <a:pt x="115" y="30"/>
                  </a:cubicBezTo>
                  <a:cubicBezTo>
                    <a:pt x="116" y="30"/>
                    <a:pt x="116" y="30"/>
                    <a:pt x="116" y="30"/>
                  </a:cubicBezTo>
                  <a:cubicBezTo>
                    <a:pt x="116" y="30"/>
                    <a:pt x="116" y="30"/>
                    <a:pt x="116" y="30"/>
                  </a:cubicBezTo>
                  <a:cubicBezTo>
                    <a:pt x="116" y="30"/>
                    <a:pt x="116" y="30"/>
                    <a:pt x="117" y="30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8" y="29"/>
                    <a:pt x="118" y="29"/>
                    <a:pt x="118" y="29"/>
                  </a:cubicBezTo>
                  <a:cubicBezTo>
                    <a:pt x="118" y="29"/>
                    <a:pt x="118" y="29"/>
                    <a:pt x="118" y="29"/>
                  </a:cubicBezTo>
                  <a:cubicBezTo>
                    <a:pt x="118" y="29"/>
                    <a:pt x="119" y="29"/>
                    <a:pt x="119" y="29"/>
                  </a:cubicBezTo>
                  <a:cubicBezTo>
                    <a:pt x="119" y="28"/>
                    <a:pt x="119" y="28"/>
                    <a:pt x="119" y="28"/>
                  </a:cubicBezTo>
                  <a:cubicBezTo>
                    <a:pt x="119" y="28"/>
                    <a:pt x="119" y="28"/>
                    <a:pt x="120" y="28"/>
                  </a:cubicBezTo>
                  <a:cubicBezTo>
                    <a:pt x="120" y="28"/>
                    <a:pt x="120" y="28"/>
                    <a:pt x="120" y="28"/>
                  </a:cubicBezTo>
                  <a:cubicBezTo>
                    <a:pt x="120" y="28"/>
                    <a:pt x="120" y="28"/>
                    <a:pt x="120" y="28"/>
                  </a:cubicBezTo>
                  <a:cubicBezTo>
                    <a:pt x="120" y="28"/>
                    <a:pt x="120" y="28"/>
                    <a:pt x="120" y="27"/>
                  </a:cubicBezTo>
                  <a:cubicBezTo>
                    <a:pt x="121" y="27"/>
                    <a:pt x="121" y="27"/>
                    <a:pt x="122" y="27"/>
                  </a:cubicBezTo>
                  <a:cubicBezTo>
                    <a:pt x="122" y="27"/>
                    <a:pt x="122" y="27"/>
                    <a:pt x="122" y="26"/>
                  </a:cubicBezTo>
                  <a:cubicBezTo>
                    <a:pt x="122" y="26"/>
                    <a:pt x="122" y="26"/>
                    <a:pt x="123" y="26"/>
                  </a:cubicBezTo>
                  <a:cubicBezTo>
                    <a:pt x="123" y="26"/>
                    <a:pt x="123" y="26"/>
                    <a:pt x="123" y="26"/>
                  </a:cubicBezTo>
                  <a:cubicBezTo>
                    <a:pt x="123" y="26"/>
                    <a:pt x="123" y="26"/>
                    <a:pt x="123" y="26"/>
                  </a:cubicBezTo>
                  <a:cubicBezTo>
                    <a:pt x="123" y="26"/>
                    <a:pt x="123" y="26"/>
                    <a:pt x="123" y="26"/>
                  </a:cubicBezTo>
                  <a:cubicBezTo>
                    <a:pt x="124" y="26"/>
                    <a:pt x="124" y="26"/>
                    <a:pt x="124" y="26"/>
                  </a:cubicBezTo>
                  <a:cubicBezTo>
                    <a:pt x="124" y="26"/>
                    <a:pt x="124" y="26"/>
                    <a:pt x="124" y="25"/>
                  </a:cubicBezTo>
                  <a:cubicBezTo>
                    <a:pt x="124" y="25"/>
                    <a:pt x="125" y="25"/>
                    <a:pt x="125" y="25"/>
                  </a:cubicBezTo>
                  <a:cubicBezTo>
                    <a:pt x="125" y="25"/>
                    <a:pt x="125" y="25"/>
                    <a:pt x="125" y="25"/>
                  </a:cubicBezTo>
                  <a:cubicBezTo>
                    <a:pt x="125" y="25"/>
                    <a:pt x="125" y="25"/>
                    <a:pt x="125" y="25"/>
                  </a:cubicBezTo>
                  <a:cubicBezTo>
                    <a:pt x="125" y="25"/>
                    <a:pt x="125" y="25"/>
                    <a:pt x="125" y="25"/>
                  </a:cubicBezTo>
                  <a:cubicBezTo>
                    <a:pt x="126" y="25"/>
                    <a:pt x="126" y="25"/>
                    <a:pt x="126" y="25"/>
                  </a:cubicBezTo>
                  <a:cubicBezTo>
                    <a:pt x="126" y="25"/>
                    <a:pt x="126" y="24"/>
                    <a:pt x="126" y="24"/>
                  </a:cubicBezTo>
                  <a:cubicBezTo>
                    <a:pt x="126" y="24"/>
                    <a:pt x="127" y="24"/>
                    <a:pt x="127" y="24"/>
                  </a:cubicBezTo>
                  <a:cubicBezTo>
                    <a:pt x="127" y="24"/>
                    <a:pt x="127" y="24"/>
                    <a:pt x="127" y="24"/>
                  </a:cubicBezTo>
                  <a:cubicBezTo>
                    <a:pt x="127" y="24"/>
                    <a:pt x="128" y="24"/>
                    <a:pt x="128" y="24"/>
                  </a:cubicBezTo>
                  <a:cubicBezTo>
                    <a:pt x="128" y="23"/>
                    <a:pt x="128" y="23"/>
                    <a:pt x="129" y="23"/>
                  </a:cubicBezTo>
                  <a:cubicBezTo>
                    <a:pt x="129" y="23"/>
                    <a:pt x="129" y="23"/>
                    <a:pt x="129" y="23"/>
                  </a:cubicBezTo>
                  <a:cubicBezTo>
                    <a:pt x="129" y="23"/>
                    <a:pt x="129" y="23"/>
                    <a:pt x="129" y="23"/>
                  </a:cubicBezTo>
                  <a:cubicBezTo>
                    <a:pt x="130" y="23"/>
                    <a:pt x="130" y="23"/>
                    <a:pt x="130" y="23"/>
                  </a:cubicBezTo>
                  <a:cubicBezTo>
                    <a:pt x="130" y="22"/>
                    <a:pt x="130" y="22"/>
                    <a:pt x="130" y="22"/>
                  </a:cubicBezTo>
                  <a:cubicBezTo>
                    <a:pt x="130" y="22"/>
                    <a:pt x="130" y="22"/>
                    <a:pt x="131" y="22"/>
                  </a:cubicBezTo>
                  <a:cubicBezTo>
                    <a:pt x="131" y="22"/>
                    <a:pt x="131" y="22"/>
                    <a:pt x="131" y="22"/>
                  </a:cubicBezTo>
                  <a:cubicBezTo>
                    <a:pt x="131" y="22"/>
                    <a:pt x="131" y="22"/>
                    <a:pt x="131" y="22"/>
                  </a:cubicBezTo>
                  <a:cubicBezTo>
                    <a:pt x="131" y="22"/>
                    <a:pt x="131" y="22"/>
                    <a:pt x="131" y="22"/>
                  </a:cubicBezTo>
                  <a:cubicBezTo>
                    <a:pt x="132" y="22"/>
                    <a:pt x="132" y="22"/>
                    <a:pt x="132" y="22"/>
                  </a:cubicBezTo>
                  <a:cubicBezTo>
                    <a:pt x="132" y="21"/>
                    <a:pt x="132" y="21"/>
                    <a:pt x="132" y="21"/>
                  </a:cubicBezTo>
                  <a:cubicBezTo>
                    <a:pt x="132" y="21"/>
                    <a:pt x="133" y="21"/>
                    <a:pt x="133" y="21"/>
                  </a:cubicBezTo>
                  <a:cubicBezTo>
                    <a:pt x="133" y="21"/>
                    <a:pt x="133" y="21"/>
                    <a:pt x="133" y="21"/>
                  </a:cubicBezTo>
                  <a:cubicBezTo>
                    <a:pt x="133" y="21"/>
                    <a:pt x="133" y="21"/>
                    <a:pt x="133" y="21"/>
                  </a:cubicBezTo>
                  <a:cubicBezTo>
                    <a:pt x="133" y="21"/>
                    <a:pt x="133" y="21"/>
                    <a:pt x="133" y="21"/>
                  </a:cubicBezTo>
                  <a:cubicBezTo>
                    <a:pt x="134" y="21"/>
                    <a:pt x="134" y="21"/>
                    <a:pt x="134" y="21"/>
                  </a:cubicBezTo>
                  <a:cubicBezTo>
                    <a:pt x="134" y="20"/>
                    <a:pt x="134" y="20"/>
                    <a:pt x="134" y="20"/>
                  </a:cubicBezTo>
                  <a:cubicBezTo>
                    <a:pt x="134" y="20"/>
                    <a:pt x="135" y="20"/>
                    <a:pt x="135" y="20"/>
                  </a:cubicBezTo>
                  <a:cubicBezTo>
                    <a:pt x="135" y="20"/>
                    <a:pt x="135" y="20"/>
                    <a:pt x="135" y="20"/>
                  </a:cubicBezTo>
                  <a:cubicBezTo>
                    <a:pt x="135" y="20"/>
                    <a:pt x="135" y="20"/>
                    <a:pt x="136" y="20"/>
                  </a:cubicBezTo>
                  <a:cubicBezTo>
                    <a:pt x="136" y="20"/>
                    <a:pt x="136" y="20"/>
                    <a:pt x="136" y="19"/>
                  </a:cubicBezTo>
                  <a:cubicBezTo>
                    <a:pt x="136" y="19"/>
                    <a:pt x="137" y="19"/>
                    <a:pt x="137" y="19"/>
                  </a:cubicBezTo>
                  <a:cubicBezTo>
                    <a:pt x="137" y="19"/>
                    <a:pt x="137" y="19"/>
                    <a:pt x="137" y="19"/>
                  </a:cubicBezTo>
                  <a:cubicBezTo>
                    <a:pt x="137" y="19"/>
                    <a:pt x="137" y="19"/>
                    <a:pt x="138" y="19"/>
                  </a:cubicBezTo>
                  <a:cubicBezTo>
                    <a:pt x="138" y="19"/>
                    <a:pt x="138" y="19"/>
                    <a:pt x="138" y="18"/>
                  </a:cubicBezTo>
                  <a:cubicBezTo>
                    <a:pt x="138" y="18"/>
                    <a:pt x="138" y="18"/>
                    <a:pt x="139" y="18"/>
                  </a:cubicBezTo>
                  <a:cubicBezTo>
                    <a:pt x="139" y="18"/>
                    <a:pt x="139" y="18"/>
                    <a:pt x="139" y="18"/>
                  </a:cubicBezTo>
                  <a:cubicBezTo>
                    <a:pt x="139" y="18"/>
                    <a:pt x="140" y="18"/>
                    <a:pt x="141" y="17"/>
                  </a:cubicBezTo>
                  <a:cubicBezTo>
                    <a:pt x="141" y="17"/>
                    <a:pt x="141" y="17"/>
                    <a:pt x="141" y="17"/>
                  </a:cubicBezTo>
                  <a:cubicBezTo>
                    <a:pt x="141" y="17"/>
                    <a:pt x="141" y="17"/>
                    <a:pt x="142" y="17"/>
                  </a:cubicBezTo>
                  <a:cubicBezTo>
                    <a:pt x="142" y="17"/>
                    <a:pt x="142" y="17"/>
                    <a:pt x="142" y="17"/>
                  </a:cubicBezTo>
                  <a:cubicBezTo>
                    <a:pt x="142" y="17"/>
                    <a:pt x="142" y="17"/>
                    <a:pt x="142" y="17"/>
                  </a:cubicBezTo>
                  <a:cubicBezTo>
                    <a:pt x="142" y="17"/>
                    <a:pt x="142" y="16"/>
                    <a:pt x="142" y="16"/>
                  </a:cubicBezTo>
                  <a:cubicBezTo>
                    <a:pt x="142" y="16"/>
                    <a:pt x="143" y="16"/>
                    <a:pt x="143" y="16"/>
                  </a:cubicBezTo>
                  <a:cubicBezTo>
                    <a:pt x="143" y="16"/>
                    <a:pt x="143" y="16"/>
                    <a:pt x="143" y="16"/>
                  </a:cubicBezTo>
                  <a:cubicBezTo>
                    <a:pt x="143" y="16"/>
                    <a:pt x="143" y="16"/>
                    <a:pt x="144" y="16"/>
                  </a:cubicBezTo>
                  <a:cubicBezTo>
                    <a:pt x="144" y="16"/>
                    <a:pt x="144" y="16"/>
                    <a:pt x="144" y="16"/>
                  </a:cubicBezTo>
                  <a:cubicBezTo>
                    <a:pt x="144" y="16"/>
                    <a:pt x="144" y="16"/>
                    <a:pt x="144" y="16"/>
                  </a:cubicBezTo>
                  <a:cubicBezTo>
                    <a:pt x="144" y="15"/>
                    <a:pt x="144" y="15"/>
                    <a:pt x="144" y="15"/>
                  </a:cubicBezTo>
                  <a:cubicBezTo>
                    <a:pt x="145" y="15"/>
                    <a:pt x="145" y="15"/>
                    <a:pt x="145" y="15"/>
                  </a:cubicBezTo>
                  <a:cubicBezTo>
                    <a:pt x="145" y="15"/>
                    <a:pt x="145" y="15"/>
                    <a:pt x="145" y="15"/>
                  </a:cubicBezTo>
                  <a:cubicBezTo>
                    <a:pt x="145" y="15"/>
                    <a:pt x="146" y="15"/>
                    <a:pt x="146" y="15"/>
                  </a:cubicBezTo>
                  <a:cubicBezTo>
                    <a:pt x="146" y="15"/>
                    <a:pt x="146" y="15"/>
                    <a:pt x="146" y="15"/>
                  </a:cubicBezTo>
                  <a:cubicBezTo>
                    <a:pt x="147" y="14"/>
                    <a:pt x="147" y="14"/>
                    <a:pt x="147" y="14"/>
                  </a:cubicBezTo>
                  <a:cubicBezTo>
                    <a:pt x="147" y="14"/>
                    <a:pt x="147" y="14"/>
                    <a:pt x="147" y="14"/>
                  </a:cubicBezTo>
                  <a:cubicBezTo>
                    <a:pt x="148" y="14"/>
                    <a:pt x="148" y="14"/>
                    <a:pt x="148" y="14"/>
                  </a:cubicBezTo>
                  <a:cubicBezTo>
                    <a:pt x="148" y="14"/>
                    <a:pt x="148" y="14"/>
                    <a:pt x="148" y="14"/>
                  </a:cubicBezTo>
                  <a:cubicBezTo>
                    <a:pt x="148" y="14"/>
                    <a:pt x="149" y="14"/>
                    <a:pt x="149" y="14"/>
                  </a:cubicBezTo>
                  <a:cubicBezTo>
                    <a:pt x="149" y="13"/>
                    <a:pt x="149" y="13"/>
                    <a:pt x="149" y="13"/>
                  </a:cubicBezTo>
                  <a:cubicBezTo>
                    <a:pt x="149" y="13"/>
                    <a:pt x="149" y="13"/>
                    <a:pt x="150" y="13"/>
                  </a:cubicBezTo>
                  <a:cubicBezTo>
                    <a:pt x="150" y="13"/>
                    <a:pt x="150" y="13"/>
                    <a:pt x="150" y="13"/>
                  </a:cubicBezTo>
                  <a:cubicBezTo>
                    <a:pt x="150" y="13"/>
                    <a:pt x="151" y="12"/>
                    <a:pt x="152" y="12"/>
                  </a:cubicBezTo>
                  <a:cubicBezTo>
                    <a:pt x="152" y="12"/>
                    <a:pt x="152" y="12"/>
                    <a:pt x="152" y="12"/>
                  </a:cubicBezTo>
                  <a:cubicBezTo>
                    <a:pt x="152" y="12"/>
                    <a:pt x="152" y="12"/>
                    <a:pt x="153" y="12"/>
                  </a:cubicBezTo>
                  <a:cubicBezTo>
                    <a:pt x="153" y="12"/>
                    <a:pt x="153" y="12"/>
                    <a:pt x="153" y="11"/>
                  </a:cubicBezTo>
                  <a:cubicBezTo>
                    <a:pt x="153" y="11"/>
                    <a:pt x="154" y="11"/>
                    <a:pt x="155" y="11"/>
                  </a:cubicBezTo>
                  <a:cubicBezTo>
                    <a:pt x="155" y="11"/>
                    <a:pt x="155" y="10"/>
                    <a:pt x="155" y="10"/>
                  </a:cubicBezTo>
                  <a:cubicBezTo>
                    <a:pt x="155" y="10"/>
                    <a:pt x="155" y="10"/>
                    <a:pt x="156" y="10"/>
                  </a:cubicBezTo>
                  <a:cubicBezTo>
                    <a:pt x="156" y="10"/>
                    <a:pt x="156" y="10"/>
                    <a:pt x="156" y="10"/>
                  </a:cubicBezTo>
                  <a:cubicBezTo>
                    <a:pt x="156" y="10"/>
                    <a:pt x="156" y="10"/>
                    <a:pt x="156" y="10"/>
                  </a:cubicBezTo>
                  <a:cubicBezTo>
                    <a:pt x="156" y="10"/>
                    <a:pt x="156" y="10"/>
                    <a:pt x="156" y="10"/>
                  </a:cubicBezTo>
                  <a:cubicBezTo>
                    <a:pt x="156" y="10"/>
                    <a:pt x="157" y="10"/>
                    <a:pt x="157" y="10"/>
                  </a:cubicBezTo>
                  <a:cubicBezTo>
                    <a:pt x="157" y="10"/>
                    <a:pt x="157" y="9"/>
                    <a:pt x="157" y="9"/>
                  </a:cubicBezTo>
                  <a:cubicBezTo>
                    <a:pt x="157" y="9"/>
                    <a:pt x="157" y="9"/>
                    <a:pt x="158" y="9"/>
                  </a:cubicBezTo>
                  <a:cubicBezTo>
                    <a:pt x="158" y="9"/>
                    <a:pt x="158" y="9"/>
                    <a:pt x="158" y="9"/>
                  </a:cubicBezTo>
                  <a:cubicBezTo>
                    <a:pt x="158" y="9"/>
                    <a:pt x="158" y="9"/>
                    <a:pt x="158" y="9"/>
                  </a:cubicBezTo>
                  <a:cubicBezTo>
                    <a:pt x="158" y="9"/>
                    <a:pt x="158" y="9"/>
                    <a:pt x="158" y="9"/>
                  </a:cubicBezTo>
                  <a:cubicBezTo>
                    <a:pt x="159" y="9"/>
                    <a:pt x="159" y="9"/>
                    <a:pt x="159" y="9"/>
                  </a:cubicBezTo>
                  <a:cubicBezTo>
                    <a:pt x="159" y="8"/>
                    <a:pt x="159" y="8"/>
                    <a:pt x="159" y="8"/>
                  </a:cubicBezTo>
                  <a:cubicBezTo>
                    <a:pt x="159" y="8"/>
                    <a:pt x="160" y="8"/>
                    <a:pt x="160" y="8"/>
                  </a:cubicBezTo>
                  <a:cubicBezTo>
                    <a:pt x="160" y="8"/>
                    <a:pt x="160" y="8"/>
                    <a:pt x="160" y="8"/>
                  </a:cubicBezTo>
                  <a:cubicBezTo>
                    <a:pt x="161" y="8"/>
                    <a:pt x="161" y="8"/>
                    <a:pt x="161" y="8"/>
                  </a:cubicBezTo>
                  <a:cubicBezTo>
                    <a:pt x="161" y="7"/>
                    <a:pt x="161" y="7"/>
                    <a:pt x="161" y="7"/>
                  </a:cubicBezTo>
                  <a:cubicBezTo>
                    <a:pt x="162" y="7"/>
                    <a:pt x="162" y="7"/>
                    <a:pt x="162" y="7"/>
                  </a:cubicBezTo>
                  <a:cubicBezTo>
                    <a:pt x="162" y="7"/>
                    <a:pt x="162" y="7"/>
                    <a:pt x="162" y="7"/>
                  </a:cubicBezTo>
                  <a:cubicBezTo>
                    <a:pt x="162" y="7"/>
                    <a:pt x="163" y="7"/>
                    <a:pt x="163" y="7"/>
                  </a:cubicBezTo>
                  <a:cubicBezTo>
                    <a:pt x="163" y="7"/>
                    <a:pt x="163" y="7"/>
                    <a:pt x="163" y="7"/>
                  </a:cubicBezTo>
                  <a:cubicBezTo>
                    <a:pt x="163" y="7"/>
                    <a:pt x="163" y="7"/>
                    <a:pt x="164" y="7"/>
                  </a:cubicBezTo>
                  <a:cubicBezTo>
                    <a:pt x="164" y="6"/>
                    <a:pt x="164" y="6"/>
                    <a:pt x="164" y="6"/>
                  </a:cubicBezTo>
                  <a:cubicBezTo>
                    <a:pt x="164" y="6"/>
                    <a:pt x="165" y="6"/>
                    <a:pt x="166" y="5"/>
                  </a:cubicBezTo>
                  <a:cubicBezTo>
                    <a:pt x="166" y="5"/>
                    <a:pt x="166" y="5"/>
                    <a:pt x="166" y="5"/>
                  </a:cubicBezTo>
                  <a:cubicBezTo>
                    <a:pt x="166" y="5"/>
                    <a:pt x="166" y="5"/>
                    <a:pt x="167" y="5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5"/>
                    <a:pt x="168" y="5"/>
                    <a:pt x="168" y="4"/>
                  </a:cubicBezTo>
                  <a:cubicBezTo>
                    <a:pt x="168" y="4"/>
                    <a:pt x="168" y="4"/>
                    <a:pt x="168" y="4"/>
                  </a:cubicBezTo>
                  <a:cubicBezTo>
                    <a:pt x="168" y="4"/>
                    <a:pt x="169" y="4"/>
                    <a:pt x="169" y="4"/>
                  </a:cubicBezTo>
                  <a:cubicBezTo>
                    <a:pt x="169" y="4"/>
                    <a:pt x="169" y="4"/>
                    <a:pt x="169" y="4"/>
                  </a:cubicBezTo>
                  <a:cubicBezTo>
                    <a:pt x="169" y="4"/>
                    <a:pt x="169" y="4"/>
                    <a:pt x="170" y="4"/>
                  </a:cubicBezTo>
                  <a:cubicBezTo>
                    <a:pt x="170" y="4"/>
                    <a:pt x="170" y="3"/>
                    <a:pt x="170" y="3"/>
                  </a:cubicBezTo>
                  <a:cubicBezTo>
                    <a:pt x="170" y="3"/>
                    <a:pt x="170" y="3"/>
                    <a:pt x="170" y="3"/>
                  </a:cubicBezTo>
                  <a:cubicBezTo>
                    <a:pt x="170" y="3"/>
                    <a:pt x="170" y="3"/>
                    <a:pt x="170" y="3"/>
                  </a:cubicBezTo>
                  <a:cubicBezTo>
                    <a:pt x="170" y="3"/>
                    <a:pt x="171" y="3"/>
                    <a:pt x="171" y="3"/>
                  </a:cubicBezTo>
                  <a:cubicBezTo>
                    <a:pt x="171" y="3"/>
                    <a:pt x="171" y="3"/>
                    <a:pt x="171" y="3"/>
                  </a:cubicBezTo>
                  <a:cubicBezTo>
                    <a:pt x="171" y="3"/>
                    <a:pt x="171" y="3"/>
                    <a:pt x="172" y="3"/>
                  </a:cubicBezTo>
                  <a:cubicBezTo>
                    <a:pt x="172" y="3"/>
                    <a:pt x="172" y="2"/>
                    <a:pt x="172" y="2"/>
                  </a:cubicBezTo>
                  <a:cubicBezTo>
                    <a:pt x="186" y="2"/>
                    <a:pt x="201" y="1"/>
                    <a:pt x="215" y="0"/>
                  </a:cubicBezTo>
                  <a:cubicBezTo>
                    <a:pt x="215" y="0"/>
                    <a:pt x="215" y="0"/>
                    <a:pt x="215" y="1"/>
                  </a:cubicBezTo>
                  <a:cubicBezTo>
                    <a:pt x="215" y="1"/>
                    <a:pt x="216" y="1"/>
                    <a:pt x="216" y="1"/>
                  </a:cubicBezTo>
                  <a:cubicBezTo>
                    <a:pt x="216" y="1"/>
                    <a:pt x="217" y="2"/>
                    <a:pt x="217" y="2"/>
                  </a:cubicBezTo>
                  <a:cubicBezTo>
                    <a:pt x="217" y="2"/>
                    <a:pt x="218" y="2"/>
                    <a:pt x="218" y="2"/>
                  </a:cubicBezTo>
                  <a:cubicBezTo>
                    <a:pt x="218" y="3"/>
                    <a:pt x="218" y="3"/>
                    <a:pt x="219" y="4"/>
                  </a:cubicBezTo>
                  <a:cubicBezTo>
                    <a:pt x="219" y="4"/>
                    <a:pt x="219" y="4"/>
                    <a:pt x="220" y="4"/>
                  </a:cubicBezTo>
                  <a:cubicBezTo>
                    <a:pt x="220" y="4"/>
                    <a:pt x="220" y="5"/>
                    <a:pt x="221" y="5"/>
                  </a:cubicBezTo>
                  <a:cubicBezTo>
                    <a:pt x="221" y="5"/>
                    <a:pt x="221" y="5"/>
                    <a:pt x="222" y="5"/>
                  </a:cubicBezTo>
                  <a:cubicBezTo>
                    <a:pt x="222" y="6"/>
                    <a:pt x="222" y="6"/>
                    <a:pt x="223" y="7"/>
                  </a:cubicBezTo>
                  <a:cubicBezTo>
                    <a:pt x="223" y="7"/>
                    <a:pt x="223" y="7"/>
                    <a:pt x="223" y="7"/>
                  </a:cubicBezTo>
                  <a:cubicBezTo>
                    <a:pt x="224" y="7"/>
                    <a:pt x="224" y="8"/>
                    <a:pt x="225" y="9"/>
                  </a:cubicBezTo>
                  <a:cubicBezTo>
                    <a:pt x="225" y="9"/>
                    <a:pt x="225" y="9"/>
                    <a:pt x="225" y="9"/>
                  </a:cubicBezTo>
                  <a:cubicBezTo>
                    <a:pt x="226" y="9"/>
                    <a:pt x="226" y="9"/>
                    <a:pt x="226" y="9"/>
                  </a:cubicBezTo>
                  <a:cubicBezTo>
                    <a:pt x="226" y="9"/>
                    <a:pt x="226" y="9"/>
                    <a:pt x="226" y="9"/>
                  </a:cubicBezTo>
                  <a:cubicBezTo>
                    <a:pt x="226" y="10"/>
                    <a:pt x="226" y="10"/>
                    <a:pt x="227" y="10"/>
                  </a:cubicBezTo>
                  <a:cubicBezTo>
                    <a:pt x="227" y="10"/>
                    <a:pt x="227" y="10"/>
                    <a:pt x="227" y="10"/>
                  </a:cubicBezTo>
                  <a:cubicBezTo>
                    <a:pt x="227" y="10"/>
                    <a:pt x="227" y="10"/>
                    <a:pt x="228" y="11"/>
                  </a:cubicBezTo>
                  <a:cubicBezTo>
                    <a:pt x="228" y="11"/>
                    <a:pt x="228" y="11"/>
                    <a:pt x="228" y="11"/>
                  </a:cubicBezTo>
                  <a:cubicBezTo>
                    <a:pt x="228" y="11"/>
                    <a:pt x="228" y="11"/>
                    <a:pt x="228" y="11"/>
                  </a:cubicBezTo>
                  <a:cubicBezTo>
                    <a:pt x="229" y="11"/>
                    <a:pt x="229" y="11"/>
                    <a:pt x="229" y="11"/>
                  </a:cubicBezTo>
                  <a:cubicBezTo>
                    <a:pt x="229" y="12"/>
                    <a:pt x="230" y="13"/>
                    <a:pt x="230" y="13"/>
                  </a:cubicBezTo>
                  <a:cubicBezTo>
                    <a:pt x="231" y="13"/>
                    <a:pt x="231" y="13"/>
                    <a:pt x="231" y="13"/>
                  </a:cubicBezTo>
                  <a:cubicBezTo>
                    <a:pt x="231" y="14"/>
                    <a:pt x="232" y="14"/>
                    <a:pt x="232" y="15"/>
                  </a:cubicBezTo>
                  <a:cubicBezTo>
                    <a:pt x="232" y="15"/>
                    <a:pt x="233" y="15"/>
                    <a:pt x="233" y="15"/>
                  </a:cubicBezTo>
                  <a:cubicBezTo>
                    <a:pt x="233" y="15"/>
                    <a:pt x="234" y="16"/>
                    <a:pt x="234" y="16"/>
                  </a:cubicBezTo>
                  <a:cubicBezTo>
                    <a:pt x="234" y="16"/>
                    <a:pt x="235" y="16"/>
                    <a:pt x="235" y="16"/>
                  </a:cubicBezTo>
                  <a:cubicBezTo>
                    <a:pt x="235" y="17"/>
                    <a:pt x="236" y="17"/>
                    <a:pt x="236" y="18"/>
                  </a:cubicBezTo>
                  <a:cubicBezTo>
                    <a:pt x="236" y="18"/>
                    <a:pt x="236" y="18"/>
                    <a:pt x="237" y="18"/>
                  </a:cubicBezTo>
                  <a:cubicBezTo>
                    <a:pt x="237" y="18"/>
                    <a:pt x="237" y="19"/>
                    <a:pt x="238" y="19"/>
                  </a:cubicBezTo>
                  <a:cubicBezTo>
                    <a:pt x="238" y="19"/>
                    <a:pt x="238" y="19"/>
                    <a:pt x="238" y="19"/>
                  </a:cubicBezTo>
                  <a:cubicBezTo>
                    <a:pt x="239" y="20"/>
                    <a:pt x="239" y="20"/>
                    <a:pt x="240" y="21"/>
                  </a:cubicBezTo>
                  <a:cubicBezTo>
                    <a:pt x="240" y="21"/>
                    <a:pt x="240" y="21"/>
                    <a:pt x="241" y="21"/>
                  </a:cubicBezTo>
                  <a:cubicBezTo>
                    <a:pt x="241" y="21"/>
                    <a:pt x="241" y="22"/>
                    <a:pt x="241" y="22"/>
                  </a:cubicBezTo>
                  <a:cubicBezTo>
                    <a:pt x="241" y="22"/>
                    <a:pt x="241" y="22"/>
                    <a:pt x="242" y="22"/>
                  </a:cubicBezTo>
                  <a:cubicBezTo>
                    <a:pt x="242" y="22"/>
                    <a:pt x="242" y="22"/>
                    <a:pt x="242" y="23"/>
                  </a:cubicBezTo>
                  <a:cubicBezTo>
                    <a:pt x="242" y="23"/>
                    <a:pt x="242" y="23"/>
                    <a:pt x="243" y="23"/>
                  </a:cubicBezTo>
                  <a:cubicBezTo>
                    <a:pt x="243" y="23"/>
                    <a:pt x="244" y="24"/>
                    <a:pt x="245" y="25"/>
                  </a:cubicBezTo>
                  <a:cubicBezTo>
                    <a:pt x="245" y="25"/>
                    <a:pt x="245" y="25"/>
                    <a:pt x="245" y="25"/>
                  </a:cubicBezTo>
                  <a:cubicBezTo>
                    <a:pt x="246" y="26"/>
                    <a:pt x="247" y="26"/>
                    <a:pt x="247" y="27"/>
                  </a:cubicBezTo>
                  <a:cubicBezTo>
                    <a:pt x="247" y="27"/>
                    <a:pt x="248" y="27"/>
                    <a:pt x="248" y="27"/>
                  </a:cubicBezTo>
                  <a:cubicBezTo>
                    <a:pt x="249" y="28"/>
                    <a:pt x="249" y="29"/>
                    <a:pt x="250" y="30"/>
                  </a:cubicBezTo>
                  <a:cubicBezTo>
                    <a:pt x="250" y="30"/>
                    <a:pt x="250" y="30"/>
                    <a:pt x="251" y="30"/>
                  </a:cubicBezTo>
                  <a:cubicBezTo>
                    <a:pt x="251" y="30"/>
                    <a:pt x="252" y="31"/>
                    <a:pt x="252" y="32"/>
                  </a:cubicBezTo>
                  <a:cubicBezTo>
                    <a:pt x="253" y="32"/>
                    <a:pt x="253" y="32"/>
                    <a:pt x="253" y="32"/>
                  </a:cubicBezTo>
                  <a:cubicBezTo>
                    <a:pt x="253" y="32"/>
                    <a:pt x="253" y="32"/>
                    <a:pt x="253" y="32"/>
                  </a:cubicBezTo>
                  <a:cubicBezTo>
                    <a:pt x="254" y="33"/>
                    <a:pt x="255" y="34"/>
                    <a:pt x="256" y="34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</a:ln>
            <a:effectLst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64800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4000" b="1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0000"/>
                </a:solidFill>
                <a:latin typeface="UKIJ Qolyazma" pitchFamily="18" charset="0"/>
                <a:cs typeface="UKIJ Qolyazma" pitchFamily="18" charset="0"/>
              </a:endParaRPr>
            </a:p>
          </p:txBody>
        </p:sp>
        <p:sp>
          <p:nvSpPr>
            <p:cNvPr id="119" name="Freeform 30">
              <a:extLst>
                <a:ext uri="{FF2B5EF4-FFF2-40B4-BE49-F238E27FC236}">
                  <a16:creationId xmlns:a16="http://schemas.microsoft.com/office/drawing/2014/main" id="{4175A936-947D-88D6-3980-A2754DAE87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5198" y="2706865"/>
              <a:ext cx="654659" cy="815235"/>
            </a:xfrm>
            <a:custGeom>
              <a:avLst/>
              <a:gdLst>
                <a:gd name="T0" fmla="*/ 147 w 301"/>
                <a:gd name="T1" fmla="*/ 370 h 375"/>
                <a:gd name="T2" fmla="*/ 139 w 301"/>
                <a:gd name="T3" fmla="*/ 356 h 375"/>
                <a:gd name="T4" fmla="*/ 105 w 301"/>
                <a:gd name="T5" fmla="*/ 340 h 375"/>
                <a:gd name="T6" fmla="*/ 96 w 301"/>
                <a:gd name="T7" fmla="*/ 326 h 375"/>
                <a:gd name="T8" fmla="*/ 79 w 301"/>
                <a:gd name="T9" fmla="*/ 308 h 375"/>
                <a:gd name="T10" fmla="*/ 71 w 301"/>
                <a:gd name="T11" fmla="*/ 303 h 375"/>
                <a:gd name="T12" fmla="*/ 63 w 301"/>
                <a:gd name="T13" fmla="*/ 298 h 375"/>
                <a:gd name="T14" fmla="*/ 53 w 301"/>
                <a:gd name="T15" fmla="*/ 292 h 375"/>
                <a:gd name="T16" fmla="*/ 41 w 301"/>
                <a:gd name="T17" fmla="*/ 284 h 375"/>
                <a:gd name="T18" fmla="*/ 29 w 301"/>
                <a:gd name="T19" fmla="*/ 274 h 375"/>
                <a:gd name="T20" fmla="*/ 17 w 301"/>
                <a:gd name="T21" fmla="*/ 264 h 375"/>
                <a:gd name="T22" fmla="*/ 13 w 301"/>
                <a:gd name="T23" fmla="*/ 256 h 375"/>
                <a:gd name="T24" fmla="*/ 9 w 301"/>
                <a:gd name="T25" fmla="*/ 247 h 375"/>
                <a:gd name="T26" fmla="*/ 6 w 301"/>
                <a:gd name="T27" fmla="*/ 238 h 375"/>
                <a:gd name="T28" fmla="*/ 6 w 301"/>
                <a:gd name="T29" fmla="*/ 229 h 375"/>
                <a:gd name="T30" fmla="*/ 20 w 301"/>
                <a:gd name="T31" fmla="*/ 221 h 375"/>
                <a:gd name="T32" fmla="*/ 32 w 301"/>
                <a:gd name="T33" fmla="*/ 197 h 375"/>
                <a:gd name="T34" fmla="*/ 23 w 301"/>
                <a:gd name="T35" fmla="*/ 189 h 375"/>
                <a:gd name="T36" fmla="*/ 12 w 301"/>
                <a:gd name="T37" fmla="*/ 182 h 375"/>
                <a:gd name="T38" fmla="*/ 2 w 301"/>
                <a:gd name="T39" fmla="*/ 174 h 375"/>
                <a:gd name="T40" fmla="*/ 33 w 301"/>
                <a:gd name="T41" fmla="*/ 68 h 375"/>
                <a:gd name="T42" fmla="*/ 38 w 301"/>
                <a:gd name="T43" fmla="*/ 60 h 375"/>
                <a:gd name="T44" fmla="*/ 43 w 301"/>
                <a:gd name="T45" fmla="*/ 53 h 375"/>
                <a:gd name="T46" fmla="*/ 49 w 301"/>
                <a:gd name="T47" fmla="*/ 44 h 375"/>
                <a:gd name="T48" fmla="*/ 54 w 301"/>
                <a:gd name="T49" fmla="*/ 37 h 375"/>
                <a:gd name="T50" fmla="*/ 97 w 301"/>
                <a:gd name="T51" fmla="*/ 34 h 375"/>
                <a:gd name="T52" fmla="*/ 112 w 301"/>
                <a:gd name="T53" fmla="*/ 29 h 375"/>
                <a:gd name="T54" fmla="*/ 172 w 301"/>
                <a:gd name="T55" fmla="*/ 18 h 375"/>
                <a:gd name="T56" fmla="*/ 233 w 301"/>
                <a:gd name="T57" fmla="*/ 17 h 375"/>
                <a:gd name="T58" fmla="*/ 244 w 301"/>
                <a:gd name="T59" fmla="*/ 13 h 375"/>
                <a:gd name="T60" fmla="*/ 256 w 301"/>
                <a:gd name="T61" fmla="*/ 9 h 375"/>
                <a:gd name="T62" fmla="*/ 265 w 301"/>
                <a:gd name="T63" fmla="*/ 5 h 375"/>
                <a:gd name="T64" fmla="*/ 276 w 301"/>
                <a:gd name="T65" fmla="*/ 9 h 375"/>
                <a:gd name="T66" fmla="*/ 282 w 301"/>
                <a:gd name="T67" fmla="*/ 46 h 375"/>
                <a:gd name="T68" fmla="*/ 287 w 301"/>
                <a:gd name="T69" fmla="*/ 55 h 375"/>
                <a:gd name="T70" fmla="*/ 286 w 301"/>
                <a:gd name="T71" fmla="*/ 69 h 375"/>
                <a:gd name="T72" fmla="*/ 279 w 301"/>
                <a:gd name="T73" fmla="*/ 80 h 375"/>
                <a:gd name="T74" fmla="*/ 280 w 301"/>
                <a:gd name="T75" fmla="*/ 108 h 375"/>
                <a:gd name="T76" fmla="*/ 289 w 301"/>
                <a:gd name="T77" fmla="*/ 119 h 375"/>
                <a:gd name="T78" fmla="*/ 296 w 301"/>
                <a:gd name="T79" fmla="*/ 131 h 375"/>
                <a:gd name="T80" fmla="*/ 291 w 301"/>
                <a:gd name="T81" fmla="*/ 161 h 375"/>
                <a:gd name="T82" fmla="*/ 281 w 301"/>
                <a:gd name="T83" fmla="*/ 168 h 375"/>
                <a:gd name="T84" fmla="*/ 271 w 301"/>
                <a:gd name="T85" fmla="*/ 172 h 375"/>
                <a:gd name="T86" fmla="*/ 264 w 301"/>
                <a:gd name="T87" fmla="*/ 176 h 375"/>
                <a:gd name="T88" fmla="*/ 255 w 301"/>
                <a:gd name="T89" fmla="*/ 184 h 375"/>
                <a:gd name="T90" fmla="*/ 249 w 301"/>
                <a:gd name="T91" fmla="*/ 196 h 375"/>
                <a:gd name="T92" fmla="*/ 212 w 301"/>
                <a:gd name="T93" fmla="*/ 236 h 375"/>
                <a:gd name="T94" fmla="*/ 205 w 301"/>
                <a:gd name="T95" fmla="*/ 247 h 375"/>
                <a:gd name="T96" fmla="*/ 204 w 301"/>
                <a:gd name="T97" fmla="*/ 265 h 375"/>
                <a:gd name="T98" fmla="*/ 213 w 301"/>
                <a:gd name="T99" fmla="*/ 274 h 375"/>
                <a:gd name="T100" fmla="*/ 222 w 301"/>
                <a:gd name="T101" fmla="*/ 280 h 375"/>
                <a:gd name="T102" fmla="*/ 234 w 301"/>
                <a:gd name="T103" fmla="*/ 289 h 375"/>
                <a:gd name="T104" fmla="*/ 248 w 301"/>
                <a:gd name="T105" fmla="*/ 306 h 375"/>
                <a:gd name="T106" fmla="*/ 254 w 301"/>
                <a:gd name="T107" fmla="*/ 317 h 375"/>
                <a:gd name="T108" fmla="*/ 257 w 301"/>
                <a:gd name="T109" fmla="*/ 327 h 375"/>
                <a:gd name="T110" fmla="*/ 263 w 301"/>
                <a:gd name="T111" fmla="*/ 339 h 375"/>
                <a:gd name="T112" fmla="*/ 266 w 301"/>
                <a:gd name="T113" fmla="*/ 364 h 375"/>
                <a:gd name="T114" fmla="*/ 231 w 301"/>
                <a:gd name="T115" fmla="*/ 371 h 375"/>
                <a:gd name="T116" fmla="*/ 201 w 301"/>
                <a:gd name="T117" fmla="*/ 37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01" h="375">
                  <a:moveTo>
                    <a:pt x="192" y="375"/>
                  </a:moveTo>
                  <a:cubicBezTo>
                    <a:pt x="192" y="374"/>
                    <a:pt x="177" y="375"/>
                    <a:pt x="170" y="375"/>
                  </a:cubicBezTo>
                  <a:cubicBezTo>
                    <a:pt x="166" y="374"/>
                    <a:pt x="162" y="373"/>
                    <a:pt x="158" y="372"/>
                  </a:cubicBezTo>
                  <a:cubicBezTo>
                    <a:pt x="157" y="372"/>
                    <a:pt x="156" y="372"/>
                    <a:pt x="156" y="372"/>
                  </a:cubicBezTo>
                  <a:cubicBezTo>
                    <a:pt x="156" y="372"/>
                    <a:pt x="156" y="372"/>
                    <a:pt x="156" y="372"/>
                  </a:cubicBezTo>
                  <a:cubicBezTo>
                    <a:pt x="155" y="372"/>
                    <a:pt x="155" y="372"/>
                    <a:pt x="154" y="372"/>
                  </a:cubicBezTo>
                  <a:cubicBezTo>
                    <a:pt x="154" y="372"/>
                    <a:pt x="154" y="372"/>
                    <a:pt x="154" y="371"/>
                  </a:cubicBezTo>
                  <a:cubicBezTo>
                    <a:pt x="154" y="371"/>
                    <a:pt x="153" y="371"/>
                    <a:pt x="153" y="371"/>
                  </a:cubicBezTo>
                  <a:cubicBezTo>
                    <a:pt x="153" y="371"/>
                    <a:pt x="153" y="371"/>
                    <a:pt x="153" y="371"/>
                  </a:cubicBezTo>
                  <a:cubicBezTo>
                    <a:pt x="152" y="371"/>
                    <a:pt x="152" y="371"/>
                    <a:pt x="151" y="371"/>
                  </a:cubicBezTo>
                  <a:cubicBezTo>
                    <a:pt x="151" y="371"/>
                    <a:pt x="151" y="371"/>
                    <a:pt x="151" y="371"/>
                  </a:cubicBezTo>
                  <a:cubicBezTo>
                    <a:pt x="150" y="371"/>
                    <a:pt x="150" y="371"/>
                    <a:pt x="149" y="371"/>
                  </a:cubicBezTo>
                  <a:cubicBezTo>
                    <a:pt x="149" y="371"/>
                    <a:pt x="149" y="371"/>
                    <a:pt x="149" y="370"/>
                  </a:cubicBezTo>
                  <a:cubicBezTo>
                    <a:pt x="148" y="370"/>
                    <a:pt x="148" y="370"/>
                    <a:pt x="147" y="370"/>
                  </a:cubicBezTo>
                  <a:cubicBezTo>
                    <a:pt x="147" y="370"/>
                    <a:pt x="147" y="370"/>
                    <a:pt x="147" y="370"/>
                  </a:cubicBezTo>
                  <a:cubicBezTo>
                    <a:pt x="146" y="369"/>
                    <a:pt x="147" y="369"/>
                    <a:pt x="146" y="368"/>
                  </a:cubicBezTo>
                  <a:cubicBezTo>
                    <a:pt x="146" y="368"/>
                    <a:pt x="146" y="368"/>
                    <a:pt x="146" y="368"/>
                  </a:cubicBezTo>
                  <a:cubicBezTo>
                    <a:pt x="146" y="368"/>
                    <a:pt x="146" y="368"/>
                    <a:pt x="146" y="368"/>
                  </a:cubicBezTo>
                  <a:cubicBezTo>
                    <a:pt x="146" y="367"/>
                    <a:pt x="145" y="367"/>
                    <a:pt x="145" y="367"/>
                  </a:cubicBezTo>
                  <a:cubicBezTo>
                    <a:pt x="144" y="365"/>
                    <a:pt x="143" y="364"/>
                    <a:pt x="143" y="362"/>
                  </a:cubicBezTo>
                  <a:cubicBezTo>
                    <a:pt x="143" y="362"/>
                    <a:pt x="142" y="362"/>
                    <a:pt x="142" y="362"/>
                  </a:cubicBezTo>
                  <a:cubicBezTo>
                    <a:pt x="142" y="361"/>
                    <a:pt x="142" y="360"/>
                    <a:pt x="142" y="360"/>
                  </a:cubicBezTo>
                  <a:cubicBezTo>
                    <a:pt x="141" y="359"/>
                    <a:pt x="141" y="359"/>
                    <a:pt x="141" y="359"/>
                  </a:cubicBezTo>
                  <a:cubicBezTo>
                    <a:pt x="141" y="359"/>
                    <a:pt x="141" y="358"/>
                    <a:pt x="141" y="358"/>
                  </a:cubicBezTo>
                  <a:cubicBezTo>
                    <a:pt x="140" y="358"/>
                    <a:pt x="140" y="358"/>
                    <a:pt x="140" y="358"/>
                  </a:cubicBezTo>
                  <a:cubicBezTo>
                    <a:pt x="140" y="358"/>
                    <a:pt x="140" y="357"/>
                    <a:pt x="140" y="357"/>
                  </a:cubicBezTo>
                  <a:cubicBezTo>
                    <a:pt x="140" y="357"/>
                    <a:pt x="140" y="357"/>
                    <a:pt x="140" y="357"/>
                  </a:cubicBezTo>
                  <a:cubicBezTo>
                    <a:pt x="140" y="357"/>
                    <a:pt x="140" y="357"/>
                    <a:pt x="140" y="356"/>
                  </a:cubicBezTo>
                  <a:cubicBezTo>
                    <a:pt x="140" y="356"/>
                    <a:pt x="140" y="356"/>
                    <a:pt x="139" y="356"/>
                  </a:cubicBezTo>
                  <a:cubicBezTo>
                    <a:pt x="139" y="356"/>
                    <a:pt x="139" y="356"/>
                    <a:pt x="139" y="356"/>
                  </a:cubicBezTo>
                  <a:cubicBezTo>
                    <a:pt x="139" y="356"/>
                    <a:pt x="139" y="356"/>
                    <a:pt x="139" y="356"/>
                  </a:cubicBezTo>
                  <a:cubicBezTo>
                    <a:pt x="139" y="355"/>
                    <a:pt x="139" y="355"/>
                    <a:pt x="139" y="355"/>
                  </a:cubicBezTo>
                  <a:cubicBezTo>
                    <a:pt x="139" y="355"/>
                    <a:pt x="139" y="355"/>
                    <a:pt x="139" y="355"/>
                  </a:cubicBezTo>
                  <a:cubicBezTo>
                    <a:pt x="139" y="355"/>
                    <a:pt x="139" y="355"/>
                    <a:pt x="139" y="354"/>
                  </a:cubicBezTo>
                  <a:cubicBezTo>
                    <a:pt x="139" y="354"/>
                    <a:pt x="139" y="354"/>
                    <a:pt x="138" y="354"/>
                  </a:cubicBezTo>
                  <a:cubicBezTo>
                    <a:pt x="138" y="354"/>
                    <a:pt x="138" y="354"/>
                    <a:pt x="138" y="354"/>
                  </a:cubicBezTo>
                  <a:cubicBezTo>
                    <a:pt x="138" y="354"/>
                    <a:pt x="138" y="354"/>
                    <a:pt x="138" y="354"/>
                  </a:cubicBezTo>
                  <a:cubicBezTo>
                    <a:pt x="138" y="353"/>
                    <a:pt x="138" y="353"/>
                    <a:pt x="138" y="353"/>
                  </a:cubicBezTo>
                  <a:cubicBezTo>
                    <a:pt x="138" y="353"/>
                    <a:pt x="138" y="353"/>
                    <a:pt x="138" y="353"/>
                  </a:cubicBezTo>
                  <a:cubicBezTo>
                    <a:pt x="138" y="353"/>
                    <a:pt x="138" y="352"/>
                    <a:pt x="138" y="352"/>
                  </a:cubicBezTo>
                  <a:cubicBezTo>
                    <a:pt x="138" y="352"/>
                    <a:pt x="137" y="352"/>
                    <a:pt x="137" y="352"/>
                  </a:cubicBezTo>
                  <a:cubicBezTo>
                    <a:pt x="137" y="352"/>
                    <a:pt x="137" y="352"/>
                    <a:pt x="137" y="352"/>
                  </a:cubicBezTo>
                  <a:cubicBezTo>
                    <a:pt x="137" y="351"/>
                    <a:pt x="137" y="351"/>
                    <a:pt x="137" y="351"/>
                  </a:cubicBezTo>
                  <a:cubicBezTo>
                    <a:pt x="136" y="349"/>
                    <a:pt x="135" y="347"/>
                    <a:pt x="134" y="346"/>
                  </a:cubicBezTo>
                  <a:cubicBezTo>
                    <a:pt x="124" y="344"/>
                    <a:pt x="115" y="342"/>
                    <a:pt x="105" y="340"/>
                  </a:cubicBezTo>
                  <a:cubicBezTo>
                    <a:pt x="105" y="340"/>
                    <a:pt x="105" y="340"/>
                    <a:pt x="105" y="340"/>
                  </a:cubicBezTo>
                  <a:cubicBezTo>
                    <a:pt x="105" y="340"/>
                    <a:pt x="105" y="340"/>
                    <a:pt x="106" y="340"/>
                  </a:cubicBezTo>
                  <a:cubicBezTo>
                    <a:pt x="106" y="339"/>
                    <a:pt x="106" y="339"/>
                    <a:pt x="106" y="338"/>
                  </a:cubicBezTo>
                  <a:cubicBezTo>
                    <a:pt x="106" y="338"/>
                    <a:pt x="106" y="338"/>
                    <a:pt x="106" y="338"/>
                  </a:cubicBezTo>
                  <a:cubicBezTo>
                    <a:pt x="106" y="337"/>
                    <a:pt x="105" y="336"/>
                    <a:pt x="104" y="335"/>
                  </a:cubicBezTo>
                  <a:cubicBezTo>
                    <a:pt x="104" y="335"/>
                    <a:pt x="104" y="335"/>
                    <a:pt x="103" y="335"/>
                  </a:cubicBezTo>
                  <a:cubicBezTo>
                    <a:pt x="103" y="335"/>
                    <a:pt x="103" y="335"/>
                    <a:pt x="103" y="335"/>
                  </a:cubicBezTo>
                  <a:cubicBezTo>
                    <a:pt x="103" y="335"/>
                    <a:pt x="103" y="335"/>
                    <a:pt x="103" y="335"/>
                  </a:cubicBezTo>
                  <a:cubicBezTo>
                    <a:pt x="103" y="334"/>
                    <a:pt x="102" y="334"/>
                    <a:pt x="102" y="333"/>
                  </a:cubicBezTo>
                  <a:cubicBezTo>
                    <a:pt x="102" y="333"/>
                    <a:pt x="101" y="333"/>
                    <a:pt x="101" y="333"/>
                  </a:cubicBezTo>
                  <a:cubicBezTo>
                    <a:pt x="101" y="332"/>
                    <a:pt x="101" y="332"/>
                    <a:pt x="101" y="332"/>
                  </a:cubicBezTo>
                  <a:cubicBezTo>
                    <a:pt x="100" y="331"/>
                    <a:pt x="99" y="331"/>
                    <a:pt x="99" y="330"/>
                  </a:cubicBezTo>
                  <a:cubicBezTo>
                    <a:pt x="99" y="330"/>
                    <a:pt x="99" y="329"/>
                    <a:pt x="99" y="329"/>
                  </a:cubicBezTo>
                  <a:cubicBezTo>
                    <a:pt x="98" y="328"/>
                    <a:pt x="97" y="328"/>
                    <a:pt x="96" y="327"/>
                  </a:cubicBezTo>
                  <a:cubicBezTo>
                    <a:pt x="96" y="327"/>
                    <a:pt x="96" y="327"/>
                    <a:pt x="96" y="326"/>
                  </a:cubicBezTo>
                  <a:cubicBezTo>
                    <a:pt x="95" y="326"/>
                    <a:pt x="94" y="325"/>
                    <a:pt x="94" y="324"/>
                  </a:cubicBezTo>
                  <a:cubicBezTo>
                    <a:pt x="94" y="324"/>
                    <a:pt x="94" y="324"/>
                    <a:pt x="94" y="324"/>
                  </a:cubicBezTo>
                  <a:cubicBezTo>
                    <a:pt x="93" y="323"/>
                    <a:pt x="92" y="322"/>
                    <a:pt x="91" y="321"/>
                  </a:cubicBezTo>
                  <a:cubicBezTo>
                    <a:pt x="91" y="321"/>
                    <a:pt x="91" y="321"/>
                    <a:pt x="91" y="321"/>
                  </a:cubicBezTo>
                  <a:cubicBezTo>
                    <a:pt x="90" y="320"/>
                    <a:pt x="90" y="319"/>
                    <a:pt x="89" y="319"/>
                  </a:cubicBezTo>
                  <a:cubicBezTo>
                    <a:pt x="89" y="318"/>
                    <a:pt x="89" y="318"/>
                    <a:pt x="89" y="318"/>
                  </a:cubicBezTo>
                  <a:cubicBezTo>
                    <a:pt x="88" y="317"/>
                    <a:pt x="87" y="317"/>
                    <a:pt x="86" y="316"/>
                  </a:cubicBezTo>
                  <a:cubicBezTo>
                    <a:pt x="86" y="316"/>
                    <a:pt x="86" y="315"/>
                    <a:pt x="86" y="315"/>
                  </a:cubicBezTo>
                  <a:cubicBezTo>
                    <a:pt x="86" y="314"/>
                    <a:pt x="85" y="314"/>
                    <a:pt x="84" y="313"/>
                  </a:cubicBezTo>
                  <a:cubicBezTo>
                    <a:pt x="84" y="313"/>
                    <a:pt x="84" y="313"/>
                    <a:pt x="84" y="312"/>
                  </a:cubicBezTo>
                  <a:cubicBezTo>
                    <a:pt x="83" y="312"/>
                    <a:pt x="82" y="311"/>
                    <a:pt x="81" y="310"/>
                  </a:cubicBezTo>
                  <a:cubicBezTo>
                    <a:pt x="81" y="310"/>
                    <a:pt x="81" y="310"/>
                    <a:pt x="81" y="310"/>
                  </a:cubicBezTo>
                  <a:cubicBezTo>
                    <a:pt x="81" y="310"/>
                    <a:pt x="81" y="310"/>
                    <a:pt x="81" y="310"/>
                  </a:cubicBezTo>
                  <a:cubicBezTo>
                    <a:pt x="81" y="309"/>
                    <a:pt x="81" y="309"/>
                    <a:pt x="80" y="309"/>
                  </a:cubicBezTo>
                  <a:cubicBezTo>
                    <a:pt x="80" y="308"/>
                    <a:pt x="79" y="308"/>
                    <a:pt x="79" y="308"/>
                  </a:cubicBezTo>
                  <a:cubicBezTo>
                    <a:pt x="79" y="308"/>
                    <a:pt x="79" y="308"/>
                    <a:pt x="79" y="307"/>
                  </a:cubicBezTo>
                  <a:cubicBezTo>
                    <a:pt x="78" y="307"/>
                    <a:pt x="78" y="307"/>
                    <a:pt x="78" y="307"/>
                  </a:cubicBezTo>
                  <a:cubicBezTo>
                    <a:pt x="78" y="307"/>
                    <a:pt x="78" y="307"/>
                    <a:pt x="78" y="307"/>
                  </a:cubicBezTo>
                  <a:cubicBezTo>
                    <a:pt x="77" y="307"/>
                    <a:pt x="77" y="307"/>
                    <a:pt x="77" y="307"/>
                  </a:cubicBezTo>
                  <a:cubicBezTo>
                    <a:pt x="77" y="307"/>
                    <a:pt x="77" y="307"/>
                    <a:pt x="77" y="306"/>
                  </a:cubicBezTo>
                  <a:cubicBezTo>
                    <a:pt x="77" y="306"/>
                    <a:pt x="76" y="306"/>
                    <a:pt x="76" y="306"/>
                  </a:cubicBezTo>
                  <a:cubicBezTo>
                    <a:pt x="76" y="306"/>
                    <a:pt x="76" y="306"/>
                    <a:pt x="76" y="306"/>
                  </a:cubicBezTo>
                  <a:cubicBezTo>
                    <a:pt x="75" y="306"/>
                    <a:pt x="75" y="305"/>
                    <a:pt x="74" y="305"/>
                  </a:cubicBezTo>
                  <a:cubicBezTo>
                    <a:pt x="74" y="305"/>
                    <a:pt x="74" y="305"/>
                    <a:pt x="74" y="305"/>
                  </a:cubicBezTo>
                  <a:cubicBezTo>
                    <a:pt x="74" y="305"/>
                    <a:pt x="74" y="305"/>
                    <a:pt x="73" y="305"/>
                  </a:cubicBezTo>
                  <a:cubicBezTo>
                    <a:pt x="73" y="304"/>
                    <a:pt x="73" y="304"/>
                    <a:pt x="73" y="304"/>
                  </a:cubicBezTo>
                  <a:cubicBezTo>
                    <a:pt x="73" y="304"/>
                    <a:pt x="73" y="304"/>
                    <a:pt x="72" y="304"/>
                  </a:cubicBezTo>
                  <a:cubicBezTo>
                    <a:pt x="72" y="304"/>
                    <a:pt x="72" y="304"/>
                    <a:pt x="72" y="304"/>
                  </a:cubicBezTo>
                  <a:cubicBezTo>
                    <a:pt x="72" y="304"/>
                    <a:pt x="72" y="304"/>
                    <a:pt x="72" y="304"/>
                  </a:cubicBezTo>
                  <a:cubicBezTo>
                    <a:pt x="72" y="303"/>
                    <a:pt x="71" y="303"/>
                    <a:pt x="71" y="303"/>
                  </a:cubicBezTo>
                  <a:cubicBezTo>
                    <a:pt x="71" y="303"/>
                    <a:pt x="70" y="303"/>
                    <a:pt x="70" y="303"/>
                  </a:cubicBezTo>
                  <a:cubicBezTo>
                    <a:pt x="70" y="302"/>
                    <a:pt x="70" y="302"/>
                    <a:pt x="70" y="302"/>
                  </a:cubicBezTo>
                  <a:cubicBezTo>
                    <a:pt x="70" y="302"/>
                    <a:pt x="69" y="302"/>
                    <a:pt x="69" y="302"/>
                  </a:cubicBezTo>
                  <a:cubicBezTo>
                    <a:pt x="69" y="302"/>
                    <a:pt x="69" y="301"/>
                    <a:pt x="68" y="301"/>
                  </a:cubicBezTo>
                  <a:cubicBezTo>
                    <a:pt x="68" y="301"/>
                    <a:pt x="68" y="301"/>
                    <a:pt x="68" y="301"/>
                  </a:cubicBezTo>
                  <a:cubicBezTo>
                    <a:pt x="68" y="301"/>
                    <a:pt x="68" y="301"/>
                    <a:pt x="68" y="301"/>
                  </a:cubicBezTo>
                  <a:cubicBezTo>
                    <a:pt x="68" y="301"/>
                    <a:pt x="67" y="301"/>
                    <a:pt x="67" y="301"/>
                  </a:cubicBezTo>
                  <a:cubicBezTo>
                    <a:pt x="67" y="301"/>
                    <a:pt x="67" y="300"/>
                    <a:pt x="67" y="300"/>
                  </a:cubicBezTo>
                  <a:cubicBezTo>
                    <a:pt x="66" y="300"/>
                    <a:pt x="66" y="300"/>
                    <a:pt x="65" y="300"/>
                  </a:cubicBezTo>
                  <a:cubicBezTo>
                    <a:pt x="65" y="300"/>
                    <a:pt x="65" y="300"/>
                    <a:pt x="65" y="299"/>
                  </a:cubicBezTo>
                  <a:cubicBezTo>
                    <a:pt x="65" y="299"/>
                    <a:pt x="65" y="299"/>
                    <a:pt x="64" y="299"/>
                  </a:cubicBezTo>
                  <a:cubicBezTo>
                    <a:pt x="64" y="299"/>
                    <a:pt x="64" y="299"/>
                    <a:pt x="64" y="298"/>
                  </a:cubicBezTo>
                  <a:cubicBezTo>
                    <a:pt x="64" y="298"/>
                    <a:pt x="63" y="298"/>
                    <a:pt x="63" y="298"/>
                  </a:cubicBezTo>
                  <a:cubicBezTo>
                    <a:pt x="63" y="298"/>
                    <a:pt x="63" y="298"/>
                    <a:pt x="63" y="298"/>
                  </a:cubicBezTo>
                  <a:cubicBezTo>
                    <a:pt x="63" y="298"/>
                    <a:pt x="63" y="298"/>
                    <a:pt x="63" y="298"/>
                  </a:cubicBezTo>
                  <a:cubicBezTo>
                    <a:pt x="62" y="298"/>
                    <a:pt x="62" y="298"/>
                    <a:pt x="62" y="297"/>
                  </a:cubicBezTo>
                  <a:cubicBezTo>
                    <a:pt x="62" y="297"/>
                    <a:pt x="61" y="297"/>
                    <a:pt x="61" y="297"/>
                  </a:cubicBezTo>
                  <a:cubicBezTo>
                    <a:pt x="61" y="297"/>
                    <a:pt x="61" y="296"/>
                    <a:pt x="60" y="296"/>
                  </a:cubicBezTo>
                  <a:cubicBezTo>
                    <a:pt x="60" y="296"/>
                    <a:pt x="60" y="296"/>
                    <a:pt x="60" y="296"/>
                  </a:cubicBezTo>
                  <a:cubicBezTo>
                    <a:pt x="60" y="296"/>
                    <a:pt x="60" y="296"/>
                    <a:pt x="59" y="296"/>
                  </a:cubicBezTo>
                  <a:cubicBezTo>
                    <a:pt x="59" y="295"/>
                    <a:pt x="58" y="295"/>
                    <a:pt x="58" y="295"/>
                  </a:cubicBezTo>
                  <a:cubicBezTo>
                    <a:pt x="58" y="295"/>
                    <a:pt x="58" y="295"/>
                    <a:pt x="58" y="295"/>
                  </a:cubicBezTo>
                  <a:cubicBezTo>
                    <a:pt x="57" y="294"/>
                    <a:pt x="57" y="294"/>
                    <a:pt x="56" y="294"/>
                  </a:cubicBezTo>
                  <a:cubicBezTo>
                    <a:pt x="56" y="294"/>
                    <a:pt x="56" y="294"/>
                    <a:pt x="56" y="294"/>
                  </a:cubicBezTo>
                  <a:cubicBezTo>
                    <a:pt x="56" y="294"/>
                    <a:pt x="56" y="294"/>
                    <a:pt x="55" y="293"/>
                  </a:cubicBezTo>
                  <a:cubicBezTo>
                    <a:pt x="55" y="293"/>
                    <a:pt x="55" y="293"/>
                    <a:pt x="55" y="293"/>
                  </a:cubicBezTo>
                  <a:cubicBezTo>
                    <a:pt x="55" y="293"/>
                    <a:pt x="54" y="293"/>
                    <a:pt x="54" y="293"/>
                  </a:cubicBezTo>
                  <a:cubicBezTo>
                    <a:pt x="54" y="293"/>
                    <a:pt x="54" y="293"/>
                    <a:pt x="54" y="292"/>
                  </a:cubicBezTo>
                  <a:cubicBezTo>
                    <a:pt x="54" y="292"/>
                    <a:pt x="54" y="292"/>
                    <a:pt x="53" y="292"/>
                  </a:cubicBezTo>
                  <a:cubicBezTo>
                    <a:pt x="53" y="292"/>
                    <a:pt x="53" y="292"/>
                    <a:pt x="53" y="292"/>
                  </a:cubicBezTo>
                  <a:cubicBezTo>
                    <a:pt x="53" y="292"/>
                    <a:pt x="52" y="291"/>
                    <a:pt x="52" y="291"/>
                  </a:cubicBezTo>
                  <a:cubicBezTo>
                    <a:pt x="52" y="291"/>
                    <a:pt x="51" y="291"/>
                    <a:pt x="51" y="291"/>
                  </a:cubicBezTo>
                  <a:cubicBezTo>
                    <a:pt x="51" y="291"/>
                    <a:pt x="51" y="291"/>
                    <a:pt x="51" y="291"/>
                  </a:cubicBezTo>
                  <a:cubicBezTo>
                    <a:pt x="51" y="290"/>
                    <a:pt x="50" y="290"/>
                    <a:pt x="50" y="290"/>
                  </a:cubicBezTo>
                  <a:cubicBezTo>
                    <a:pt x="50" y="290"/>
                    <a:pt x="49" y="290"/>
                    <a:pt x="49" y="290"/>
                  </a:cubicBezTo>
                  <a:cubicBezTo>
                    <a:pt x="49" y="289"/>
                    <a:pt x="49" y="289"/>
                    <a:pt x="49" y="289"/>
                  </a:cubicBezTo>
                  <a:cubicBezTo>
                    <a:pt x="48" y="289"/>
                    <a:pt x="48" y="289"/>
                    <a:pt x="47" y="289"/>
                  </a:cubicBezTo>
                  <a:cubicBezTo>
                    <a:pt x="47" y="288"/>
                    <a:pt x="47" y="288"/>
                    <a:pt x="47" y="288"/>
                  </a:cubicBezTo>
                  <a:cubicBezTo>
                    <a:pt x="47" y="288"/>
                    <a:pt x="46" y="288"/>
                    <a:pt x="46" y="288"/>
                  </a:cubicBezTo>
                  <a:cubicBezTo>
                    <a:pt x="46" y="288"/>
                    <a:pt x="46" y="287"/>
                    <a:pt x="46" y="287"/>
                  </a:cubicBezTo>
                  <a:cubicBezTo>
                    <a:pt x="45" y="287"/>
                    <a:pt x="45" y="287"/>
                    <a:pt x="44" y="287"/>
                  </a:cubicBezTo>
                  <a:cubicBezTo>
                    <a:pt x="44" y="286"/>
                    <a:pt x="44" y="286"/>
                    <a:pt x="43" y="285"/>
                  </a:cubicBezTo>
                  <a:cubicBezTo>
                    <a:pt x="43" y="285"/>
                    <a:pt x="43" y="285"/>
                    <a:pt x="43" y="285"/>
                  </a:cubicBezTo>
                  <a:cubicBezTo>
                    <a:pt x="42" y="285"/>
                    <a:pt x="42" y="284"/>
                    <a:pt x="42" y="284"/>
                  </a:cubicBezTo>
                  <a:cubicBezTo>
                    <a:pt x="41" y="284"/>
                    <a:pt x="41" y="284"/>
                    <a:pt x="41" y="284"/>
                  </a:cubicBezTo>
                  <a:cubicBezTo>
                    <a:pt x="41" y="284"/>
                    <a:pt x="40" y="283"/>
                    <a:pt x="40" y="283"/>
                  </a:cubicBezTo>
                  <a:cubicBezTo>
                    <a:pt x="40" y="283"/>
                    <a:pt x="39" y="283"/>
                    <a:pt x="39" y="283"/>
                  </a:cubicBezTo>
                  <a:cubicBezTo>
                    <a:pt x="39" y="282"/>
                    <a:pt x="38" y="282"/>
                    <a:pt x="38" y="281"/>
                  </a:cubicBezTo>
                  <a:cubicBezTo>
                    <a:pt x="38" y="281"/>
                    <a:pt x="38" y="281"/>
                    <a:pt x="37" y="281"/>
                  </a:cubicBezTo>
                  <a:cubicBezTo>
                    <a:pt x="37" y="281"/>
                    <a:pt x="37" y="280"/>
                    <a:pt x="36" y="280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35" y="279"/>
                    <a:pt x="35" y="279"/>
                    <a:pt x="35" y="278"/>
                  </a:cubicBezTo>
                  <a:cubicBezTo>
                    <a:pt x="34" y="278"/>
                    <a:pt x="34" y="278"/>
                    <a:pt x="34" y="278"/>
                  </a:cubicBezTo>
                  <a:cubicBezTo>
                    <a:pt x="34" y="278"/>
                    <a:pt x="34" y="278"/>
                    <a:pt x="34" y="278"/>
                  </a:cubicBezTo>
                  <a:cubicBezTo>
                    <a:pt x="33" y="278"/>
                    <a:pt x="33" y="278"/>
                    <a:pt x="33" y="278"/>
                  </a:cubicBezTo>
                  <a:cubicBezTo>
                    <a:pt x="33" y="277"/>
                    <a:pt x="33" y="277"/>
                    <a:pt x="33" y="277"/>
                  </a:cubicBezTo>
                  <a:cubicBezTo>
                    <a:pt x="33" y="277"/>
                    <a:pt x="32" y="277"/>
                    <a:pt x="32" y="277"/>
                  </a:cubicBezTo>
                  <a:cubicBezTo>
                    <a:pt x="32" y="277"/>
                    <a:pt x="31" y="276"/>
                    <a:pt x="31" y="276"/>
                  </a:cubicBezTo>
                  <a:cubicBezTo>
                    <a:pt x="31" y="276"/>
                    <a:pt x="31" y="276"/>
                    <a:pt x="30" y="276"/>
                  </a:cubicBezTo>
                  <a:cubicBezTo>
                    <a:pt x="30" y="275"/>
                    <a:pt x="30" y="275"/>
                    <a:pt x="29" y="274"/>
                  </a:cubicBezTo>
                  <a:cubicBezTo>
                    <a:pt x="29" y="274"/>
                    <a:pt x="29" y="274"/>
                    <a:pt x="29" y="274"/>
                  </a:cubicBezTo>
                  <a:cubicBezTo>
                    <a:pt x="28" y="274"/>
                    <a:pt x="28" y="273"/>
                    <a:pt x="28" y="273"/>
                  </a:cubicBezTo>
                  <a:cubicBezTo>
                    <a:pt x="27" y="273"/>
                    <a:pt x="27" y="273"/>
                    <a:pt x="27" y="273"/>
                  </a:cubicBezTo>
                  <a:cubicBezTo>
                    <a:pt x="27" y="272"/>
                    <a:pt x="26" y="272"/>
                    <a:pt x="26" y="271"/>
                  </a:cubicBezTo>
                  <a:cubicBezTo>
                    <a:pt x="26" y="271"/>
                    <a:pt x="25" y="271"/>
                    <a:pt x="25" y="271"/>
                  </a:cubicBezTo>
                  <a:cubicBezTo>
                    <a:pt x="25" y="271"/>
                    <a:pt x="24" y="271"/>
                    <a:pt x="24" y="270"/>
                  </a:cubicBezTo>
                  <a:cubicBezTo>
                    <a:pt x="24" y="270"/>
                    <a:pt x="24" y="270"/>
                    <a:pt x="23" y="270"/>
                  </a:cubicBezTo>
                  <a:cubicBezTo>
                    <a:pt x="23" y="270"/>
                    <a:pt x="23" y="269"/>
                    <a:pt x="22" y="269"/>
                  </a:cubicBezTo>
                  <a:cubicBezTo>
                    <a:pt x="22" y="269"/>
                    <a:pt x="22" y="269"/>
                    <a:pt x="22" y="269"/>
                  </a:cubicBezTo>
                  <a:cubicBezTo>
                    <a:pt x="21" y="268"/>
                    <a:pt x="21" y="268"/>
                    <a:pt x="21" y="267"/>
                  </a:cubicBezTo>
                  <a:cubicBezTo>
                    <a:pt x="20" y="267"/>
                    <a:pt x="20" y="267"/>
                    <a:pt x="20" y="267"/>
                  </a:cubicBezTo>
                  <a:cubicBezTo>
                    <a:pt x="20" y="267"/>
                    <a:pt x="19" y="266"/>
                    <a:pt x="19" y="266"/>
                  </a:cubicBezTo>
                  <a:cubicBezTo>
                    <a:pt x="19" y="266"/>
                    <a:pt x="18" y="266"/>
                    <a:pt x="18" y="266"/>
                  </a:cubicBezTo>
                  <a:cubicBezTo>
                    <a:pt x="18" y="265"/>
                    <a:pt x="17" y="265"/>
                    <a:pt x="17" y="264"/>
                  </a:cubicBezTo>
                  <a:cubicBezTo>
                    <a:pt x="17" y="264"/>
                    <a:pt x="17" y="264"/>
                    <a:pt x="17" y="264"/>
                  </a:cubicBezTo>
                  <a:cubicBezTo>
                    <a:pt x="17" y="264"/>
                    <a:pt x="17" y="264"/>
                    <a:pt x="17" y="264"/>
                  </a:cubicBezTo>
                  <a:cubicBezTo>
                    <a:pt x="17" y="264"/>
                    <a:pt x="16" y="264"/>
                    <a:pt x="16" y="264"/>
                  </a:cubicBezTo>
                  <a:cubicBezTo>
                    <a:pt x="16" y="264"/>
                    <a:pt x="16" y="263"/>
                    <a:pt x="16" y="263"/>
                  </a:cubicBezTo>
                  <a:cubicBezTo>
                    <a:pt x="16" y="263"/>
                    <a:pt x="16" y="263"/>
                    <a:pt x="16" y="263"/>
                  </a:cubicBezTo>
                  <a:cubicBezTo>
                    <a:pt x="16" y="263"/>
                    <a:pt x="16" y="262"/>
                    <a:pt x="16" y="262"/>
                  </a:cubicBezTo>
                  <a:cubicBezTo>
                    <a:pt x="16" y="262"/>
                    <a:pt x="16" y="262"/>
                    <a:pt x="16" y="262"/>
                  </a:cubicBezTo>
                  <a:cubicBezTo>
                    <a:pt x="16" y="262"/>
                    <a:pt x="15" y="261"/>
                    <a:pt x="15" y="261"/>
                  </a:cubicBezTo>
                  <a:cubicBezTo>
                    <a:pt x="15" y="261"/>
                    <a:pt x="15" y="261"/>
                    <a:pt x="15" y="261"/>
                  </a:cubicBezTo>
                  <a:cubicBezTo>
                    <a:pt x="15" y="260"/>
                    <a:pt x="15" y="260"/>
                    <a:pt x="15" y="260"/>
                  </a:cubicBezTo>
                  <a:cubicBezTo>
                    <a:pt x="15" y="260"/>
                    <a:pt x="15" y="260"/>
                    <a:pt x="15" y="260"/>
                  </a:cubicBezTo>
                  <a:cubicBezTo>
                    <a:pt x="15" y="259"/>
                    <a:pt x="14" y="259"/>
                    <a:pt x="14" y="258"/>
                  </a:cubicBezTo>
                  <a:cubicBezTo>
                    <a:pt x="14" y="258"/>
                    <a:pt x="14" y="258"/>
                    <a:pt x="14" y="258"/>
                  </a:cubicBezTo>
                  <a:cubicBezTo>
                    <a:pt x="14" y="258"/>
                    <a:pt x="14" y="257"/>
                    <a:pt x="14" y="257"/>
                  </a:cubicBezTo>
                  <a:cubicBezTo>
                    <a:pt x="14" y="257"/>
                    <a:pt x="14" y="257"/>
                    <a:pt x="14" y="257"/>
                  </a:cubicBezTo>
                  <a:cubicBezTo>
                    <a:pt x="13" y="257"/>
                    <a:pt x="13" y="256"/>
                    <a:pt x="13" y="256"/>
                  </a:cubicBezTo>
                  <a:cubicBezTo>
                    <a:pt x="13" y="256"/>
                    <a:pt x="13" y="256"/>
                    <a:pt x="13" y="256"/>
                  </a:cubicBezTo>
                  <a:cubicBezTo>
                    <a:pt x="13" y="255"/>
                    <a:pt x="13" y="255"/>
                    <a:pt x="13" y="255"/>
                  </a:cubicBezTo>
                  <a:cubicBezTo>
                    <a:pt x="13" y="255"/>
                    <a:pt x="13" y="255"/>
                    <a:pt x="13" y="255"/>
                  </a:cubicBezTo>
                  <a:cubicBezTo>
                    <a:pt x="12" y="254"/>
                    <a:pt x="12" y="254"/>
                    <a:pt x="12" y="253"/>
                  </a:cubicBezTo>
                  <a:cubicBezTo>
                    <a:pt x="12" y="253"/>
                    <a:pt x="12" y="253"/>
                    <a:pt x="12" y="253"/>
                  </a:cubicBezTo>
                  <a:cubicBezTo>
                    <a:pt x="12" y="253"/>
                    <a:pt x="12" y="253"/>
                    <a:pt x="12" y="252"/>
                  </a:cubicBezTo>
                  <a:cubicBezTo>
                    <a:pt x="12" y="252"/>
                    <a:pt x="12" y="252"/>
                    <a:pt x="11" y="252"/>
                  </a:cubicBezTo>
                  <a:cubicBezTo>
                    <a:pt x="11" y="252"/>
                    <a:pt x="11" y="251"/>
                    <a:pt x="11" y="251"/>
                  </a:cubicBezTo>
                  <a:cubicBezTo>
                    <a:pt x="11" y="251"/>
                    <a:pt x="11" y="251"/>
                    <a:pt x="11" y="251"/>
                  </a:cubicBezTo>
                  <a:cubicBezTo>
                    <a:pt x="11" y="250"/>
                    <a:pt x="11" y="250"/>
                    <a:pt x="11" y="250"/>
                  </a:cubicBezTo>
                  <a:cubicBezTo>
                    <a:pt x="11" y="250"/>
                    <a:pt x="11" y="250"/>
                    <a:pt x="10" y="250"/>
                  </a:cubicBezTo>
                  <a:cubicBezTo>
                    <a:pt x="10" y="249"/>
                    <a:pt x="10" y="249"/>
                    <a:pt x="10" y="248"/>
                  </a:cubicBezTo>
                  <a:cubicBezTo>
                    <a:pt x="10" y="248"/>
                    <a:pt x="10" y="248"/>
                    <a:pt x="10" y="248"/>
                  </a:cubicBezTo>
                  <a:cubicBezTo>
                    <a:pt x="10" y="248"/>
                    <a:pt x="10" y="248"/>
                    <a:pt x="10" y="247"/>
                  </a:cubicBezTo>
                  <a:cubicBezTo>
                    <a:pt x="10" y="247"/>
                    <a:pt x="9" y="247"/>
                    <a:pt x="9" y="247"/>
                  </a:cubicBezTo>
                  <a:cubicBezTo>
                    <a:pt x="9" y="247"/>
                    <a:pt x="9" y="246"/>
                    <a:pt x="9" y="246"/>
                  </a:cubicBezTo>
                  <a:cubicBezTo>
                    <a:pt x="9" y="246"/>
                    <a:pt x="9" y="246"/>
                    <a:pt x="9" y="246"/>
                  </a:cubicBezTo>
                  <a:cubicBezTo>
                    <a:pt x="9" y="246"/>
                    <a:pt x="9" y="245"/>
                    <a:pt x="9" y="245"/>
                  </a:cubicBezTo>
                  <a:cubicBezTo>
                    <a:pt x="9" y="245"/>
                    <a:pt x="8" y="245"/>
                    <a:pt x="8" y="245"/>
                  </a:cubicBezTo>
                  <a:cubicBezTo>
                    <a:pt x="8" y="244"/>
                    <a:pt x="8" y="244"/>
                    <a:pt x="8" y="243"/>
                  </a:cubicBezTo>
                  <a:cubicBezTo>
                    <a:pt x="8" y="243"/>
                    <a:pt x="8" y="243"/>
                    <a:pt x="8" y="243"/>
                  </a:cubicBezTo>
                  <a:cubicBezTo>
                    <a:pt x="8" y="243"/>
                    <a:pt x="8" y="243"/>
                    <a:pt x="8" y="242"/>
                  </a:cubicBezTo>
                  <a:cubicBezTo>
                    <a:pt x="8" y="242"/>
                    <a:pt x="7" y="242"/>
                    <a:pt x="7" y="242"/>
                  </a:cubicBezTo>
                  <a:cubicBezTo>
                    <a:pt x="7" y="242"/>
                    <a:pt x="7" y="241"/>
                    <a:pt x="7" y="241"/>
                  </a:cubicBezTo>
                  <a:cubicBezTo>
                    <a:pt x="7" y="241"/>
                    <a:pt x="7" y="241"/>
                    <a:pt x="7" y="241"/>
                  </a:cubicBezTo>
                  <a:cubicBezTo>
                    <a:pt x="7" y="241"/>
                    <a:pt x="7" y="240"/>
                    <a:pt x="7" y="240"/>
                  </a:cubicBezTo>
                  <a:cubicBezTo>
                    <a:pt x="6" y="240"/>
                    <a:pt x="6" y="240"/>
                    <a:pt x="6" y="240"/>
                  </a:cubicBezTo>
                  <a:cubicBezTo>
                    <a:pt x="6" y="239"/>
                    <a:pt x="6" y="239"/>
                    <a:pt x="6" y="239"/>
                  </a:cubicBezTo>
                  <a:cubicBezTo>
                    <a:pt x="6" y="239"/>
                    <a:pt x="6" y="239"/>
                    <a:pt x="6" y="239"/>
                  </a:cubicBezTo>
                  <a:cubicBezTo>
                    <a:pt x="6" y="238"/>
                    <a:pt x="6" y="238"/>
                    <a:pt x="6" y="238"/>
                  </a:cubicBezTo>
                  <a:cubicBezTo>
                    <a:pt x="5" y="238"/>
                    <a:pt x="5" y="238"/>
                    <a:pt x="5" y="238"/>
                  </a:cubicBezTo>
                  <a:cubicBezTo>
                    <a:pt x="5" y="237"/>
                    <a:pt x="5" y="237"/>
                    <a:pt x="5" y="236"/>
                  </a:cubicBezTo>
                  <a:cubicBezTo>
                    <a:pt x="5" y="236"/>
                    <a:pt x="5" y="236"/>
                    <a:pt x="4" y="236"/>
                  </a:cubicBezTo>
                  <a:cubicBezTo>
                    <a:pt x="4" y="236"/>
                    <a:pt x="4" y="235"/>
                    <a:pt x="4" y="235"/>
                  </a:cubicBezTo>
                  <a:cubicBezTo>
                    <a:pt x="4" y="235"/>
                    <a:pt x="4" y="235"/>
                    <a:pt x="4" y="235"/>
                  </a:cubicBezTo>
                  <a:cubicBezTo>
                    <a:pt x="4" y="235"/>
                    <a:pt x="4" y="235"/>
                    <a:pt x="4" y="234"/>
                  </a:cubicBezTo>
                  <a:cubicBezTo>
                    <a:pt x="4" y="234"/>
                    <a:pt x="4" y="234"/>
                    <a:pt x="4" y="234"/>
                  </a:cubicBezTo>
                  <a:cubicBezTo>
                    <a:pt x="4" y="234"/>
                    <a:pt x="3" y="233"/>
                    <a:pt x="3" y="232"/>
                  </a:cubicBezTo>
                  <a:cubicBezTo>
                    <a:pt x="2" y="232"/>
                    <a:pt x="2" y="232"/>
                    <a:pt x="1" y="232"/>
                  </a:cubicBezTo>
                  <a:cubicBezTo>
                    <a:pt x="1" y="233"/>
                    <a:pt x="1" y="232"/>
                    <a:pt x="0" y="233"/>
                  </a:cubicBezTo>
                  <a:cubicBezTo>
                    <a:pt x="0" y="232"/>
                    <a:pt x="0" y="232"/>
                    <a:pt x="0" y="232"/>
                  </a:cubicBezTo>
                  <a:cubicBezTo>
                    <a:pt x="2" y="232"/>
                    <a:pt x="2" y="231"/>
                    <a:pt x="3" y="231"/>
                  </a:cubicBezTo>
                  <a:cubicBezTo>
                    <a:pt x="3" y="230"/>
                    <a:pt x="4" y="230"/>
                    <a:pt x="4" y="230"/>
                  </a:cubicBezTo>
                  <a:cubicBezTo>
                    <a:pt x="4" y="230"/>
                    <a:pt x="4" y="230"/>
                    <a:pt x="4" y="229"/>
                  </a:cubicBezTo>
                  <a:cubicBezTo>
                    <a:pt x="5" y="229"/>
                    <a:pt x="5" y="229"/>
                    <a:pt x="6" y="229"/>
                  </a:cubicBezTo>
                  <a:cubicBezTo>
                    <a:pt x="6" y="229"/>
                    <a:pt x="6" y="229"/>
                    <a:pt x="6" y="228"/>
                  </a:cubicBezTo>
                  <a:cubicBezTo>
                    <a:pt x="7" y="228"/>
                    <a:pt x="8" y="228"/>
                    <a:pt x="8" y="228"/>
                  </a:cubicBezTo>
                  <a:cubicBezTo>
                    <a:pt x="8" y="227"/>
                    <a:pt x="9" y="227"/>
                    <a:pt x="9" y="227"/>
                  </a:cubicBezTo>
                  <a:cubicBezTo>
                    <a:pt x="9" y="227"/>
                    <a:pt x="10" y="227"/>
                    <a:pt x="11" y="226"/>
                  </a:cubicBezTo>
                  <a:cubicBezTo>
                    <a:pt x="11" y="226"/>
                    <a:pt x="11" y="226"/>
                    <a:pt x="11" y="226"/>
                  </a:cubicBezTo>
                  <a:cubicBezTo>
                    <a:pt x="12" y="226"/>
                    <a:pt x="12" y="225"/>
                    <a:pt x="13" y="225"/>
                  </a:cubicBezTo>
                  <a:cubicBezTo>
                    <a:pt x="13" y="225"/>
                    <a:pt x="13" y="225"/>
                    <a:pt x="13" y="225"/>
                  </a:cubicBezTo>
                  <a:cubicBezTo>
                    <a:pt x="14" y="224"/>
                    <a:pt x="14" y="224"/>
                    <a:pt x="15" y="224"/>
                  </a:cubicBezTo>
                  <a:cubicBezTo>
                    <a:pt x="15" y="224"/>
                    <a:pt x="15" y="223"/>
                    <a:pt x="15" y="223"/>
                  </a:cubicBezTo>
                  <a:cubicBezTo>
                    <a:pt x="16" y="223"/>
                    <a:pt x="17" y="223"/>
                    <a:pt x="17" y="222"/>
                  </a:cubicBezTo>
                  <a:cubicBezTo>
                    <a:pt x="18" y="222"/>
                    <a:pt x="18" y="222"/>
                    <a:pt x="18" y="222"/>
                  </a:cubicBezTo>
                  <a:cubicBezTo>
                    <a:pt x="18" y="222"/>
                    <a:pt x="18" y="222"/>
                    <a:pt x="18" y="222"/>
                  </a:cubicBezTo>
                  <a:cubicBezTo>
                    <a:pt x="18" y="222"/>
                    <a:pt x="18" y="222"/>
                    <a:pt x="18" y="221"/>
                  </a:cubicBezTo>
                  <a:cubicBezTo>
                    <a:pt x="19" y="221"/>
                    <a:pt x="19" y="221"/>
                    <a:pt x="19" y="221"/>
                  </a:cubicBezTo>
                  <a:cubicBezTo>
                    <a:pt x="19" y="221"/>
                    <a:pt x="19" y="221"/>
                    <a:pt x="20" y="221"/>
                  </a:cubicBezTo>
                  <a:cubicBezTo>
                    <a:pt x="20" y="220"/>
                    <a:pt x="21" y="220"/>
                    <a:pt x="22" y="220"/>
                  </a:cubicBezTo>
                  <a:cubicBezTo>
                    <a:pt x="24" y="219"/>
                    <a:pt x="26" y="217"/>
                    <a:pt x="29" y="216"/>
                  </a:cubicBezTo>
                  <a:cubicBezTo>
                    <a:pt x="29" y="214"/>
                    <a:pt x="30" y="212"/>
                    <a:pt x="30" y="210"/>
                  </a:cubicBezTo>
                  <a:cubicBezTo>
                    <a:pt x="30" y="209"/>
                    <a:pt x="30" y="209"/>
                    <a:pt x="30" y="208"/>
                  </a:cubicBezTo>
                  <a:cubicBezTo>
                    <a:pt x="30" y="208"/>
                    <a:pt x="31" y="208"/>
                    <a:pt x="31" y="208"/>
                  </a:cubicBezTo>
                  <a:cubicBezTo>
                    <a:pt x="31" y="208"/>
                    <a:pt x="31" y="208"/>
                    <a:pt x="31" y="207"/>
                  </a:cubicBezTo>
                  <a:cubicBezTo>
                    <a:pt x="31" y="207"/>
                    <a:pt x="31" y="207"/>
                    <a:pt x="31" y="207"/>
                  </a:cubicBezTo>
                  <a:cubicBezTo>
                    <a:pt x="31" y="207"/>
                    <a:pt x="31" y="207"/>
                    <a:pt x="31" y="206"/>
                  </a:cubicBezTo>
                  <a:cubicBezTo>
                    <a:pt x="31" y="206"/>
                    <a:pt x="31" y="206"/>
                    <a:pt x="31" y="206"/>
                  </a:cubicBezTo>
                  <a:cubicBezTo>
                    <a:pt x="31" y="206"/>
                    <a:pt x="31" y="205"/>
                    <a:pt x="31" y="205"/>
                  </a:cubicBezTo>
                  <a:cubicBezTo>
                    <a:pt x="32" y="205"/>
                    <a:pt x="32" y="205"/>
                    <a:pt x="32" y="205"/>
                  </a:cubicBezTo>
                  <a:cubicBezTo>
                    <a:pt x="32" y="204"/>
                    <a:pt x="32" y="203"/>
                    <a:pt x="32" y="203"/>
                  </a:cubicBezTo>
                  <a:cubicBezTo>
                    <a:pt x="33" y="201"/>
                    <a:pt x="33" y="199"/>
                    <a:pt x="34" y="197"/>
                  </a:cubicBezTo>
                  <a:cubicBezTo>
                    <a:pt x="33" y="197"/>
                    <a:pt x="33" y="197"/>
                    <a:pt x="33" y="197"/>
                  </a:cubicBezTo>
                  <a:cubicBezTo>
                    <a:pt x="33" y="197"/>
                    <a:pt x="33" y="197"/>
                    <a:pt x="32" y="197"/>
                  </a:cubicBezTo>
                  <a:cubicBezTo>
                    <a:pt x="32" y="196"/>
                    <a:pt x="32" y="196"/>
                    <a:pt x="32" y="196"/>
                  </a:cubicBezTo>
                  <a:cubicBezTo>
                    <a:pt x="32" y="196"/>
                    <a:pt x="31" y="196"/>
                    <a:pt x="31" y="196"/>
                  </a:cubicBezTo>
                  <a:cubicBezTo>
                    <a:pt x="31" y="195"/>
                    <a:pt x="31" y="195"/>
                    <a:pt x="30" y="194"/>
                  </a:cubicBezTo>
                  <a:cubicBezTo>
                    <a:pt x="30" y="194"/>
                    <a:pt x="30" y="194"/>
                    <a:pt x="30" y="194"/>
                  </a:cubicBezTo>
                  <a:cubicBezTo>
                    <a:pt x="29" y="194"/>
                    <a:pt x="29" y="194"/>
                    <a:pt x="29" y="193"/>
                  </a:cubicBezTo>
                  <a:cubicBezTo>
                    <a:pt x="29" y="193"/>
                    <a:pt x="28" y="193"/>
                    <a:pt x="28" y="193"/>
                  </a:cubicBezTo>
                  <a:cubicBezTo>
                    <a:pt x="28" y="193"/>
                    <a:pt x="28" y="193"/>
                    <a:pt x="28" y="193"/>
                  </a:cubicBezTo>
                  <a:cubicBezTo>
                    <a:pt x="28" y="193"/>
                    <a:pt x="27" y="193"/>
                    <a:pt x="27" y="193"/>
                  </a:cubicBezTo>
                  <a:cubicBezTo>
                    <a:pt x="27" y="192"/>
                    <a:pt x="27" y="192"/>
                    <a:pt x="27" y="192"/>
                  </a:cubicBezTo>
                  <a:cubicBezTo>
                    <a:pt x="26" y="192"/>
                    <a:pt x="26" y="192"/>
                    <a:pt x="26" y="192"/>
                  </a:cubicBezTo>
                  <a:cubicBezTo>
                    <a:pt x="26" y="191"/>
                    <a:pt x="25" y="191"/>
                    <a:pt x="25" y="191"/>
                  </a:cubicBezTo>
                  <a:cubicBezTo>
                    <a:pt x="25" y="191"/>
                    <a:pt x="25" y="191"/>
                    <a:pt x="24" y="191"/>
                  </a:cubicBezTo>
                  <a:cubicBezTo>
                    <a:pt x="24" y="190"/>
                    <a:pt x="24" y="190"/>
                    <a:pt x="24" y="190"/>
                  </a:cubicBezTo>
                  <a:cubicBezTo>
                    <a:pt x="23" y="190"/>
                    <a:pt x="23" y="190"/>
                    <a:pt x="23" y="190"/>
                  </a:cubicBezTo>
                  <a:cubicBezTo>
                    <a:pt x="23" y="189"/>
                    <a:pt x="23" y="189"/>
                    <a:pt x="23" y="189"/>
                  </a:cubicBezTo>
                  <a:cubicBezTo>
                    <a:pt x="22" y="189"/>
                    <a:pt x="22" y="189"/>
                    <a:pt x="22" y="189"/>
                  </a:cubicBezTo>
                  <a:cubicBezTo>
                    <a:pt x="21" y="188"/>
                    <a:pt x="21" y="188"/>
                    <a:pt x="21" y="187"/>
                  </a:cubicBezTo>
                  <a:cubicBezTo>
                    <a:pt x="21" y="187"/>
                    <a:pt x="20" y="187"/>
                    <a:pt x="20" y="187"/>
                  </a:cubicBezTo>
                  <a:cubicBezTo>
                    <a:pt x="20" y="187"/>
                    <a:pt x="20" y="187"/>
                    <a:pt x="20" y="186"/>
                  </a:cubicBezTo>
                  <a:cubicBezTo>
                    <a:pt x="19" y="186"/>
                    <a:pt x="19" y="186"/>
                    <a:pt x="18" y="186"/>
                  </a:cubicBezTo>
                  <a:cubicBezTo>
                    <a:pt x="18" y="186"/>
                    <a:pt x="18" y="186"/>
                    <a:pt x="18" y="185"/>
                  </a:cubicBezTo>
                  <a:cubicBezTo>
                    <a:pt x="18" y="185"/>
                    <a:pt x="18" y="185"/>
                    <a:pt x="17" y="185"/>
                  </a:cubicBezTo>
                  <a:cubicBezTo>
                    <a:pt x="17" y="185"/>
                    <a:pt x="17" y="185"/>
                    <a:pt x="17" y="185"/>
                  </a:cubicBezTo>
                  <a:cubicBezTo>
                    <a:pt x="17" y="185"/>
                    <a:pt x="17" y="185"/>
                    <a:pt x="16" y="185"/>
                  </a:cubicBezTo>
                  <a:cubicBezTo>
                    <a:pt x="16" y="184"/>
                    <a:pt x="16" y="184"/>
                    <a:pt x="16" y="184"/>
                  </a:cubicBezTo>
                  <a:cubicBezTo>
                    <a:pt x="16" y="184"/>
                    <a:pt x="15" y="184"/>
                    <a:pt x="15" y="184"/>
                  </a:cubicBezTo>
                  <a:cubicBezTo>
                    <a:pt x="15" y="183"/>
                    <a:pt x="15" y="183"/>
                    <a:pt x="14" y="183"/>
                  </a:cubicBezTo>
                  <a:cubicBezTo>
                    <a:pt x="14" y="183"/>
                    <a:pt x="14" y="183"/>
                    <a:pt x="14" y="183"/>
                  </a:cubicBezTo>
                  <a:cubicBezTo>
                    <a:pt x="13" y="182"/>
                    <a:pt x="13" y="182"/>
                    <a:pt x="13" y="182"/>
                  </a:cubicBezTo>
                  <a:cubicBezTo>
                    <a:pt x="13" y="182"/>
                    <a:pt x="12" y="182"/>
                    <a:pt x="12" y="182"/>
                  </a:cubicBezTo>
                  <a:cubicBezTo>
                    <a:pt x="12" y="181"/>
                    <a:pt x="12" y="181"/>
                    <a:pt x="11" y="181"/>
                  </a:cubicBezTo>
                  <a:cubicBezTo>
                    <a:pt x="11" y="181"/>
                    <a:pt x="11" y="181"/>
                    <a:pt x="11" y="181"/>
                  </a:cubicBezTo>
                  <a:cubicBezTo>
                    <a:pt x="11" y="180"/>
                    <a:pt x="10" y="180"/>
                    <a:pt x="10" y="179"/>
                  </a:cubicBezTo>
                  <a:cubicBezTo>
                    <a:pt x="10" y="179"/>
                    <a:pt x="10" y="179"/>
                    <a:pt x="9" y="179"/>
                  </a:cubicBezTo>
                  <a:cubicBezTo>
                    <a:pt x="9" y="179"/>
                    <a:pt x="9" y="179"/>
                    <a:pt x="9" y="178"/>
                  </a:cubicBezTo>
                  <a:cubicBezTo>
                    <a:pt x="8" y="178"/>
                    <a:pt x="8" y="178"/>
                    <a:pt x="8" y="178"/>
                  </a:cubicBezTo>
                  <a:cubicBezTo>
                    <a:pt x="8" y="178"/>
                    <a:pt x="8" y="178"/>
                    <a:pt x="7" y="177"/>
                  </a:cubicBezTo>
                  <a:cubicBezTo>
                    <a:pt x="7" y="177"/>
                    <a:pt x="7" y="177"/>
                    <a:pt x="7" y="177"/>
                  </a:cubicBezTo>
                  <a:cubicBezTo>
                    <a:pt x="6" y="177"/>
                    <a:pt x="6" y="177"/>
                    <a:pt x="6" y="177"/>
                  </a:cubicBezTo>
                  <a:cubicBezTo>
                    <a:pt x="6" y="177"/>
                    <a:pt x="6" y="177"/>
                    <a:pt x="6" y="177"/>
                  </a:cubicBezTo>
                  <a:cubicBezTo>
                    <a:pt x="5" y="176"/>
                    <a:pt x="5" y="176"/>
                    <a:pt x="5" y="176"/>
                  </a:cubicBezTo>
                  <a:cubicBezTo>
                    <a:pt x="5" y="176"/>
                    <a:pt x="4" y="176"/>
                    <a:pt x="4" y="176"/>
                  </a:cubicBezTo>
                  <a:cubicBezTo>
                    <a:pt x="4" y="175"/>
                    <a:pt x="4" y="175"/>
                    <a:pt x="3" y="175"/>
                  </a:cubicBezTo>
                  <a:cubicBezTo>
                    <a:pt x="3" y="175"/>
                    <a:pt x="3" y="175"/>
                    <a:pt x="3" y="175"/>
                  </a:cubicBezTo>
                  <a:cubicBezTo>
                    <a:pt x="2" y="174"/>
                    <a:pt x="2" y="174"/>
                    <a:pt x="2" y="174"/>
                  </a:cubicBezTo>
                  <a:cubicBezTo>
                    <a:pt x="2" y="174"/>
                    <a:pt x="2" y="174"/>
                    <a:pt x="1" y="174"/>
                  </a:cubicBezTo>
                  <a:cubicBezTo>
                    <a:pt x="1" y="173"/>
                    <a:pt x="1" y="173"/>
                    <a:pt x="1" y="173"/>
                  </a:cubicBezTo>
                  <a:cubicBezTo>
                    <a:pt x="1" y="173"/>
                    <a:pt x="1" y="173"/>
                    <a:pt x="1" y="173"/>
                  </a:cubicBezTo>
                  <a:cubicBezTo>
                    <a:pt x="1" y="172"/>
                    <a:pt x="1" y="171"/>
                    <a:pt x="1" y="170"/>
                  </a:cubicBezTo>
                  <a:cubicBezTo>
                    <a:pt x="1" y="169"/>
                    <a:pt x="1" y="168"/>
                    <a:pt x="1" y="167"/>
                  </a:cubicBezTo>
                  <a:cubicBezTo>
                    <a:pt x="1" y="163"/>
                    <a:pt x="1" y="160"/>
                    <a:pt x="1" y="157"/>
                  </a:cubicBezTo>
                  <a:cubicBezTo>
                    <a:pt x="1" y="157"/>
                    <a:pt x="1" y="157"/>
                    <a:pt x="1" y="157"/>
                  </a:cubicBezTo>
                  <a:cubicBezTo>
                    <a:pt x="1" y="153"/>
                    <a:pt x="1" y="149"/>
                    <a:pt x="1" y="145"/>
                  </a:cubicBezTo>
                  <a:cubicBezTo>
                    <a:pt x="2" y="143"/>
                    <a:pt x="2" y="139"/>
                    <a:pt x="2" y="136"/>
                  </a:cubicBezTo>
                  <a:cubicBezTo>
                    <a:pt x="2" y="130"/>
                    <a:pt x="2" y="125"/>
                    <a:pt x="2" y="119"/>
                  </a:cubicBezTo>
                  <a:cubicBezTo>
                    <a:pt x="12" y="112"/>
                    <a:pt x="22" y="104"/>
                    <a:pt x="32" y="97"/>
                  </a:cubicBezTo>
                  <a:cubicBezTo>
                    <a:pt x="32" y="95"/>
                    <a:pt x="32" y="92"/>
                    <a:pt x="32" y="90"/>
                  </a:cubicBezTo>
                  <a:cubicBezTo>
                    <a:pt x="33" y="89"/>
                    <a:pt x="32" y="85"/>
                    <a:pt x="32" y="83"/>
                  </a:cubicBezTo>
                  <a:cubicBezTo>
                    <a:pt x="32" y="78"/>
                    <a:pt x="33" y="73"/>
                    <a:pt x="33" y="68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67"/>
                    <a:pt x="34" y="67"/>
                    <a:pt x="34" y="67"/>
                  </a:cubicBezTo>
                  <a:cubicBezTo>
                    <a:pt x="34" y="67"/>
                    <a:pt x="34" y="67"/>
                    <a:pt x="34" y="66"/>
                  </a:cubicBezTo>
                  <a:cubicBezTo>
                    <a:pt x="34" y="66"/>
                    <a:pt x="34" y="66"/>
                    <a:pt x="35" y="66"/>
                  </a:cubicBezTo>
                  <a:cubicBezTo>
                    <a:pt x="35" y="66"/>
                    <a:pt x="35" y="66"/>
                    <a:pt x="35" y="65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5" y="65"/>
                    <a:pt x="35" y="65"/>
                    <a:pt x="35" y="64"/>
                  </a:cubicBezTo>
                  <a:cubicBezTo>
                    <a:pt x="35" y="64"/>
                    <a:pt x="36" y="64"/>
                    <a:pt x="36" y="64"/>
                  </a:cubicBezTo>
                  <a:cubicBezTo>
                    <a:pt x="36" y="64"/>
                    <a:pt x="36" y="64"/>
                    <a:pt x="36" y="63"/>
                  </a:cubicBezTo>
                  <a:cubicBezTo>
                    <a:pt x="36" y="63"/>
                    <a:pt x="36" y="63"/>
                    <a:pt x="37" y="63"/>
                  </a:cubicBezTo>
                  <a:cubicBezTo>
                    <a:pt x="37" y="63"/>
                    <a:pt x="37" y="63"/>
                    <a:pt x="37" y="62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37" y="62"/>
                    <a:pt x="37" y="61"/>
                    <a:pt x="37" y="61"/>
                  </a:cubicBezTo>
                  <a:cubicBezTo>
                    <a:pt x="38" y="61"/>
                    <a:pt x="38" y="61"/>
                    <a:pt x="38" y="61"/>
                  </a:cubicBezTo>
                  <a:cubicBezTo>
                    <a:pt x="38" y="61"/>
                    <a:pt x="38" y="60"/>
                    <a:pt x="38" y="60"/>
                  </a:cubicBezTo>
                  <a:cubicBezTo>
                    <a:pt x="38" y="60"/>
                    <a:pt x="39" y="60"/>
                    <a:pt x="39" y="60"/>
                  </a:cubicBezTo>
                  <a:cubicBezTo>
                    <a:pt x="39" y="60"/>
                    <a:pt x="39" y="59"/>
                    <a:pt x="39" y="59"/>
                  </a:cubicBezTo>
                  <a:cubicBezTo>
                    <a:pt x="39" y="59"/>
                    <a:pt x="39" y="59"/>
                    <a:pt x="39" y="59"/>
                  </a:cubicBezTo>
                  <a:cubicBezTo>
                    <a:pt x="39" y="59"/>
                    <a:pt x="39" y="58"/>
                    <a:pt x="39" y="58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40" y="58"/>
                    <a:pt x="40" y="57"/>
                    <a:pt x="40" y="57"/>
                  </a:cubicBezTo>
                  <a:cubicBezTo>
                    <a:pt x="40" y="57"/>
                    <a:pt x="41" y="57"/>
                    <a:pt x="41" y="57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1" y="56"/>
                    <a:pt x="41" y="55"/>
                    <a:pt x="42" y="55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42" y="54"/>
                    <a:pt x="43" y="54"/>
                    <a:pt x="43" y="54"/>
                  </a:cubicBezTo>
                  <a:cubicBezTo>
                    <a:pt x="43" y="53"/>
                    <a:pt x="43" y="53"/>
                    <a:pt x="43" y="53"/>
                  </a:cubicBezTo>
                  <a:cubicBezTo>
                    <a:pt x="43" y="53"/>
                    <a:pt x="43" y="53"/>
                    <a:pt x="43" y="53"/>
                  </a:cubicBezTo>
                  <a:cubicBezTo>
                    <a:pt x="43" y="53"/>
                    <a:pt x="44" y="52"/>
                    <a:pt x="44" y="52"/>
                  </a:cubicBezTo>
                  <a:cubicBezTo>
                    <a:pt x="44" y="52"/>
                    <a:pt x="44" y="52"/>
                    <a:pt x="44" y="51"/>
                  </a:cubicBezTo>
                  <a:cubicBezTo>
                    <a:pt x="44" y="51"/>
                    <a:pt x="44" y="51"/>
                    <a:pt x="44" y="51"/>
                  </a:cubicBezTo>
                  <a:cubicBezTo>
                    <a:pt x="45" y="51"/>
                    <a:pt x="45" y="51"/>
                    <a:pt x="45" y="50"/>
                  </a:cubicBezTo>
                  <a:cubicBezTo>
                    <a:pt x="45" y="50"/>
                    <a:pt x="45" y="50"/>
                    <a:pt x="45" y="50"/>
                  </a:cubicBezTo>
                  <a:cubicBezTo>
                    <a:pt x="45" y="50"/>
                    <a:pt x="46" y="49"/>
                    <a:pt x="46" y="49"/>
                  </a:cubicBezTo>
                  <a:cubicBezTo>
                    <a:pt x="46" y="49"/>
                    <a:pt x="46" y="49"/>
                    <a:pt x="46" y="49"/>
                  </a:cubicBezTo>
                  <a:cubicBezTo>
                    <a:pt x="46" y="49"/>
                    <a:pt x="46" y="48"/>
                    <a:pt x="46" y="48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7" y="46"/>
                    <a:pt x="48" y="46"/>
                    <a:pt x="48" y="46"/>
                  </a:cubicBezTo>
                  <a:cubicBezTo>
                    <a:pt x="48" y="46"/>
                    <a:pt x="48" y="46"/>
                    <a:pt x="48" y="46"/>
                  </a:cubicBezTo>
                  <a:cubicBezTo>
                    <a:pt x="48" y="45"/>
                    <a:pt x="48" y="45"/>
                    <a:pt x="49" y="45"/>
                  </a:cubicBezTo>
                  <a:cubicBezTo>
                    <a:pt x="49" y="45"/>
                    <a:pt x="49" y="45"/>
                    <a:pt x="49" y="44"/>
                  </a:cubicBezTo>
                  <a:cubicBezTo>
                    <a:pt x="49" y="44"/>
                    <a:pt x="49" y="44"/>
                    <a:pt x="49" y="44"/>
                  </a:cubicBezTo>
                  <a:cubicBezTo>
                    <a:pt x="49" y="44"/>
                    <a:pt x="49" y="44"/>
                    <a:pt x="49" y="43"/>
                  </a:cubicBezTo>
                  <a:cubicBezTo>
                    <a:pt x="49" y="43"/>
                    <a:pt x="50" y="43"/>
                    <a:pt x="50" y="43"/>
                  </a:cubicBezTo>
                  <a:cubicBezTo>
                    <a:pt x="50" y="43"/>
                    <a:pt x="50" y="43"/>
                    <a:pt x="50" y="42"/>
                  </a:cubicBezTo>
                  <a:cubicBezTo>
                    <a:pt x="50" y="42"/>
                    <a:pt x="50" y="42"/>
                    <a:pt x="51" y="42"/>
                  </a:cubicBezTo>
                  <a:cubicBezTo>
                    <a:pt x="51" y="42"/>
                    <a:pt x="51" y="42"/>
                    <a:pt x="51" y="41"/>
                  </a:cubicBezTo>
                  <a:cubicBezTo>
                    <a:pt x="51" y="41"/>
                    <a:pt x="51" y="41"/>
                    <a:pt x="51" y="41"/>
                  </a:cubicBezTo>
                  <a:cubicBezTo>
                    <a:pt x="51" y="41"/>
                    <a:pt x="51" y="40"/>
                    <a:pt x="51" y="40"/>
                  </a:cubicBezTo>
                  <a:cubicBezTo>
                    <a:pt x="52" y="40"/>
                    <a:pt x="52" y="40"/>
                    <a:pt x="52" y="40"/>
                  </a:cubicBezTo>
                  <a:cubicBezTo>
                    <a:pt x="52" y="40"/>
                    <a:pt x="52" y="39"/>
                    <a:pt x="52" y="39"/>
                  </a:cubicBezTo>
                  <a:cubicBezTo>
                    <a:pt x="52" y="39"/>
                    <a:pt x="53" y="39"/>
                    <a:pt x="53" y="39"/>
                  </a:cubicBezTo>
                  <a:cubicBezTo>
                    <a:pt x="53" y="39"/>
                    <a:pt x="53" y="38"/>
                    <a:pt x="53" y="38"/>
                  </a:cubicBezTo>
                  <a:cubicBezTo>
                    <a:pt x="53" y="38"/>
                    <a:pt x="53" y="38"/>
                    <a:pt x="53" y="38"/>
                  </a:cubicBezTo>
                  <a:cubicBezTo>
                    <a:pt x="53" y="38"/>
                    <a:pt x="53" y="37"/>
                    <a:pt x="53" y="37"/>
                  </a:cubicBezTo>
                  <a:cubicBezTo>
                    <a:pt x="54" y="37"/>
                    <a:pt x="54" y="37"/>
                    <a:pt x="54" y="37"/>
                  </a:cubicBezTo>
                  <a:cubicBezTo>
                    <a:pt x="55" y="36"/>
                    <a:pt x="55" y="35"/>
                    <a:pt x="56" y="34"/>
                  </a:cubicBezTo>
                  <a:cubicBezTo>
                    <a:pt x="58" y="34"/>
                    <a:pt x="59" y="34"/>
                    <a:pt x="61" y="34"/>
                  </a:cubicBezTo>
                  <a:cubicBezTo>
                    <a:pt x="62" y="34"/>
                    <a:pt x="64" y="34"/>
                    <a:pt x="66" y="34"/>
                  </a:cubicBezTo>
                  <a:cubicBezTo>
                    <a:pt x="69" y="34"/>
                    <a:pt x="72" y="34"/>
                    <a:pt x="76" y="34"/>
                  </a:cubicBezTo>
                  <a:cubicBezTo>
                    <a:pt x="78" y="35"/>
                    <a:pt x="81" y="34"/>
                    <a:pt x="83" y="35"/>
                  </a:cubicBezTo>
                  <a:cubicBezTo>
                    <a:pt x="85" y="35"/>
                    <a:pt x="88" y="35"/>
                    <a:pt x="90" y="35"/>
                  </a:cubicBezTo>
                  <a:cubicBezTo>
                    <a:pt x="91" y="35"/>
                    <a:pt x="91" y="36"/>
                    <a:pt x="92" y="35"/>
                  </a:cubicBezTo>
                  <a:cubicBezTo>
                    <a:pt x="92" y="35"/>
                    <a:pt x="92" y="35"/>
                    <a:pt x="92" y="35"/>
                  </a:cubicBezTo>
                  <a:cubicBezTo>
                    <a:pt x="93" y="35"/>
                    <a:pt x="93" y="35"/>
                    <a:pt x="93" y="35"/>
                  </a:cubicBezTo>
                  <a:cubicBezTo>
                    <a:pt x="93" y="35"/>
                    <a:pt x="93" y="35"/>
                    <a:pt x="93" y="35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4" y="35"/>
                    <a:pt x="94" y="34"/>
                    <a:pt x="94" y="34"/>
                  </a:cubicBezTo>
                  <a:cubicBezTo>
                    <a:pt x="95" y="34"/>
                    <a:pt x="95" y="34"/>
                    <a:pt x="95" y="34"/>
                  </a:cubicBezTo>
                  <a:cubicBezTo>
                    <a:pt x="95" y="34"/>
                    <a:pt x="95" y="34"/>
                    <a:pt x="95" y="34"/>
                  </a:cubicBezTo>
                  <a:cubicBezTo>
                    <a:pt x="96" y="34"/>
                    <a:pt x="96" y="34"/>
                    <a:pt x="97" y="34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7" y="34"/>
                    <a:pt x="98" y="34"/>
                    <a:pt x="98" y="34"/>
                  </a:cubicBezTo>
                  <a:cubicBezTo>
                    <a:pt x="98" y="33"/>
                    <a:pt x="98" y="33"/>
                    <a:pt x="98" y="33"/>
                  </a:cubicBezTo>
                  <a:cubicBezTo>
                    <a:pt x="98" y="33"/>
                    <a:pt x="99" y="33"/>
                    <a:pt x="99" y="33"/>
                  </a:cubicBezTo>
                  <a:cubicBezTo>
                    <a:pt x="99" y="33"/>
                    <a:pt x="99" y="33"/>
                    <a:pt x="99" y="33"/>
                  </a:cubicBezTo>
                  <a:cubicBezTo>
                    <a:pt x="100" y="33"/>
                    <a:pt x="102" y="32"/>
                    <a:pt x="103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104" y="32"/>
                    <a:pt x="104" y="32"/>
                    <a:pt x="105" y="32"/>
                  </a:cubicBezTo>
                  <a:cubicBezTo>
                    <a:pt x="105" y="31"/>
                    <a:pt x="105" y="31"/>
                    <a:pt x="105" y="31"/>
                  </a:cubicBezTo>
                  <a:cubicBezTo>
                    <a:pt x="105" y="31"/>
                    <a:pt x="106" y="31"/>
                    <a:pt x="106" y="31"/>
                  </a:cubicBezTo>
                  <a:cubicBezTo>
                    <a:pt x="106" y="31"/>
                    <a:pt x="106" y="31"/>
                    <a:pt x="106" y="31"/>
                  </a:cubicBezTo>
                  <a:cubicBezTo>
                    <a:pt x="107" y="31"/>
                    <a:pt x="108" y="30"/>
                    <a:pt x="109" y="30"/>
                  </a:cubicBezTo>
                  <a:cubicBezTo>
                    <a:pt x="109" y="30"/>
                    <a:pt x="109" y="30"/>
                    <a:pt x="109" y="30"/>
                  </a:cubicBezTo>
                  <a:cubicBezTo>
                    <a:pt x="110" y="30"/>
                    <a:pt x="111" y="30"/>
                    <a:pt x="112" y="29"/>
                  </a:cubicBezTo>
                  <a:cubicBezTo>
                    <a:pt x="112" y="29"/>
                    <a:pt x="112" y="29"/>
                    <a:pt x="112" y="29"/>
                  </a:cubicBezTo>
                  <a:cubicBezTo>
                    <a:pt x="112" y="29"/>
                    <a:pt x="113" y="29"/>
                    <a:pt x="113" y="29"/>
                  </a:cubicBezTo>
                  <a:cubicBezTo>
                    <a:pt x="121" y="26"/>
                    <a:pt x="129" y="25"/>
                    <a:pt x="136" y="22"/>
                  </a:cubicBezTo>
                  <a:cubicBezTo>
                    <a:pt x="137" y="22"/>
                    <a:pt x="138" y="22"/>
                    <a:pt x="139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0" y="22"/>
                    <a:pt x="140" y="22"/>
                    <a:pt x="141" y="22"/>
                  </a:cubicBezTo>
                  <a:cubicBezTo>
                    <a:pt x="141" y="22"/>
                    <a:pt x="141" y="21"/>
                    <a:pt x="141" y="21"/>
                  </a:cubicBezTo>
                  <a:cubicBezTo>
                    <a:pt x="141" y="21"/>
                    <a:pt x="141" y="21"/>
                    <a:pt x="142" y="21"/>
                  </a:cubicBezTo>
                  <a:cubicBezTo>
                    <a:pt x="142" y="21"/>
                    <a:pt x="142" y="21"/>
                    <a:pt x="142" y="21"/>
                  </a:cubicBezTo>
                  <a:cubicBezTo>
                    <a:pt x="143" y="21"/>
                    <a:pt x="144" y="21"/>
                    <a:pt x="145" y="21"/>
                  </a:cubicBezTo>
                  <a:cubicBezTo>
                    <a:pt x="145" y="21"/>
                    <a:pt x="145" y="20"/>
                    <a:pt x="145" y="20"/>
                  </a:cubicBezTo>
                  <a:cubicBezTo>
                    <a:pt x="146" y="20"/>
                    <a:pt x="146" y="20"/>
                    <a:pt x="146" y="20"/>
                  </a:cubicBezTo>
                  <a:cubicBezTo>
                    <a:pt x="146" y="20"/>
                    <a:pt x="146" y="20"/>
                    <a:pt x="146" y="20"/>
                  </a:cubicBezTo>
                  <a:cubicBezTo>
                    <a:pt x="152" y="19"/>
                    <a:pt x="157" y="18"/>
                    <a:pt x="163" y="17"/>
                  </a:cubicBezTo>
                  <a:cubicBezTo>
                    <a:pt x="164" y="17"/>
                    <a:pt x="168" y="17"/>
                    <a:pt x="169" y="18"/>
                  </a:cubicBezTo>
                  <a:cubicBezTo>
                    <a:pt x="170" y="18"/>
                    <a:pt x="171" y="18"/>
                    <a:pt x="172" y="18"/>
                  </a:cubicBezTo>
                  <a:cubicBezTo>
                    <a:pt x="172" y="18"/>
                    <a:pt x="172" y="18"/>
                    <a:pt x="172" y="18"/>
                  </a:cubicBezTo>
                  <a:cubicBezTo>
                    <a:pt x="172" y="18"/>
                    <a:pt x="173" y="18"/>
                    <a:pt x="174" y="18"/>
                  </a:cubicBezTo>
                  <a:cubicBezTo>
                    <a:pt x="174" y="18"/>
                    <a:pt x="174" y="18"/>
                    <a:pt x="174" y="18"/>
                  </a:cubicBezTo>
                  <a:cubicBezTo>
                    <a:pt x="175" y="18"/>
                    <a:pt x="175" y="18"/>
                    <a:pt x="176" y="18"/>
                  </a:cubicBezTo>
                  <a:cubicBezTo>
                    <a:pt x="176" y="18"/>
                    <a:pt x="176" y="18"/>
                    <a:pt x="176" y="19"/>
                  </a:cubicBezTo>
                  <a:cubicBezTo>
                    <a:pt x="177" y="19"/>
                    <a:pt x="178" y="19"/>
                    <a:pt x="179" y="19"/>
                  </a:cubicBezTo>
                  <a:cubicBezTo>
                    <a:pt x="179" y="19"/>
                    <a:pt x="179" y="19"/>
                    <a:pt x="179" y="19"/>
                  </a:cubicBezTo>
                  <a:cubicBezTo>
                    <a:pt x="179" y="19"/>
                    <a:pt x="180" y="19"/>
                    <a:pt x="181" y="19"/>
                  </a:cubicBezTo>
                  <a:cubicBezTo>
                    <a:pt x="181" y="19"/>
                    <a:pt x="181" y="19"/>
                    <a:pt x="181" y="19"/>
                  </a:cubicBezTo>
                  <a:cubicBezTo>
                    <a:pt x="182" y="19"/>
                    <a:pt x="184" y="19"/>
                    <a:pt x="186" y="19"/>
                  </a:cubicBezTo>
                  <a:cubicBezTo>
                    <a:pt x="190" y="19"/>
                    <a:pt x="194" y="19"/>
                    <a:pt x="198" y="19"/>
                  </a:cubicBezTo>
                  <a:cubicBezTo>
                    <a:pt x="198" y="18"/>
                    <a:pt x="198" y="18"/>
                    <a:pt x="198" y="18"/>
                  </a:cubicBezTo>
                  <a:cubicBezTo>
                    <a:pt x="209" y="18"/>
                    <a:pt x="220" y="18"/>
                    <a:pt x="231" y="18"/>
                  </a:cubicBezTo>
                  <a:cubicBezTo>
                    <a:pt x="231" y="17"/>
                    <a:pt x="231" y="17"/>
                    <a:pt x="231" y="17"/>
                  </a:cubicBezTo>
                  <a:cubicBezTo>
                    <a:pt x="231" y="17"/>
                    <a:pt x="232" y="17"/>
                    <a:pt x="233" y="17"/>
                  </a:cubicBezTo>
                  <a:cubicBezTo>
                    <a:pt x="233" y="17"/>
                    <a:pt x="233" y="17"/>
                    <a:pt x="233" y="17"/>
                  </a:cubicBezTo>
                  <a:cubicBezTo>
                    <a:pt x="234" y="17"/>
                    <a:pt x="234" y="17"/>
                    <a:pt x="235" y="16"/>
                  </a:cubicBezTo>
                  <a:cubicBezTo>
                    <a:pt x="235" y="16"/>
                    <a:pt x="235" y="16"/>
                    <a:pt x="235" y="16"/>
                  </a:cubicBezTo>
                  <a:cubicBezTo>
                    <a:pt x="235" y="16"/>
                    <a:pt x="235" y="16"/>
                    <a:pt x="236" y="16"/>
                  </a:cubicBezTo>
                  <a:cubicBezTo>
                    <a:pt x="236" y="16"/>
                    <a:pt x="236" y="16"/>
                    <a:pt x="236" y="16"/>
                  </a:cubicBezTo>
                  <a:cubicBezTo>
                    <a:pt x="236" y="16"/>
                    <a:pt x="237" y="16"/>
                    <a:pt x="238" y="15"/>
                  </a:cubicBezTo>
                  <a:cubicBezTo>
                    <a:pt x="238" y="15"/>
                    <a:pt x="238" y="15"/>
                    <a:pt x="238" y="15"/>
                  </a:cubicBezTo>
                  <a:cubicBezTo>
                    <a:pt x="238" y="15"/>
                    <a:pt x="239" y="15"/>
                    <a:pt x="240" y="15"/>
                  </a:cubicBezTo>
                  <a:cubicBezTo>
                    <a:pt x="240" y="15"/>
                    <a:pt x="240" y="14"/>
                    <a:pt x="240" y="14"/>
                  </a:cubicBezTo>
                  <a:cubicBezTo>
                    <a:pt x="240" y="14"/>
                    <a:pt x="240" y="14"/>
                    <a:pt x="241" y="14"/>
                  </a:cubicBezTo>
                  <a:cubicBezTo>
                    <a:pt x="241" y="14"/>
                    <a:pt x="241" y="14"/>
                    <a:pt x="241" y="14"/>
                  </a:cubicBezTo>
                  <a:cubicBezTo>
                    <a:pt x="242" y="14"/>
                    <a:pt x="243" y="14"/>
                    <a:pt x="244" y="13"/>
                  </a:cubicBezTo>
                  <a:cubicBezTo>
                    <a:pt x="244" y="13"/>
                    <a:pt x="244" y="13"/>
                    <a:pt x="244" y="13"/>
                  </a:cubicBezTo>
                  <a:cubicBezTo>
                    <a:pt x="244" y="13"/>
                    <a:pt x="244" y="13"/>
                    <a:pt x="244" y="13"/>
                  </a:cubicBezTo>
                  <a:cubicBezTo>
                    <a:pt x="244" y="13"/>
                    <a:pt x="244" y="13"/>
                    <a:pt x="244" y="13"/>
                  </a:cubicBezTo>
                  <a:cubicBezTo>
                    <a:pt x="245" y="13"/>
                    <a:pt x="246" y="12"/>
                    <a:pt x="246" y="12"/>
                  </a:cubicBezTo>
                  <a:cubicBezTo>
                    <a:pt x="246" y="12"/>
                    <a:pt x="246" y="12"/>
                    <a:pt x="246" y="12"/>
                  </a:cubicBezTo>
                  <a:cubicBezTo>
                    <a:pt x="247" y="12"/>
                    <a:pt x="247" y="12"/>
                    <a:pt x="248" y="12"/>
                  </a:cubicBezTo>
                  <a:cubicBezTo>
                    <a:pt x="248" y="12"/>
                    <a:pt x="248" y="12"/>
                    <a:pt x="248" y="12"/>
                  </a:cubicBezTo>
                  <a:cubicBezTo>
                    <a:pt x="248" y="12"/>
                    <a:pt x="248" y="12"/>
                    <a:pt x="248" y="12"/>
                  </a:cubicBezTo>
                  <a:cubicBezTo>
                    <a:pt x="248" y="11"/>
                    <a:pt x="248" y="11"/>
                    <a:pt x="248" y="11"/>
                  </a:cubicBezTo>
                  <a:cubicBezTo>
                    <a:pt x="249" y="11"/>
                    <a:pt x="250" y="11"/>
                    <a:pt x="250" y="11"/>
                  </a:cubicBezTo>
                  <a:cubicBezTo>
                    <a:pt x="250" y="11"/>
                    <a:pt x="250" y="11"/>
                    <a:pt x="250" y="11"/>
                  </a:cubicBezTo>
                  <a:cubicBezTo>
                    <a:pt x="251" y="11"/>
                    <a:pt x="251" y="11"/>
                    <a:pt x="251" y="11"/>
                  </a:cubicBezTo>
                  <a:cubicBezTo>
                    <a:pt x="251" y="10"/>
                    <a:pt x="251" y="10"/>
                    <a:pt x="251" y="10"/>
                  </a:cubicBezTo>
                  <a:cubicBezTo>
                    <a:pt x="252" y="10"/>
                    <a:pt x="252" y="10"/>
                    <a:pt x="252" y="10"/>
                  </a:cubicBezTo>
                  <a:cubicBezTo>
                    <a:pt x="252" y="10"/>
                    <a:pt x="252" y="10"/>
                    <a:pt x="252" y="10"/>
                  </a:cubicBezTo>
                  <a:cubicBezTo>
                    <a:pt x="253" y="10"/>
                    <a:pt x="253" y="10"/>
                    <a:pt x="254" y="9"/>
                  </a:cubicBezTo>
                  <a:cubicBezTo>
                    <a:pt x="254" y="9"/>
                    <a:pt x="254" y="9"/>
                    <a:pt x="254" y="9"/>
                  </a:cubicBezTo>
                  <a:cubicBezTo>
                    <a:pt x="255" y="9"/>
                    <a:pt x="256" y="9"/>
                    <a:pt x="256" y="9"/>
                  </a:cubicBezTo>
                  <a:cubicBezTo>
                    <a:pt x="256" y="9"/>
                    <a:pt x="256" y="9"/>
                    <a:pt x="256" y="8"/>
                  </a:cubicBezTo>
                  <a:cubicBezTo>
                    <a:pt x="257" y="8"/>
                    <a:pt x="257" y="8"/>
                    <a:pt x="257" y="8"/>
                  </a:cubicBezTo>
                  <a:cubicBezTo>
                    <a:pt x="257" y="8"/>
                    <a:pt x="257" y="8"/>
                    <a:pt x="257" y="8"/>
                  </a:cubicBezTo>
                  <a:cubicBezTo>
                    <a:pt x="257" y="8"/>
                    <a:pt x="258" y="8"/>
                    <a:pt x="258" y="8"/>
                  </a:cubicBezTo>
                  <a:cubicBezTo>
                    <a:pt x="258" y="8"/>
                    <a:pt x="258" y="8"/>
                    <a:pt x="258" y="8"/>
                  </a:cubicBezTo>
                  <a:cubicBezTo>
                    <a:pt x="259" y="8"/>
                    <a:pt x="259" y="8"/>
                    <a:pt x="260" y="7"/>
                  </a:cubicBezTo>
                  <a:cubicBezTo>
                    <a:pt x="260" y="7"/>
                    <a:pt x="260" y="7"/>
                    <a:pt x="260" y="7"/>
                  </a:cubicBezTo>
                  <a:cubicBezTo>
                    <a:pt x="260" y="7"/>
                    <a:pt x="261" y="7"/>
                    <a:pt x="261" y="7"/>
                  </a:cubicBezTo>
                  <a:cubicBezTo>
                    <a:pt x="261" y="7"/>
                    <a:pt x="261" y="7"/>
                    <a:pt x="261" y="7"/>
                  </a:cubicBezTo>
                  <a:cubicBezTo>
                    <a:pt x="261" y="7"/>
                    <a:pt x="262" y="7"/>
                    <a:pt x="262" y="7"/>
                  </a:cubicBezTo>
                  <a:cubicBezTo>
                    <a:pt x="262" y="7"/>
                    <a:pt x="262" y="6"/>
                    <a:pt x="262" y="6"/>
                  </a:cubicBezTo>
                  <a:cubicBezTo>
                    <a:pt x="263" y="6"/>
                    <a:pt x="263" y="6"/>
                    <a:pt x="264" y="6"/>
                  </a:cubicBezTo>
                  <a:cubicBezTo>
                    <a:pt x="264" y="6"/>
                    <a:pt x="264" y="5"/>
                    <a:pt x="264" y="5"/>
                  </a:cubicBezTo>
                  <a:cubicBezTo>
                    <a:pt x="264" y="5"/>
                    <a:pt x="264" y="5"/>
                    <a:pt x="265" y="5"/>
                  </a:cubicBezTo>
                  <a:cubicBezTo>
                    <a:pt x="265" y="5"/>
                    <a:pt x="265" y="5"/>
                    <a:pt x="265" y="5"/>
                  </a:cubicBezTo>
                  <a:cubicBezTo>
                    <a:pt x="265" y="5"/>
                    <a:pt x="266" y="5"/>
                    <a:pt x="266" y="5"/>
                  </a:cubicBezTo>
                  <a:cubicBezTo>
                    <a:pt x="266" y="4"/>
                    <a:pt x="266" y="4"/>
                    <a:pt x="266" y="4"/>
                  </a:cubicBezTo>
                  <a:cubicBezTo>
                    <a:pt x="267" y="4"/>
                    <a:pt x="267" y="4"/>
                    <a:pt x="267" y="4"/>
                  </a:cubicBezTo>
                  <a:cubicBezTo>
                    <a:pt x="267" y="4"/>
                    <a:pt x="267" y="4"/>
                    <a:pt x="267" y="4"/>
                  </a:cubicBezTo>
                  <a:cubicBezTo>
                    <a:pt x="267" y="4"/>
                    <a:pt x="268" y="4"/>
                    <a:pt x="268" y="4"/>
                  </a:cubicBezTo>
                  <a:cubicBezTo>
                    <a:pt x="268" y="3"/>
                    <a:pt x="268" y="3"/>
                    <a:pt x="268" y="3"/>
                  </a:cubicBezTo>
                  <a:cubicBezTo>
                    <a:pt x="268" y="3"/>
                    <a:pt x="268" y="3"/>
                    <a:pt x="269" y="3"/>
                  </a:cubicBezTo>
                  <a:cubicBezTo>
                    <a:pt x="269" y="3"/>
                    <a:pt x="269" y="3"/>
                    <a:pt x="269" y="3"/>
                  </a:cubicBezTo>
                  <a:cubicBezTo>
                    <a:pt x="269" y="3"/>
                    <a:pt x="269" y="3"/>
                    <a:pt x="269" y="3"/>
                  </a:cubicBezTo>
                  <a:cubicBezTo>
                    <a:pt x="269" y="3"/>
                    <a:pt x="269" y="3"/>
                    <a:pt x="269" y="2"/>
                  </a:cubicBezTo>
                  <a:cubicBezTo>
                    <a:pt x="270" y="2"/>
                    <a:pt x="270" y="2"/>
                    <a:pt x="271" y="2"/>
                  </a:cubicBezTo>
                  <a:cubicBezTo>
                    <a:pt x="271" y="2"/>
                    <a:pt x="271" y="2"/>
                    <a:pt x="271" y="1"/>
                  </a:cubicBezTo>
                  <a:cubicBezTo>
                    <a:pt x="271" y="1"/>
                    <a:pt x="271" y="1"/>
                    <a:pt x="272" y="1"/>
                  </a:cubicBezTo>
                  <a:cubicBezTo>
                    <a:pt x="273" y="1"/>
                    <a:pt x="273" y="0"/>
                    <a:pt x="275" y="0"/>
                  </a:cubicBezTo>
                  <a:cubicBezTo>
                    <a:pt x="275" y="3"/>
                    <a:pt x="276" y="7"/>
                    <a:pt x="276" y="9"/>
                  </a:cubicBezTo>
                  <a:cubicBezTo>
                    <a:pt x="276" y="10"/>
                    <a:pt x="276" y="11"/>
                    <a:pt x="276" y="12"/>
                  </a:cubicBezTo>
                  <a:cubicBezTo>
                    <a:pt x="276" y="12"/>
                    <a:pt x="276" y="12"/>
                    <a:pt x="277" y="12"/>
                  </a:cubicBezTo>
                  <a:cubicBezTo>
                    <a:pt x="277" y="12"/>
                    <a:pt x="277" y="13"/>
                    <a:pt x="277" y="14"/>
                  </a:cubicBezTo>
                  <a:cubicBezTo>
                    <a:pt x="277" y="14"/>
                    <a:pt x="277" y="14"/>
                    <a:pt x="277" y="14"/>
                  </a:cubicBezTo>
                  <a:cubicBezTo>
                    <a:pt x="277" y="15"/>
                    <a:pt x="277" y="16"/>
                    <a:pt x="277" y="16"/>
                  </a:cubicBezTo>
                  <a:cubicBezTo>
                    <a:pt x="277" y="16"/>
                    <a:pt x="277" y="16"/>
                    <a:pt x="277" y="16"/>
                  </a:cubicBezTo>
                  <a:cubicBezTo>
                    <a:pt x="278" y="24"/>
                    <a:pt x="279" y="32"/>
                    <a:pt x="280" y="39"/>
                  </a:cubicBezTo>
                  <a:cubicBezTo>
                    <a:pt x="280" y="39"/>
                    <a:pt x="280" y="39"/>
                    <a:pt x="280" y="39"/>
                  </a:cubicBezTo>
                  <a:cubicBezTo>
                    <a:pt x="280" y="40"/>
                    <a:pt x="280" y="41"/>
                    <a:pt x="280" y="42"/>
                  </a:cubicBezTo>
                  <a:cubicBezTo>
                    <a:pt x="281" y="42"/>
                    <a:pt x="281" y="42"/>
                    <a:pt x="281" y="42"/>
                  </a:cubicBezTo>
                  <a:cubicBezTo>
                    <a:pt x="281" y="43"/>
                    <a:pt x="281" y="43"/>
                    <a:pt x="281" y="44"/>
                  </a:cubicBezTo>
                  <a:cubicBezTo>
                    <a:pt x="281" y="44"/>
                    <a:pt x="281" y="44"/>
                    <a:pt x="281" y="44"/>
                  </a:cubicBezTo>
                  <a:cubicBezTo>
                    <a:pt x="281" y="44"/>
                    <a:pt x="281" y="45"/>
                    <a:pt x="281" y="45"/>
                  </a:cubicBezTo>
                  <a:cubicBezTo>
                    <a:pt x="282" y="45"/>
                    <a:pt x="282" y="45"/>
                    <a:pt x="282" y="45"/>
                  </a:cubicBezTo>
                  <a:cubicBezTo>
                    <a:pt x="282" y="45"/>
                    <a:pt x="282" y="46"/>
                    <a:pt x="282" y="46"/>
                  </a:cubicBezTo>
                  <a:cubicBezTo>
                    <a:pt x="282" y="46"/>
                    <a:pt x="282" y="46"/>
                    <a:pt x="282" y="46"/>
                  </a:cubicBezTo>
                  <a:cubicBezTo>
                    <a:pt x="282" y="46"/>
                    <a:pt x="282" y="46"/>
                    <a:pt x="282" y="47"/>
                  </a:cubicBezTo>
                  <a:cubicBezTo>
                    <a:pt x="282" y="47"/>
                    <a:pt x="282" y="47"/>
                    <a:pt x="283" y="47"/>
                  </a:cubicBezTo>
                  <a:cubicBezTo>
                    <a:pt x="283" y="47"/>
                    <a:pt x="283" y="47"/>
                    <a:pt x="283" y="48"/>
                  </a:cubicBezTo>
                  <a:cubicBezTo>
                    <a:pt x="283" y="48"/>
                    <a:pt x="283" y="48"/>
                    <a:pt x="283" y="48"/>
                  </a:cubicBezTo>
                  <a:cubicBezTo>
                    <a:pt x="283" y="48"/>
                    <a:pt x="283" y="49"/>
                    <a:pt x="284" y="50"/>
                  </a:cubicBezTo>
                  <a:cubicBezTo>
                    <a:pt x="284" y="50"/>
                    <a:pt x="284" y="50"/>
                    <a:pt x="284" y="50"/>
                  </a:cubicBezTo>
                  <a:cubicBezTo>
                    <a:pt x="284" y="50"/>
                    <a:pt x="284" y="50"/>
                    <a:pt x="284" y="50"/>
                  </a:cubicBezTo>
                  <a:cubicBezTo>
                    <a:pt x="284" y="50"/>
                    <a:pt x="284" y="50"/>
                    <a:pt x="284" y="50"/>
                  </a:cubicBezTo>
                  <a:cubicBezTo>
                    <a:pt x="284" y="51"/>
                    <a:pt x="284" y="51"/>
                    <a:pt x="284" y="51"/>
                  </a:cubicBezTo>
                  <a:cubicBezTo>
                    <a:pt x="284" y="51"/>
                    <a:pt x="284" y="51"/>
                    <a:pt x="285" y="51"/>
                  </a:cubicBezTo>
                  <a:cubicBezTo>
                    <a:pt x="285" y="52"/>
                    <a:pt x="285" y="53"/>
                    <a:pt x="285" y="53"/>
                  </a:cubicBezTo>
                  <a:cubicBezTo>
                    <a:pt x="286" y="53"/>
                    <a:pt x="286" y="53"/>
                    <a:pt x="286" y="54"/>
                  </a:cubicBezTo>
                  <a:cubicBezTo>
                    <a:pt x="286" y="54"/>
                    <a:pt x="286" y="54"/>
                    <a:pt x="286" y="55"/>
                  </a:cubicBezTo>
                  <a:cubicBezTo>
                    <a:pt x="287" y="55"/>
                    <a:pt x="287" y="55"/>
                    <a:pt x="287" y="55"/>
                  </a:cubicBezTo>
                  <a:cubicBezTo>
                    <a:pt x="287" y="56"/>
                    <a:pt x="287" y="56"/>
                    <a:pt x="287" y="57"/>
                  </a:cubicBezTo>
                  <a:cubicBezTo>
                    <a:pt x="288" y="57"/>
                    <a:pt x="288" y="57"/>
                    <a:pt x="288" y="57"/>
                  </a:cubicBezTo>
                  <a:cubicBezTo>
                    <a:pt x="289" y="59"/>
                    <a:pt x="290" y="61"/>
                    <a:pt x="291" y="62"/>
                  </a:cubicBezTo>
                  <a:cubicBezTo>
                    <a:pt x="291" y="62"/>
                    <a:pt x="291" y="62"/>
                    <a:pt x="291" y="62"/>
                  </a:cubicBezTo>
                  <a:cubicBezTo>
                    <a:pt x="291" y="62"/>
                    <a:pt x="291" y="62"/>
                    <a:pt x="291" y="62"/>
                  </a:cubicBezTo>
                  <a:cubicBezTo>
                    <a:pt x="291" y="63"/>
                    <a:pt x="290" y="63"/>
                    <a:pt x="290" y="64"/>
                  </a:cubicBezTo>
                  <a:cubicBezTo>
                    <a:pt x="290" y="64"/>
                    <a:pt x="289" y="64"/>
                    <a:pt x="289" y="64"/>
                  </a:cubicBezTo>
                  <a:cubicBezTo>
                    <a:pt x="289" y="64"/>
                    <a:pt x="289" y="65"/>
                    <a:pt x="289" y="65"/>
                  </a:cubicBezTo>
                  <a:cubicBezTo>
                    <a:pt x="289" y="65"/>
                    <a:pt x="288" y="65"/>
                    <a:pt x="288" y="65"/>
                  </a:cubicBezTo>
                  <a:cubicBezTo>
                    <a:pt x="288" y="66"/>
                    <a:pt x="288" y="66"/>
                    <a:pt x="288" y="66"/>
                  </a:cubicBezTo>
                  <a:cubicBezTo>
                    <a:pt x="288" y="66"/>
                    <a:pt x="287" y="67"/>
                    <a:pt x="287" y="67"/>
                  </a:cubicBezTo>
                  <a:cubicBezTo>
                    <a:pt x="287" y="67"/>
                    <a:pt x="287" y="67"/>
                    <a:pt x="287" y="68"/>
                  </a:cubicBezTo>
                  <a:cubicBezTo>
                    <a:pt x="287" y="68"/>
                    <a:pt x="287" y="68"/>
                    <a:pt x="286" y="68"/>
                  </a:cubicBezTo>
                  <a:cubicBezTo>
                    <a:pt x="286" y="68"/>
                    <a:pt x="286" y="69"/>
                    <a:pt x="286" y="69"/>
                  </a:cubicBezTo>
                  <a:cubicBezTo>
                    <a:pt x="286" y="69"/>
                    <a:pt x="286" y="69"/>
                    <a:pt x="286" y="69"/>
                  </a:cubicBezTo>
                  <a:cubicBezTo>
                    <a:pt x="286" y="69"/>
                    <a:pt x="286" y="69"/>
                    <a:pt x="286" y="70"/>
                  </a:cubicBezTo>
                  <a:cubicBezTo>
                    <a:pt x="285" y="70"/>
                    <a:pt x="285" y="70"/>
                    <a:pt x="285" y="70"/>
                  </a:cubicBezTo>
                  <a:cubicBezTo>
                    <a:pt x="285" y="70"/>
                    <a:pt x="285" y="70"/>
                    <a:pt x="285" y="71"/>
                  </a:cubicBezTo>
                  <a:cubicBezTo>
                    <a:pt x="285" y="71"/>
                    <a:pt x="284" y="71"/>
                    <a:pt x="284" y="71"/>
                  </a:cubicBezTo>
                  <a:cubicBezTo>
                    <a:pt x="284" y="71"/>
                    <a:pt x="284" y="72"/>
                    <a:pt x="284" y="72"/>
                  </a:cubicBezTo>
                  <a:cubicBezTo>
                    <a:pt x="284" y="72"/>
                    <a:pt x="284" y="72"/>
                    <a:pt x="284" y="72"/>
                  </a:cubicBezTo>
                  <a:cubicBezTo>
                    <a:pt x="283" y="73"/>
                    <a:pt x="283" y="73"/>
                    <a:pt x="283" y="73"/>
                  </a:cubicBezTo>
                  <a:cubicBezTo>
                    <a:pt x="283" y="74"/>
                    <a:pt x="283" y="74"/>
                    <a:pt x="283" y="74"/>
                  </a:cubicBezTo>
                  <a:cubicBezTo>
                    <a:pt x="282" y="75"/>
                    <a:pt x="282" y="75"/>
                    <a:pt x="282" y="76"/>
                  </a:cubicBezTo>
                  <a:cubicBezTo>
                    <a:pt x="282" y="76"/>
                    <a:pt x="281" y="76"/>
                    <a:pt x="281" y="76"/>
                  </a:cubicBezTo>
                  <a:cubicBezTo>
                    <a:pt x="281" y="77"/>
                    <a:pt x="281" y="77"/>
                    <a:pt x="281" y="78"/>
                  </a:cubicBezTo>
                  <a:cubicBezTo>
                    <a:pt x="281" y="78"/>
                    <a:pt x="281" y="78"/>
                    <a:pt x="280" y="78"/>
                  </a:cubicBezTo>
                  <a:cubicBezTo>
                    <a:pt x="280" y="78"/>
                    <a:pt x="280" y="78"/>
                    <a:pt x="280" y="78"/>
                  </a:cubicBezTo>
                  <a:cubicBezTo>
                    <a:pt x="280" y="78"/>
                    <a:pt x="280" y="78"/>
                    <a:pt x="280" y="78"/>
                  </a:cubicBezTo>
                  <a:cubicBezTo>
                    <a:pt x="280" y="79"/>
                    <a:pt x="280" y="80"/>
                    <a:pt x="279" y="80"/>
                  </a:cubicBezTo>
                  <a:cubicBezTo>
                    <a:pt x="279" y="80"/>
                    <a:pt x="279" y="80"/>
                    <a:pt x="279" y="80"/>
                  </a:cubicBezTo>
                  <a:cubicBezTo>
                    <a:pt x="279" y="81"/>
                    <a:pt x="279" y="81"/>
                    <a:pt x="279" y="82"/>
                  </a:cubicBezTo>
                  <a:cubicBezTo>
                    <a:pt x="279" y="82"/>
                    <a:pt x="279" y="82"/>
                    <a:pt x="279" y="82"/>
                  </a:cubicBezTo>
                  <a:cubicBezTo>
                    <a:pt x="279" y="82"/>
                    <a:pt x="279" y="82"/>
                    <a:pt x="279" y="82"/>
                  </a:cubicBezTo>
                  <a:cubicBezTo>
                    <a:pt x="279" y="82"/>
                    <a:pt x="278" y="82"/>
                    <a:pt x="278" y="82"/>
                  </a:cubicBezTo>
                  <a:cubicBezTo>
                    <a:pt x="278" y="83"/>
                    <a:pt x="278" y="83"/>
                    <a:pt x="278" y="83"/>
                  </a:cubicBezTo>
                  <a:cubicBezTo>
                    <a:pt x="278" y="83"/>
                    <a:pt x="278" y="83"/>
                    <a:pt x="278" y="83"/>
                  </a:cubicBezTo>
                  <a:cubicBezTo>
                    <a:pt x="278" y="84"/>
                    <a:pt x="278" y="84"/>
                    <a:pt x="278" y="84"/>
                  </a:cubicBezTo>
                  <a:cubicBezTo>
                    <a:pt x="278" y="84"/>
                    <a:pt x="278" y="84"/>
                    <a:pt x="278" y="84"/>
                  </a:cubicBezTo>
                  <a:cubicBezTo>
                    <a:pt x="277" y="85"/>
                    <a:pt x="277" y="86"/>
                    <a:pt x="277" y="87"/>
                  </a:cubicBezTo>
                  <a:cubicBezTo>
                    <a:pt x="276" y="91"/>
                    <a:pt x="275" y="95"/>
                    <a:pt x="276" y="99"/>
                  </a:cubicBezTo>
                  <a:cubicBezTo>
                    <a:pt x="276" y="100"/>
                    <a:pt x="276" y="100"/>
                    <a:pt x="276" y="101"/>
                  </a:cubicBezTo>
                  <a:cubicBezTo>
                    <a:pt x="277" y="102"/>
                    <a:pt x="278" y="104"/>
                    <a:pt x="279" y="106"/>
                  </a:cubicBezTo>
                  <a:cubicBezTo>
                    <a:pt x="279" y="106"/>
                    <a:pt x="280" y="107"/>
                    <a:pt x="280" y="107"/>
                  </a:cubicBezTo>
                  <a:cubicBezTo>
                    <a:pt x="280" y="107"/>
                    <a:pt x="280" y="108"/>
                    <a:pt x="280" y="108"/>
                  </a:cubicBezTo>
                  <a:cubicBezTo>
                    <a:pt x="281" y="108"/>
                    <a:pt x="281" y="108"/>
                    <a:pt x="282" y="109"/>
                  </a:cubicBezTo>
                  <a:cubicBezTo>
                    <a:pt x="282" y="109"/>
                    <a:pt x="282" y="109"/>
                    <a:pt x="282" y="110"/>
                  </a:cubicBezTo>
                  <a:cubicBezTo>
                    <a:pt x="282" y="110"/>
                    <a:pt x="283" y="110"/>
                    <a:pt x="283" y="111"/>
                  </a:cubicBezTo>
                  <a:cubicBezTo>
                    <a:pt x="283" y="111"/>
                    <a:pt x="283" y="111"/>
                    <a:pt x="283" y="111"/>
                  </a:cubicBezTo>
                  <a:cubicBezTo>
                    <a:pt x="284" y="112"/>
                    <a:pt x="284" y="112"/>
                    <a:pt x="285" y="112"/>
                  </a:cubicBezTo>
                  <a:cubicBezTo>
                    <a:pt x="285" y="113"/>
                    <a:pt x="285" y="113"/>
                    <a:pt x="285" y="113"/>
                  </a:cubicBezTo>
                  <a:cubicBezTo>
                    <a:pt x="285" y="113"/>
                    <a:pt x="285" y="113"/>
                    <a:pt x="286" y="114"/>
                  </a:cubicBezTo>
                  <a:cubicBezTo>
                    <a:pt x="286" y="114"/>
                    <a:pt x="286" y="114"/>
                    <a:pt x="286" y="114"/>
                  </a:cubicBezTo>
                  <a:cubicBezTo>
                    <a:pt x="286" y="115"/>
                    <a:pt x="286" y="115"/>
                    <a:pt x="287" y="115"/>
                  </a:cubicBezTo>
                  <a:cubicBezTo>
                    <a:pt x="287" y="115"/>
                    <a:pt x="287" y="116"/>
                    <a:pt x="287" y="116"/>
                  </a:cubicBezTo>
                  <a:cubicBezTo>
                    <a:pt x="287" y="116"/>
                    <a:pt x="287" y="116"/>
                    <a:pt x="288" y="117"/>
                  </a:cubicBezTo>
                  <a:cubicBezTo>
                    <a:pt x="288" y="117"/>
                    <a:pt x="288" y="117"/>
                    <a:pt x="288" y="117"/>
                  </a:cubicBezTo>
                  <a:cubicBezTo>
                    <a:pt x="288" y="117"/>
                    <a:pt x="288" y="117"/>
                    <a:pt x="288" y="117"/>
                  </a:cubicBezTo>
                  <a:cubicBezTo>
                    <a:pt x="288" y="118"/>
                    <a:pt x="288" y="118"/>
                    <a:pt x="288" y="118"/>
                  </a:cubicBezTo>
                  <a:cubicBezTo>
                    <a:pt x="289" y="118"/>
                    <a:pt x="289" y="118"/>
                    <a:pt x="289" y="119"/>
                  </a:cubicBezTo>
                  <a:cubicBezTo>
                    <a:pt x="289" y="119"/>
                    <a:pt x="289" y="119"/>
                    <a:pt x="289" y="119"/>
                  </a:cubicBezTo>
                  <a:cubicBezTo>
                    <a:pt x="290" y="120"/>
                    <a:pt x="290" y="120"/>
                    <a:pt x="290" y="120"/>
                  </a:cubicBezTo>
                  <a:cubicBezTo>
                    <a:pt x="290" y="120"/>
                    <a:pt x="290" y="121"/>
                    <a:pt x="291" y="121"/>
                  </a:cubicBezTo>
                  <a:cubicBezTo>
                    <a:pt x="291" y="122"/>
                    <a:pt x="291" y="122"/>
                    <a:pt x="291" y="122"/>
                  </a:cubicBezTo>
                  <a:cubicBezTo>
                    <a:pt x="291" y="122"/>
                    <a:pt x="291" y="122"/>
                    <a:pt x="292" y="123"/>
                  </a:cubicBezTo>
                  <a:cubicBezTo>
                    <a:pt x="292" y="123"/>
                    <a:pt x="292" y="123"/>
                    <a:pt x="292" y="123"/>
                  </a:cubicBezTo>
                  <a:cubicBezTo>
                    <a:pt x="292" y="123"/>
                    <a:pt x="292" y="124"/>
                    <a:pt x="292" y="124"/>
                  </a:cubicBezTo>
                  <a:cubicBezTo>
                    <a:pt x="293" y="124"/>
                    <a:pt x="293" y="124"/>
                    <a:pt x="293" y="125"/>
                  </a:cubicBezTo>
                  <a:cubicBezTo>
                    <a:pt x="293" y="125"/>
                    <a:pt x="293" y="125"/>
                    <a:pt x="293" y="126"/>
                  </a:cubicBezTo>
                  <a:cubicBezTo>
                    <a:pt x="294" y="126"/>
                    <a:pt x="294" y="126"/>
                    <a:pt x="294" y="126"/>
                  </a:cubicBezTo>
                  <a:cubicBezTo>
                    <a:pt x="294" y="127"/>
                    <a:pt x="295" y="128"/>
                    <a:pt x="295" y="128"/>
                  </a:cubicBezTo>
                  <a:cubicBezTo>
                    <a:pt x="295" y="128"/>
                    <a:pt x="295" y="128"/>
                    <a:pt x="295" y="128"/>
                  </a:cubicBezTo>
                  <a:cubicBezTo>
                    <a:pt x="295" y="129"/>
                    <a:pt x="295" y="129"/>
                    <a:pt x="295" y="129"/>
                  </a:cubicBezTo>
                  <a:cubicBezTo>
                    <a:pt x="295" y="129"/>
                    <a:pt x="295" y="129"/>
                    <a:pt x="295" y="129"/>
                  </a:cubicBezTo>
                  <a:cubicBezTo>
                    <a:pt x="296" y="130"/>
                    <a:pt x="296" y="130"/>
                    <a:pt x="296" y="131"/>
                  </a:cubicBezTo>
                  <a:cubicBezTo>
                    <a:pt x="296" y="131"/>
                    <a:pt x="296" y="131"/>
                    <a:pt x="297" y="131"/>
                  </a:cubicBezTo>
                  <a:cubicBezTo>
                    <a:pt x="297" y="132"/>
                    <a:pt x="297" y="132"/>
                    <a:pt x="297" y="132"/>
                  </a:cubicBezTo>
                  <a:cubicBezTo>
                    <a:pt x="297" y="132"/>
                    <a:pt x="297" y="132"/>
                    <a:pt x="297" y="132"/>
                  </a:cubicBezTo>
                  <a:cubicBezTo>
                    <a:pt x="297" y="133"/>
                    <a:pt x="297" y="133"/>
                    <a:pt x="297" y="134"/>
                  </a:cubicBezTo>
                  <a:cubicBezTo>
                    <a:pt x="297" y="134"/>
                    <a:pt x="297" y="134"/>
                    <a:pt x="298" y="134"/>
                  </a:cubicBezTo>
                  <a:cubicBezTo>
                    <a:pt x="298" y="134"/>
                    <a:pt x="298" y="135"/>
                    <a:pt x="298" y="136"/>
                  </a:cubicBezTo>
                  <a:cubicBezTo>
                    <a:pt x="299" y="140"/>
                    <a:pt x="301" y="145"/>
                    <a:pt x="299" y="150"/>
                  </a:cubicBezTo>
                  <a:cubicBezTo>
                    <a:pt x="299" y="151"/>
                    <a:pt x="299" y="151"/>
                    <a:pt x="299" y="152"/>
                  </a:cubicBezTo>
                  <a:cubicBezTo>
                    <a:pt x="299" y="152"/>
                    <a:pt x="299" y="152"/>
                    <a:pt x="299" y="152"/>
                  </a:cubicBezTo>
                  <a:cubicBezTo>
                    <a:pt x="299" y="152"/>
                    <a:pt x="299" y="153"/>
                    <a:pt x="299" y="153"/>
                  </a:cubicBezTo>
                  <a:cubicBezTo>
                    <a:pt x="298" y="153"/>
                    <a:pt x="298" y="153"/>
                    <a:pt x="298" y="153"/>
                  </a:cubicBezTo>
                  <a:cubicBezTo>
                    <a:pt x="298" y="154"/>
                    <a:pt x="298" y="154"/>
                    <a:pt x="298" y="155"/>
                  </a:cubicBezTo>
                  <a:cubicBezTo>
                    <a:pt x="297" y="156"/>
                    <a:pt x="295" y="157"/>
                    <a:pt x="294" y="158"/>
                  </a:cubicBezTo>
                  <a:cubicBezTo>
                    <a:pt x="293" y="159"/>
                    <a:pt x="293" y="160"/>
                    <a:pt x="292" y="161"/>
                  </a:cubicBezTo>
                  <a:cubicBezTo>
                    <a:pt x="292" y="161"/>
                    <a:pt x="291" y="161"/>
                    <a:pt x="291" y="161"/>
                  </a:cubicBezTo>
                  <a:cubicBezTo>
                    <a:pt x="291" y="161"/>
                    <a:pt x="291" y="162"/>
                    <a:pt x="291" y="162"/>
                  </a:cubicBezTo>
                  <a:cubicBezTo>
                    <a:pt x="290" y="162"/>
                    <a:pt x="290" y="162"/>
                    <a:pt x="290" y="162"/>
                  </a:cubicBezTo>
                  <a:cubicBezTo>
                    <a:pt x="290" y="162"/>
                    <a:pt x="289" y="163"/>
                    <a:pt x="289" y="163"/>
                  </a:cubicBezTo>
                  <a:cubicBezTo>
                    <a:pt x="289" y="163"/>
                    <a:pt x="289" y="163"/>
                    <a:pt x="288" y="163"/>
                  </a:cubicBezTo>
                  <a:cubicBezTo>
                    <a:pt x="288" y="163"/>
                    <a:pt x="288" y="163"/>
                    <a:pt x="288" y="164"/>
                  </a:cubicBezTo>
                  <a:cubicBezTo>
                    <a:pt x="288" y="164"/>
                    <a:pt x="288" y="164"/>
                    <a:pt x="287" y="164"/>
                  </a:cubicBezTo>
                  <a:cubicBezTo>
                    <a:pt x="287" y="164"/>
                    <a:pt x="287" y="164"/>
                    <a:pt x="287" y="164"/>
                  </a:cubicBezTo>
                  <a:cubicBezTo>
                    <a:pt x="287" y="164"/>
                    <a:pt x="287" y="164"/>
                    <a:pt x="287" y="164"/>
                  </a:cubicBezTo>
                  <a:cubicBezTo>
                    <a:pt x="287" y="164"/>
                    <a:pt x="286" y="165"/>
                    <a:pt x="286" y="165"/>
                  </a:cubicBezTo>
                  <a:cubicBezTo>
                    <a:pt x="286" y="165"/>
                    <a:pt x="285" y="165"/>
                    <a:pt x="284" y="165"/>
                  </a:cubicBezTo>
                  <a:cubicBezTo>
                    <a:pt x="284" y="166"/>
                    <a:pt x="284" y="166"/>
                    <a:pt x="284" y="166"/>
                  </a:cubicBezTo>
                  <a:cubicBezTo>
                    <a:pt x="283" y="166"/>
                    <a:pt x="283" y="167"/>
                    <a:pt x="282" y="167"/>
                  </a:cubicBezTo>
                  <a:cubicBezTo>
                    <a:pt x="282" y="167"/>
                    <a:pt x="282" y="167"/>
                    <a:pt x="282" y="167"/>
                  </a:cubicBezTo>
                  <a:cubicBezTo>
                    <a:pt x="282" y="167"/>
                    <a:pt x="281" y="167"/>
                    <a:pt x="281" y="167"/>
                  </a:cubicBezTo>
                  <a:cubicBezTo>
                    <a:pt x="281" y="167"/>
                    <a:pt x="281" y="167"/>
                    <a:pt x="281" y="168"/>
                  </a:cubicBezTo>
                  <a:cubicBezTo>
                    <a:pt x="280" y="168"/>
                    <a:pt x="280" y="168"/>
                    <a:pt x="279" y="168"/>
                  </a:cubicBezTo>
                  <a:cubicBezTo>
                    <a:pt x="279" y="168"/>
                    <a:pt x="279" y="168"/>
                    <a:pt x="279" y="169"/>
                  </a:cubicBezTo>
                  <a:cubicBezTo>
                    <a:pt x="279" y="169"/>
                    <a:pt x="278" y="169"/>
                    <a:pt x="278" y="169"/>
                  </a:cubicBezTo>
                  <a:cubicBezTo>
                    <a:pt x="278" y="169"/>
                    <a:pt x="278" y="169"/>
                    <a:pt x="278" y="169"/>
                  </a:cubicBezTo>
                  <a:cubicBezTo>
                    <a:pt x="278" y="169"/>
                    <a:pt x="278" y="169"/>
                    <a:pt x="277" y="169"/>
                  </a:cubicBezTo>
                  <a:cubicBezTo>
                    <a:pt x="277" y="169"/>
                    <a:pt x="277" y="169"/>
                    <a:pt x="277" y="169"/>
                  </a:cubicBezTo>
                  <a:cubicBezTo>
                    <a:pt x="277" y="170"/>
                    <a:pt x="276" y="170"/>
                    <a:pt x="275" y="170"/>
                  </a:cubicBezTo>
                  <a:cubicBezTo>
                    <a:pt x="275" y="170"/>
                    <a:pt x="275" y="170"/>
                    <a:pt x="275" y="170"/>
                  </a:cubicBezTo>
                  <a:cubicBezTo>
                    <a:pt x="275" y="170"/>
                    <a:pt x="274" y="170"/>
                    <a:pt x="274" y="170"/>
                  </a:cubicBezTo>
                  <a:cubicBezTo>
                    <a:pt x="274" y="170"/>
                    <a:pt x="274" y="171"/>
                    <a:pt x="274" y="171"/>
                  </a:cubicBezTo>
                  <a:cubicBezTo>
                    <a:pt x="274" y="171"/>
                    <a:pt x="273" y="171"/>
                    <a:pt x="273" y="171"/>
                  </a:cubicBezTo>
                  <a:cubicBezTo>
                    <a:pt x="273" y="171"/>
                    <a:pt x="273" y="171"/>
                    <a:pt x="273" y="171"/>
                  </a:cubicBezTo>
                  <a:cubicBezTo>
                    <a:pt x="272" y="171"/>
                    <a:pt x="272" y="171"/>
                    <a:pt x="272" y="171"/>
                  </a:cubicBezTo>
                  <a:cubicBezTo>
                    <a:pt x="272" y="172"/>
                    <a:pt x="272" y="172"/>
                    <a:pt x="272" y="172"/>
                  </a:cubicBezTo>
                  <a:cubicBezTo>
                    <a:pt x="272" y="172"/>
                    <a:pt x="271" y="172"/>
                    <a:pt x="271" y="172"/>
                  </a:cubicBezTo>
                  <a:cubicBezTo>
                    <a:pt x="271" y="172"/>
                    <a:pt x="271" y="172"/>
                    <a:pt x="271" y="172"/>
                  </a:cubicBezTo>
                  <a:cubicBezTo>
                    <a:pt x="270" y="172"/>
                    <a:pt x="270" y="173"/>
                    <a:pt x="269" y="173"/>
                  </a:cubicBezTo>
                  <a:cubicBezTo>
                    <a:pt x="269" y="173"/>
                    <a:pt x="269" y="173"/>
                    <a:pt x="269" y="173"/>
                  </a:cubicBezTo>
                  <a:cubicBezTo>
                    <a:pt x="269" y="173"/>
                    <a:pt x="268" y="173"/>
                    <a:pt x="268" y="173"/>
                  </a:cubicBezTo>
                  <a:cubicBezTo>
                    <a:pt x="268" y="173"/>
                    <a:pt x="268" y="173"/>
                    <a:pt x="268" y="174"/>
                  </a:cubicBezTo>
                  <a:cubicBezTo>
                    <a:pt x="268" y="174"/>
                    <a:pt x="268" y="174"/>
                    <a:pt x="267" y="174"/>
                  </a:cubicBezTo>
                  <a:cubicBezTo>
                    <a:pt x="267" y="174"/>
                    <a:pt x="267" y="174"/>
                    <a:pt x="267" y="174"/>
                  </a:cubicBezTo>
                  <a:cubicBezTo>
                    <a:pt x="267" y="174"/>
                    <a:pt x="267" y="174"/>
                    <a:pt x="267" y="174"/>
                  </a:cubicBezTo>
                  <a:cubicBezTo>
                    <a:pt x="267" y="174"/>
                    <a:pt x="267" y="174"/>
                    <a:pt x="267" y="174"/>
                  </a:cubicBezTo>
                  <a:cubicBezTo>
                    <a:pt x="267" y="174"/>
                    <a:pt x="266" y="174"/>
                    <a:pt x="266" y="174"/>
                  </a:cubicBezTo>
                  <a:cubicBezTo>
                    <a:pt x="266" y="174"/>
                    <a:pt x="266" y="174"/>
                    <a:pt x="266" y="175"/>
                  </a:cubicBezTo>
                  <a:cubicBezTo>
                    <a:pt x="266" y="175"/>
                    <a:pt x="266" y="175"/>
                    <a:pt x="265" y="175"/>
                  </a:cubicBezTo>
                  <a:cubicBezTo>
                    <a:pt x="265" y="175"/>
                    <a:pt x="265" y="175"/>
                    <a:pt x="265" y="175"/>
                  </a:cubicBezTo>
                  <a:cubicBezTo>
                    <a:pt x="265" y="175"/>
                    <a:pt x="265" y="175"/>
                    <a:pt x="265" y="175"/>
                  </a:cubicBezTo>
                  <a:cubicBezTo>
                    <a:pt x="265" y="175"/>
                    <a:pt x="264" y="175"/>
                    <a:pt x="264" y="176"/>
                  </a:cubicBezTo>
                  <a:cubicBezTo>
                    <a:pt x="264" y="176"/>
                    <a:pt x="263" y="176"/>
                    <a:pt x="263" y="176"/>
                  </a:cubicBezTo>
                  <a:cubicBezTo>
                    <a:pt x="263" y="176"/>
                    <a:pt x="263" y="176"/>
                    <a:pt x="263" y="177"/>
                  </a:cubicBezTo>
                  <a:cubicBezTo>
                    <a:pt x="262" y="177"/>
                    <a:pt x="262" y="177"/>
                    <a:pt x="262" y="177"/>
                  </a:cubicBezTo>
                  <a:cubicBezTo>
                    <a:pt x="262" y="177"/>
                    <a:pt x="261" y="177"/>
                    <a:pt x="261" y="178"/>
                  </a:cubicBezTo>
                  <a:cubicBezTo>
                    <a:pt x="261" y="178"/>
                    <a:pt x="261" y="178"/>
                    <a:pt x="260" y="178"/>
                  </a:cubicBezTo>
                  <a:cubicBezTo>
                    <a:pt x="260" y="178"/>
                    <a:pt x="260" y="179"/>
                    <a:pt x="259" y="179"/>
                  </a:cubicBezTo>
                  <a:cubicBezTo>
                    <a:pt x="259" y="179"/>
                    <a:pt x="259" y="179"/>
                    <a:pt x="258" y="179"/>
                  </a:cubicBezTo>
                  <a:cubicBezTo>
                    <a:pt x="258" y="180"/>
                    <a:pt x="258" y="180"/>
                    <a:pt x="258" y="181"/>
                  </a:cubicBezTo>
                  <a:cubicBezTo>
                    <a:pt x="258" y="181"/>
                    <a:pt x="257" y="181"/>
                    <a:pt x="257" y="182"/>
                  </a:cubicBezTo>
                  <a:cubicBezTo>
                    <a:pt x="257" y="182"/>
                    <a:pt x="257" y="182"/>
                    <a:pt x="257" y="182"/>
                  </a:cubicBezTo>
                  <a:cubicBezTo>
                    <a:pt x="256" y="182"/>
                    <a:pt x="256" y="182"/>
                    <a:pt x="256" y="183"/>
                  </a:cubicBezTo>
                  <a:cubicBezTo>
                    <a:pt x="256" y="183"/>
                    <a:pt x="256" y="183"/>
                    <a:pt x="256" y="183"/>
                  </a:cubicBezTo>
                  <a:cubicBezTo>
                    <a:pt x="256" y="183"/>
                    <a:pt x="255" y="184"/>
                    <a:pt x="255" y="184"/>
                  </a:cubicBezTo>
                  <a:cubicBezTo>
                    <a:pt x="255" y="184"/>
                    <a:pt x="255" y="184"/>
                    <a:pt x="255" y="184"/>
                  </a:cubicBezTo>
                  <a:cubicBezTo>
                    <a:pt x="255" y="184"/>
                    <a:pt x="255" y="184"/>
                    <a:pt x="255" y="184"/>
                  </a:cubicBezTo>
                  <a:cubicBezTo>
                    <a:pt x="255" y="185"/>
                    <a:pt x="255" y="185"/>
                    <a:pt x="255" y="185"/>
                  </a:cubicBezTo>
                  <a:cubicBezTo>
                    <a:pt x="255" y="185"/>
                    <a:pt x="255" y="185"/>
                    <a:pt x="255" y="185"/>
                  </a:cubicBezTo>
                  <a:cubicBezTo>
                    <a:pt x="255" y="185"/>
                    <a:pt x="255" y="186"/>
                    <a:pt x="255" y="186"/>
                  </a:cubicBezTo>
                  <a:cubicBezTo>
                    <a:pt x="254" y="186"/>
                    <a:pt x="254" y="186"/>
                    <a:pt x="254" y="186"/>
                  </a:cubicBezTo>
                  <a:cubicBezTo>
                    <a:pt x="254" y="186"/>
                    <a:pt x="254" y="187"/>
                    <a:pt x="254" y="187"/>
                  </a:cubicBezTo>
                  <a:cubicBezTo>
                    <a:pt x="254" y="187"/>
                    <a:pt x="254" y="187"/>
                    <a:pt x="254" y="187"/>
                  </a:cubicBezTo>
                  <a:cubicBezTo>
                    <a:pt x="254" y="187"/>
                    <a:pt x="254" y="188"/>
                    <a:pt x="254" y="188"/>
                  </a:cubicBezTo>
                  <a:cubicBezTo>
                    <a:pt x="254" y="188"/>
                    <a:pt x="254" y="188"/>
                    <a:pt x="253" y="188"/>
                  </a:cubicBezTo>
                  <a:cubicBezTo>
                    <a:pt x="253" y="189"/>
                    <a:pt x="253" y="190"/>
                    <a:pt x="252" y="191"/>
                  </a:cubicBezTo>
                  <a:cubicBezTo>
                    <a:pt x="252" y="191"/>
                    <a:pt x="252" y="191"/>
                    <a:pt x="252" y="191"/>
                  </a:cubicBezTo>
                  <a:cubicBezTo>
                    <a:pt x="252" y="192"/>
                    <a:pt x="252" y="192"/>
                    <a:pt x="251" y="193"/>
                  </a:cubicBezTo>
                  <a:cubicBezTo>
                    <a:pt x="251" y="193"/>
                    <a:pt x="251" y="193"/>
                    <a:pt x="251" y="193"/>
                  </a:cubicBezTo>
                  <a:cubicBezTo>
                    <a:pt x="251" y="194"/>
                    <a:pt x="250" y="194"/>
                    <a:pt x="250" y="194"/>
                  </a:cubicBezTo>
                  <a:cubicBezTo>
                    <a:pt x="250" y="195"/>
                    <a:pt x="250" y="195"/>
                    <a:pt x="249" y="195"/>
                  </a:cubicBezTo>
                  <a:cubicBezTo>
                    <a:pt x="249" y="195"/>
                    <a:pt x="249" y="196"/>
                    <a:pt x="249" y="196"/>
                  </a:cubicBezTo>
                  <a:cubicBezTo>
                    <a:pt x="249" y="196"/>
                    <a:pt x="249" y="196"/>
                    <a:pt x="249" y="196"/>
                  </a:cubicBezTo>
                  <a:cubicBezTo>
                    <a:pt x="249" y="196"/>
                    <a:pt x="249" y="197"/>
                    <a:pt x="249" y="197"/>
                  </a:cubicBezTo>
                  <a:cubicBezTo>
                    <a:pt x="248" y="197"/>
                    <a:pt x="248" y="197"/>
                    <a:pt x="248" y="197"/>
                  </a:cubicBezTo>
                  <a:cubicBezTo>
                    <a:pt x="248" y="198"/>
                    <a:pt x="248" y="198"/>
                    <a:pt x="248" y="198"/>
                  </a:cubicBezTo>
                  <a:cubicBezTo>
                    <a:pt x="247" y="199"/>
                    <a:pt x="247" y="199"/>
                    <a:pt x="246" y="199"/>
                  </a:cubicBezTo>
                  <a:cubicBezTo>
                    <a:pt x="242" y="205"/>
                    <a:pt x="238" y="209"/>
                    <a:pt x="233" y="214"/>
                  </a:cubicBezTo>
                  <a:cubicBezTo>
                    <a:pt x="230" y="217"/>
                    <a:pt x="227" y="220"/>
                    <a:pt x="224" y="222"/>
                  </a:cubicBezTo>
                  <a:cubicBezTo>
                    <a:pt x="224" y="222"/>
                    <a:pt x="224" y="222"/>
                    <a:pt x="224" y="222"/>
                  </a:cubicBezTo>
                  <a:cubicBezTo>
                    <a:pt x="222" y="224"/>
                    <a:pt x="220" y="226"/>
                    <a:pt x="218" y="228"/>
                  </a:cubicBezTo>
                  <a:cubicBezTo>
                    <a:pt x="217" y="229"/>
                    <a:pt x="216" y="230"/>
                    <a:pt x="215" y="231"/>
                  </a:cubicBezTo>
                  <a:cubicBezTo>
                    <a:pt x="215" y="231"/>
                    <a:pt x="215" y="231"/>
                    <a:pt x="215" y="232"/>
                  </a:cubicBezTo>
                  <a:cubicBezTo>
                    <a:pt x="215" y="232"/>
                    <a:pt x="214" y="233"/>
                    <a:pt x="213" y="234"/>
                  </a:cubicBezTo>
                  <a:cubicBezTo>
                    <a:pt x="213" y="234"/>
                    <a:pt x="213" y="234"/>
                    <a:pt x="213" y="235"/>
                  </a:cubicBezTo>
                  <a:cubicBezTo>
                    <a:pt x="212" y="235"/>
                    <a:pt x="212" y="235"/>
                    <a:pt x="212" y="235"/>
                  </a:cubicBezTo>
                  <a:cubicBezTo>
                    <a:pt x="212" y="236"/>
                    <a:pt x="212" y="236"/>
                    <a:pt x="212" y="236"/>
                  </a:cubicBezTo>
                  <a:cubicBezTo>
                    <a:pt x="211" y="236"/>
                    <a:pt x="211" y="237"/>
                    <a:pt x="210" y="237"/>
                  </a:cubicBezTo>
                  <a:cubicBezTo>
                    <a:pt x="210" y="237"/>
                    <a:pt x="210" y="237"/>
                    <a:pt x="210" y="238"/>
                  </a:cubicBezTo>
                  <a:cubicBezTo>
                    <a:pt x="210" y="238"/>
                    <a:pt x="210" y="238"/>
                    <a:pt x="210" y="238"/>
                  </a:cubicBezTo>
                  <a:cubicBezTo>
                    <a:pt x="210" y="238"/>
                    <a:pt x="210" y="238"/>
                    <a:pt x="210" y="239"/>
                  </a:cubicBezTo>
                  <a:cubicBezTo>
                    <a:pt x="209" y="239"/>
                    <a:pt x="209" y="239"/>
                    <a:pt x="209" y="239"/>
                  </a:cubicBezTo>
                  <a:cubicBezTo>
                    <a:pt x="209" y="239"/>
                    <a:pt x="209" y="240"/>
                    <a:pt x="209" y="240"/>
                  </a:cubicBezTo>
                  <a:cubicBezTo>
                    <a:pt x="208" y="240"/>
                    <a:pt x="208" y="240"/>
                    <a:pt x="208" y="240"/>
                  </a:cubicBezTo>
                  <a:cubicBezTo>
                    <a:pt x="208" y="241"/>
                    <a:pt x="208" y="241"/>
                    <a:pt x="208" y="242"/>
                  </a:cubicBezTo>
                  <a:cubicBezTo>
                    <a:pt x="207" y="242"/>
                    <a:pt x="207" y="242"/>
                    <a:pt x="207" y="242"/>
                  </a:cubicBezTo>
                  <a:cubicBezTo>
                    <a:pt x="207" y="243"/>
                    <a:pt x="207" y="243"/>
                    <a:pt x="206" y="244"/>
                  </a:cubicBezTo>
                  <a:cubicBezTo>
                    <a:pt x="206" y="244"/>
                    <a:pt x="206" y="244"/>
                    <a:pt x="206" y="244"/>
                  </a:cubicBezTo>
                  <a:cubicBezTo>
                    <a:pt x="206" y="244"/>
                    <a:pt x="206" y="245"/>
                    <a:pt x="206" y="245"/>
                  </a:cubicBezTo>
                  <a:cubicBezTo>
                    <a:pt x="206" y="245"/>
                    <a:pt x="206" y="245"/>
                    <a:pt x="206" y="245"/>
                  </a:cubicBezTo>
                  <a:cubicBezTo>
                    <a:pt x="205" y="246"/>
                    <a:pt x="205" y="246"/>
                    <a:pt x="205" y="247"/>
                  </a:cubicBezTo>
                  <a:cubicBezTo>
                    <a:pt x="205" y="247"/>
                    <a:pt x="205" y="247"/>
                    <a:pt x="205" y="247"/>
                  </a:cubicBezTo>
                  <a:cubicBezTo>
                    <a:pt x="205" y="247"/>
                    <a:pt x="205" y="248"/>
                    <a:pt x="205" y="248"/>
                  </a:cubicBezTo>
                  <a:cubicBezTo>
                    <a:pt x="204" y="248"/>
                    <a:pt x="204" y="248"/>
                    <a:pt x="204" y="248"/>
                  </a:cubicBezTo>
                  <a:cubicBezTo>
                    <a:pt x="204" y="248"/>
                    <a:pt x="204" y="248"/>
                    <a:pt x="204" y="249"/>
                  </a:cubicBezTo>
                  <a:cubicBezTo>
                    <a:pt x="204" y="249"/>
                    <a:pt x="204" y="249"/>
                    <a:pt x="204" y="249"/>
                  </a:cubicBezTo>
                  <a:cubicBezTo>
                    <a:pt x="204" y="250"/>
                    <a:pt x="204" y="250"/>
                    <a:pt x="203" y="251"/>
                  </a:cubicBezTo>
                  <a:cubicBezTo>
                    <a:pt x="203" y="251"/>
                    <a:pt x="203" y="251"/>
                    <a:pt x="203" y="251"/>
                  </a:cubicBezTo>
                  <a:cubicBezTo>
                    <a:pt x="203" y="252"/>
                    <a:pt x="203" y="252"/>
                    <a:pt x="203" y="253"/>
                  </a:cubicBezTo>
                  <a:cubicBezTo>
                    <a:pt x="203" y="253"/>
                    <a:pt x="203" y="253"/>
                    <a:pt x="203" y="253"/>
                  </a:cubicBezTo>
                  <a:cubicBezTo>
                    <a:pt x="203" y="253"/>
                    <a:pt x="203" y="254"/>
                    <a:pt x="203" y="255"/>
                  </a:cubicBezTo>
                  <a:cubicBezTo>
                    <a:pt x="203" y="255"/>
                    <a:pt x="203" y="255"/>
                    <a:pt x="202" y="255"/>
                  </a:cubicBezTo>
                  <a:cubicBezTo>
                    <a:pt x="202" y="257"/>
                    <a:pt x="203" y="262"/>
                    <a:pt x="203" y="263"/>
                  </a:cubicBezTo>
                  <a:cubicBezTo>
                    <a:pt x="204" y="263"/>
                    <a:pt x="204" y="263"/>
                    <a:pt x="204" y="263"/>
                  </a:cubicBezTo>
                  <a:cubicBezTo>
                    <a:pt x="204" y="264"/>
                    <a:pt x="204" y="264"/>
                    <a:pt x="204" y="264"/>
                  </a:cubicBezTo>
                  <a:cubicBezTo>
                    <a:pt x="204" y="264"/>
                    <a:pt x="204" y="264"/>
                    <a:pt x="204" y="264"/>
                  </a:cubicBezTo>
                  <a:cubicBezTo>
                    <a:pt x="204" y="265"/>
                    <a:pt x="204" y="265"/>
                    <a:pt x="204" y="265"/>
                  </a:cubicBezTo>
                  <a:cubicBezTo>
                    <a:pt x="204" y="265"/>
                    <a:pt x="204" y="265"/>
                    <a:pt x="205" y="265"/>
                  </a:cubicBezTo>
                  <a:cubicBezTo>
                    <a:pt x="205" y="265"/>
                    <a:pt x="205" y="266"/>
                    <a:pt x="205" y="266"/>
                  </a:cubicBezTo>
                  <a:cubicBezTo>
                    <a:pt x="205" y="266"/>
                    <a:pt x="205" y="266"/>
                    <a:pt x="205" y="266"/>
                  </a:cubicBezTo>
                  <a:cubicBezTo>
                    <a:pt x="205" y="266"/>
                    <a:pt x="205" y="267"/>
                    <a:pt x="205" y="267"/>
                  </a:cubicBezTo>
                  <a:cubicBezTo>
                    <a:pt x="205" y="267"/>
                    <a:pt x="206" y="267"/>
                    <a:pt x="206" y="267"/>
                  </a:cubicBezTo>
                  <a:cubicBezTo>
                    <a:pt x="206" y="267"/>
                    <a:pt x="206" y="268"/>
                    <a:pt x="206" y="268"/>
                  </a:cubicBezTo>
                  <a:cubicBezTo>
                    <a:pt x="206" y="268"/>
                    <a:pt x="207" y="269"/>
                    <a:pt x="207" y="269"/>
                  </a:cubicBezTo>
                  <a:cubicBezTo>
                    <a:pt x="207" y="269"/>
                    <a:pt x="207" y="269"/>
                    <a:pt x="207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1"/>
                    <a:pt x="208" y="271"/>
                    <a:pt x="208" y="271"/>
                  </a:cubicBezTo>
                  <a:cubicBezTo>
                    <a:pt x="209" y="271"/>
                    <a:pt x="209" y="271"/>
                    <a:pt x="209" y="271"/>
                  </a:cubicBezTo>
                  <a:cubicBezTo>
                    <a:pt x="210" y="271"/>
                    <a:pt x="210" y="272"/>
                    <a:pt x="210" y="272"/>
                  </a:cubicBezTo>
                  <a:cubicBezTo>
                    <a:pt x="211" y="273"/>
                    <a:pt x="211" y="273"/>
                    <a:pt x="212" y="273"/>
                  </a:cubicBezTo>
                  <a:cubicBezTo>
                    <a:pt x="212" y="273"/>
                    <a:pt x="212" y="273"/>
                    <a:pt x="212" y="274"/>
                  </a:cubicBezTo>
                  <a:cubicBezTo>
                    <a:pt x="212" y="274"/>
                    <a:pt x="212" y="274"/>
                    <a:pt x="213" y="274"/>
                  </a:cubicBezTo>
                  <a:cubicBezTo>
                    <a:pt x="213" y="274"/>
                    <a:pt x="213" y="274"/>
                    <a:pt x="213" y="274"/>
                  </a:cubicBezTo>
                  <a:cubicBezTo>
                    <a:pt x="213" y="274"/>
                    <a:pt x="214" y="274"/>
                    <a:pt x="214" y="275"/>
                  </a:cubicBezTo>
                  <a:cubicBezTo>
                    <a:pt x="214" y="275"/>
                    <a:pt x="215" y="275"/>
                    <a:pt x="215" y="275"/>
                  </a:cubicBezTo>
                  <a:cubicBezTo>
                    <a:pt x="215" y="275"/>
                    <a:pt x="216" y="276"/>
                    <a:pt x="216" y="276"/>
                  </a:cubicBezTo>
                  <a:cubicBezTo>
                    <a:pt x="216" y="276"/>
                    <a:pt x="216" y="276"/>
                    <a:pt x="216" y="276"/>
                  </a:cubicBezTo>
                  <a:cubicBezTo>
                    <a:pt x="217" y="276"/>
                    <a:pt x="217" y="276"/>
                    <a:pt x="217" y="276"/>
                  </a:cubicBezTo>
                  <a:cubicBezTo>
                    <a:pt x="217" y="276"/>
                    <a:pt x="217" y="277"/>
                    <a:pt x="217" y="277"/>
                  </a:cubicBezTo>
                  <a:cubicBezTo>
                    <a:pt x="217" y="277"/>
                    <a:pt x="218" y="277"/>
                    <a:pt x="218" y="277"/>
                  </a:cubicBezTo>
                  <a:cubicBezTo>
                    <a:pt x="218" y="277"/>
                    <a:pt x="218" y="277"/>
                    <a:pt x="218" y="277"/>
                  </a:cubicBezTo>
                  <a:cubicBezTo>
                    <a:pt x="218" y="277"/>
                    <a:pt x="219" y="277"/>
                    <a:pt x="219" y="277"/>
                  </a:cubicBezTo>
                  <a:cubicBezTo>
                    <a:pt x="219" y="278"/>
                    <a:pt x="219" y="278"/>
                    <a:pt x="219" y="278"/>
                  </a:cubicBezTo>
                  <a:cubicBezTo>
                    <a:pt x="220" y="278"/>
                    <a:pt x="220" y="278"/>
                    <a:pt x="221" y="278"/>
                  </a:cubicBezTo>
                  <a:cubicBezTo>
                    <a:pt x="221" y="279"/>
                    <a:pt x="221" y="279"/>
                    <a:pt x="221" y="279"/>
                  </a:cubicBezTo>
                  <a:cubicBezTo>
                    <a:pt x="221" y="279"/>
                    <a:pt x="221" y="279"/>
                    <a:pt x="222" y="279"/>
                  </a:cubicBezTo>
                  <a:cubicBezTo>
                    <a:pt x="222" y="279"/>
                    <a:pt x="222" y="280"/>
                    <a:pt x="222" y="280"/>
                  </a:cubicBezTo>
                  <a:cubicBezTo>
                    <a:pt x="222" y="280"/>
                    <a:pt x="222" y="280"/>
                    <a:pt x="223" y="280"/>
                  </a:cubicBezTo>
                  <a:cubicBezTo>
                    <a:pt x="223" y="280"/>
                    <a:pt x="223" y="281"/>
                    <a:pt x="223" y="281"/>
                  </a:cubicBezTo>
                  <a:cubicBezTo>
                    <a:pt x="224" y="281"/>
                    <a:pt x="224" y="281"/>
                    <a:pt x="224" y="281"/>
                  </a:cubicBezTo>
                  <a:cubicBezTo>
                    <a:pt x="224" y="281"/>
                    <a:pt x="224" y="281"/>
                    <a:pt x="224" y="282"/>
                  </a:cubicBezTo>
                  <a:cubicBezTo>
                    <a:pt x="225" y="282"/>
                    <a:pt x="225" y="282"/>
                    <a:pt x="225" y="282"/>
                  </a:cubicBezTo>
                  <a:cubicBezTo>
                    <a:pt x="225" y="282"/>
                    <a:pt x="226" y="282"/>
                    <a:pt x="226" y="283"/>
                  </a:cubicBezTo>
                  <a:cubicBezTo>
                    <a:pt x="226" y="283"/>
                    <a:pt x="226" y="283"/>
                    <a:pt x="227" y="283"/>
                  </a:cubicBezTo>
                  <a:cubicBezTo>
                    <a:pt x="227" y="283"/>
                    <a:pt x="227" y="283"/>
                    <a:pt x="227" y="284"/>
                  </a:cubicBezTo>
                  <a:cubicBezTo>
                    <a:pt x="227" y="284"/>
                    <a:pt x="228" y="284"/>
                    <a:pt x="228" y="284"/>
                  </a:cubicBezTo>
                  <a:cubicBezTo>
                    <a:pt x="228" y="284"/>
                    <a:pt x="229" y="285"/>
                    <a:pt x="229" y="285"/>
                  </a:cubicBezTo>
                  <a:cubicBezTo>
                    <a:pt x="229" y="285"/>
                    <a:pt x="229" y="285"/>
                    <a:pt x="230" y="285"/>
                  </a:cubicBezTo>
                  <a:cubicBezTo>
                    <a:pt x="230" y="286"/>
                    <a:pt x="230" y="286"/>
                    <a:pt x="231" y="286"/>
                  </a:cubicBezTo>
                  <a:cubicBezTo>
                    <a:pt x="231" y="286"/>
                    <a:pt x="231" y="286"/>
                    <a:pt x="231" y="286"/>
                  </a:cubicBezTo>
                  <a:cubicBezTo>
                    <a:pt x="232" y="287"/>
                    <a:pt x="233" y="288"/>
                    <a:pt x="233" y="289"/>
                  </a:cubicBezTo>
                  <a:cubicBezTo>
                    <a:pt x="233" y="289"/>
                    <a:pt x="234" y="289"/>
                    <a:pt x="234" y="289"/>
                  </a:cubicBezTo>
                  <a:cubicBezTo>
                    <a:pt x="235" y="290"/>
                    <a:pt x="237" y="292"/>
                    <a:pt x="238" y="293"/>
                  </a:cubicBezTo>
                  <a:cubicBezTo>
                    <a:pt x="240" y="295"/>
                    <a:pt x="241" y="296"/>
                    <a:pt x="242" y="297"/>
                  </a:cubicBezTo>
                  <a:cubicBezTo>
                    <a:pt x="242" y="297"/>
                    <a:pt x="242" y="297"/>
                    <a:pt x="242" y="297"/>
                  </a:cubicBezTo>
                  <a:cubicBezTo>
                    <a:pt x="243" y="298"/>
                    <a:pt x="243" y="298"/>
                    <a:pt x="244" y="299"/>
                  </a:cubicBezTo>
                  <a:cubicBezTo>
                    <a:pt x="244" y="299"/>
                    <a:pt x="244" y="299"/>
                    <a:pt x="244" y="299"/>
                  </a:cubicBezTo>
                  <a:cubicBezTo>
                    <a:pt x="244" y="300"/>
                    <a:pt x="245" y="300"/>
                    <a:pt x="245" y="300"/>
                  </a:cubicBezTo>
                  <a:cubicBezTo>
                    <a:pt x="245" y="301"/>
                    <a:pt x="245" y="301"/>
                    <a:pt x="245" y="302"/>
                  </a:cubicBezTo>
                  <a:cubicBezTo>
                    <a:pt x="246" y="302"/>
                    <a:pt x="246" y="302"/>
                    <a:pt x="246" y="302"/>
                  </a:cubicBezTo>
                  <a:cubicBezTo>
                    <a:pt x="246" y="302"/>
                    <a:pt x="246" y="302"/>
                    <a:pt x="246" y="303"/>
                  </a:cubicBezTo>
                  <a:cubicBezTo>
                    <a:pt x="246" y="303"/>
                    <a:pt x="247" y="303"/>
                    <a:pt x="247" y="303"/>
                  </a:cubicBezTo>
                  <a:cubicBezTo>
                    <a:pt x="247" y="303"/>
                    <a:pt x="247" y="303"/>
                    <a:pt x="247" y="304"/>
                  </a:cubicBezTo>
                  <a:cubicBezTo>
                    <a:pt x="247" y="304"/>
                    <a:pt x="247" y="304"/>
                    <a:pt x="248" y="304"/>
                  </a:cubicBezTo>
                  <a:cubicBezTo>
                    <a:pt x="248" y="304"/>
                    <a:pt x="248" y="304"/>
                    <a:pt x="248" y="305"/>
                  </a:cubicBezTo>
                  <a:cubicBezTo>
                    <a:pt x="248" y="305"/>
                    <a:pt x="248" y="305"/>
                    <a:pt x="248" y="305"/>
                  </a:cubicBezTo>
                  <a:cubicBezTo>
                    <a:pt x="248" y="305"/>
                    <a:pt x="248" y="305"/>
                    <a:pt x="248" y="306"/>
                  </a:cubicBezTo>
                  <a:cubicBezTo>
                    <a:pt x="248" y="306"/>
                    <a:pt x="249" y="306"/>
                    <a:pt x="249" y="30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50" y="308"/>
                    <a:pt x="250" y="308"/>
                    <a:pt x="250" y="308"/>
                  </a:cubicBezTo>
                  <a:cubicBezTo>
                    <a:pt x="250" y="309"/>
                    <a:pt x="250" y="309"/>
                    <a:pt x="251" y="310"/>
                  </a:cubicBezTo>
                  <a:cubicBezTo>
                    <a:pt x="251" y="310"/>
                    <a:pt x="251" y="310"/>
                    <a:pt x="251" y="310"/>
                  </a:cubicBezTo>
                  <a:cubicBezTo>
                    <a:pt x="251" y="310"/>
                    <a:pt x="251" y="310"/>
                    <a:pt x="251" y="311"/>
                  </a:cubicBezTo>
                  <a:cubicBezTo>
                    <a:pt x="251" y="311"/>
                    <a:pt x="251" y="311"/>
                    <a:pt x="251" y="311"/>
                  </a:cubicBezTo>
                  <a:cubicBezTo>
                    <a:pt x="252" y="311"/>
                    <a:pt x="252" y="312"/>
                    <a:pt x="252" y="313"/>
                  </a:cubicBezTo>
                  <a:cubicBezTo>
                    <a:pt x="252" y="313"/>
                    <a:pt x="252" y="313"/>
                    <a:pt x="252" y="313"/>
                  </a:cubicBezTo>
                  <a:cubicBezTo>
                    <a:pt x="252" y="313"/>
                    <a:pt x="252" y="313"/>
                    <a:pt x="252" y="314"/>
                  </a:cubicBezTo>
                  <a:cubicBezTo>
                    <a:pt x="253" y="314"/>
                    <a:pt x="253" y="314"/>
                    <a:pt x="253" y="314"/>
                  </a:cubicBezTo>
                  <a:cubicBezTo>
                    <a:pt x="253" y="314"/>
                    <a:pt x="253" y="314"/>
                    <a:pt x="253" y="314"/>
                  </a:cubicBezTo>
                  <a:cubicBezTo>
                    <a:pt x="253" y="314"/>
                    <a:pt x="253" y="314"/>
                    <a:pt x="253" y="314"/>
                  </a:cubicBezTo>
                  <a:cubicBezTo>
                    <a:pt x="253" y="315"/>
                    <a:pt x="253" y="316"/>
                    <a:pt x="253" y="317"/>
                  </a:cubicBezTo>
                  <a:cubicBezTo>
                    <a:pt x="254" y="317"/>
                    <a:pt x="254" y="317"/>
                    <a:pt x="254" y="317"/>
                  </a:cubicBezTo>
                  <a:cubicBezTo>
                    <a:pt x="254" y="317"/>
                    <a:pt x="254" y="317"/>
                    <a:pt x="254" y="318"/>
                  </a:cubicBezTo>
                  <a:cubicBezTo>
                    <a:pt x="254" y="318"/>
                    <a:pt x="254" y="318"/>
                    <a:pt x="254" y="318"/>
                  </a:cubicBezTo>
                  <a:cubicBezTo>
                    <a:pt x="254" y="318"/>
                    <a:pt x="254" y="318"/>
                    <a:pt x="254" y="319"/>
                  </a:cubicBezTo>
                  <a:cubicBezTo>
                    <a:pt x="254" y="319"/>
                    <a:pt x="254" y="319"/>
                    <a:pt x="255" y="319"/>
                  </a:cubicBezTo>
                  <a:cubicBezTo>
                    <a:pt x="255" y="319"/>
                    <a:pt x="255" y="320"/>
                    <a:pt x="255" y="320"/>
                  </a:cubicBezTo>
                  <a:cubicBezTo>
                    <a:pt x="255" y="320"/>
                    <a:pt x="255" y="320"/>
                    <a:pt x="255" y="320"/>
                  </a:cubicBezTo>
                  <a:cubicBezTo>
                    <a:pt x="255" y="321"/>
                    <a:pt x="255" y="321"/>
                    <a:pt x="255" y="321"/>
                  </a:cubicBezTo>
                  <a:cubicBezTo>
                    <a:pt x="255" y="321"/>
                    <a:pt x="255" y="321"/>
                    <a:pt x="255" y="321"/>
                  </a:cubicBezTo>
                  <a:cubicBezTo>
                    <a:pt x="255" y="322"/>
                    <a:pt x="255" y="323"/>
                    <a:pt x="256" y="324"/>
                  </a:cubicBezTo>
                  <a:cubicBezTo>
                    <a:pt x="256" y="324"/>
                    <a:pt x="256" y="324"/>
                    <a:pt x="256" y="324"/>
                  </a:cubicBezTo>
                  <a:cubicBezTo>
                    <a:pt x="256" y="324"/>
                    <a:pt x="256" y="325"/>
                    <a:pt x="256" y="325"/>
                  </a:cubicBezTo>
                  <a:cubicBezTo>
                    <a:pt x="256" y="325"/>
                    <a:pt x="256" y="325"/>
                    <a:pt x="256" y="325"/>
                  </a:cubicBezTo>
                  <a:cubicBezTo>
                    <a:pt x="256" y="326"/>
                    <a:pt x="256" y="326"/>
                    <a:pt x="256" y="326"/>
                  </a:cubicBezTo>
                  <a:cubicBezTo>
                    <a:pt x="256" y="326"/>
                    <a:pt x="257" y="326"/>
                    <a:pt x="257" y="326"/>
                  </a:cubicBezTo>
                  <a:cubicBezTo>
                    <a:pt x="257" y="327"/>
                    <a:pt x="257" y="327"/>
                    <a:pt x="257" y="327"/>
                  </a:cubicBezTo>
                  <a:cubicBezTo>
                    <a:pt x="257" y="327"/>
                    <a:pt x="257" y="327"/>
                    <a:pt x="257" y="327"/>
                  </a:cubicBezTo>
                  <a:cubicBezTo>
                    <a:pt x="257" y="328"/>
                    <a:pt x="257" y="328"/>
                    <a:pt x="257" y="329"/>
                  </a:cubicBezTo>
                  <a:cubicBezTo>
                    <a:pt x="257" y="329"/>
                    <a:pt x="258" y="329"/>
                    <a:pt x="258" y="329"/>
                  </a:cubicBezTo>
                  <a:cubicBezTo>
                    <a:pt x="258" y="330"/>
                    <a:pt x="258" y="330"/>
                    <a:pt x="258" y="331"/>
                  </a:cubicBezTo>
                  <a:cubicBezTo>
                    <a:pt x="258" y="331"/>
                    <a:pt x="258" y="331"/>
                    <a:pt x="258" y="331"/>
                  </a:cubicBezTo>
                  <a:cubicBezTo>
                    <a:pt x="258" y="331"/>
                    <a:pt x="258" y="331"/>
                    <a:pt x="258" y="332"/>
                  </a:cubicBezTo>
                  <a:cubicBezTo>
                    <a:pt x="259" y="332"/>
                    <a:pt x="259" y="332"/>
                    <a:pt x="259" y="332"/>
                  </a:cubicBezTo>
                  <a:cubicBezTo>
                    <a:pt x="259" y="332"/>
                    <a:pt x="259" y="333"/>
                    <a:pt x="259" y="334"/>
                  </a:cubicBezTo>
                  <a:cubicBezTo>
                    <a:pt x="260" y="334"/>
                    <a:pt x="260" y="334"/>
                    <a:pt x="260" y="334"/>
                  </a:cubicBezTo>
                  <a:cubicBezTo>
                    <a:pt x="260" y="334"/>
                    <a:pt x="260" y="334"/>
                    <a:pt x="260" y="334"/>
                  </a:cubicBezTo>
                  <a:cubicBezTo>
                    <a:pt x="260" y="334"/>
                    <a:pt x="260" y="334"/>
                    <a:pt x="260" y="334"/>
                  </a:cubicBezTo>
                  <a:cubicBezTo>
                    <a:pt x="260" y="335"/>
                    <a:pt x="260" y="335"/>
                    <a:pt x="260" y="336"/>
                  </a:cubicBezTo>
                  <a:cubicBezTo>
                    <a:pt x="261" y="336"/>
                    <a:pt x="261" y="336"/>
                    <a:pt x="261" y="336"/>
                  </a:cubicBezTo>
                  <a:cubicBezTo>
                    <a:pt x="261" y="337"/>
                    <a:pt x="262" y="338"/>
                    <a:pt x="262" y="338"/>
                  </a:cubicBezTo>
                  <a:cubicBezTo>
                    <a:pt x="262" y="338"/>
                    <a:pt x="262" y="338"/>
                    <a:pt x="263" y="339"/>
                  </a:cubicBezTo>
                  <a:cubicBezTo>
                    <a:pt x="263" y="339"/>
                    <a:pt x="263" y="339"/>
                    <a:pt x="263" y="339"/>
                  </a:cubicBezTo>
                  <a:cubicBezTo>
                    <a:pt x="263" y="339"/>
                    <a:pt x="263" y="339"/>
                    <a:pt x="263" y="339"/>
                  </a:cubicBezTo>
                  <a:cubicBezTo>
                    <a:pt x="263" y="340"/>
                    <a:pt x="263" y="340"/>
                    <a:pt x="263" y="340"/>
                  </a:cubicBezTo>
                  <a:cubicBezTo>
                    <a:pt x="264" y="340"/>
                    <a:pt x="264" y="341"/>
                    <a:pt x="264" y="341"/>
                  </a:cubicBezTo>
                  <a:cubicBezTo>
                    <a:pt x="264" y="341"/>
                    <a:pt x="264" y="341"/>
                    <a:pt x="264" y="341"/>
                  </a:cubicBezTo>
                  <a:cubicBezTo>
                    <a:pt x="264" y="341"/>
                    <a:pt x="264" y="342"/>
                    <a:pt x="265" y="342"/>
                  </a:cubicBezTo>
                  <a:cubicBezTo>
                    <a:pt x="265" y="342"/>
                    <a:pt x="265" y="342"/>
                    <a:pt x="265" y="342"/>
                  </a:cubicBezTo>
                  <a:cubicBezTo>
                    <a:pt x="265" y="343"/>
                    <a:pt x="266" y="343"/>
                    <a:pt x="266" y="343"/>
                  </a:cubicBezTo>
                  <a:cubicBezTo>
                    <a:pt x="267" y="345"/>
                    <a:pt x="267" y="345"/>
                    <a:pt x="268" y="346"/>
                  </a:cubicBezTo>
                  <a:cubicBezTo>
                    <a:pt x="268" y="349"/>
                    <a:pt x="269" y="351"/>
                    <a:pt x="269" y="353"/>
                  </a:cubicBezTo>
                  <a:cubicBezTo>
                    <a:pt x="269" y="354"/>
                    <a:pt x="269" y="356"/>
                    <a:pt x="269" y="357"/>
                  </a:cubicBezTo>
                  <a:cubicBezTo>
                    <a:pt x="269" y="357"/>
                    <a:pt x="269" y="357"/>
                    <a:pt x="270" y="357"/>
                  </a:cubicBezTo>
                  <a:cubicBezTo>
                    <a:pt x="269" y="359"/>
                    <a:pt x="269" y="360"/>
                    <a:pt x="269" y="362"/>
                  </a:cubicBezTo>
                  <a:cubicBezTo>
                    <a:pt x="268" y="363"/>
                    <a:pt x="269" y="362"/>
                    <a:pt x="268" y="363"/>
                  </a:cubicBezTo>
                  <a:cubicBezTo>
                    <a:pt x="268" y="364"/>
                    <a:pt x="267" y="364"/>
                    <a:pt x="266" y="364"/>
                  </a:cubicBezTo>
                  <a:cubicBezTo>
                    <a:pt x="266" y="365"/>
                    <a:pt x="266" y="365"/>
                    <a:pt x="266" y="365"/>
                  </a:cubicBezTo>
                  <a:cubicBezTo>
                    <a:pt x="266" y="365"/>
                    <a:pt x="266" y="365"/>
                    <a:pt x="266" y="365"/>
                  </a:cubicBezTo>
                  <a:cubicBezTo>
                    <a:pt x="266" y="365"/>
                    <a:pt x="266" y="365"/>
                    <a:pt x="266" y="365"/>
                  </a:cubicBezTo>
                  <a:cubicBezTo>
                    <a:pt x="265" y="365"/>
                    <a:pt x="264" y="366"/>
                    <a:pt x="264" y="366"/>
                  </a:cubicBezTo>
                  <a:cubicBezTo>
                    <a:pt x="264" y="366"/>
                    <a:pt x="264" y="366"/>
                    <a:pt x="264" y="366"/>
                  </a:cubicBezTo>
                  <a:cubicBezTo>
                    <a:pt x="263" y="366"/>
                    <a:pt x="262" y="367"/>
                    <a:pt x="260" y="367"/>
                  </a:cubicBezTo>
                  <a:cubicBezTo>
                    <a:pt x="260" y="367"/>
                    <a:pt x="260" y="367"/>
                    <a:pt x="260" y="367"/>
                  </a:cubicBezTo>
                  <a:cubicBezTo>
                    <a:pt x="255" y="368"/>
                    <a:pt x="250" y="368"/>
                    <a:pt x="245" y="369"/>
                  </a:cubicBezTo>
                  <a:cubicBezTo>
                    <a:pt x="245" y="369"/>
                    <a:pt x="245" y="369"/>
                    <a:pt x="245" y="369"/>
                  </a:cubicBezTo>
                  <a:cubicBezTo>
                    <a:pt x="244" y="369"/>
                    <a:pt x="244" y="370"/>
                    <a:pt x="243" y="370"/>
                  </a:cubicBezTo>
                  <a:cubicBezTo>
                    <a:pt x="243" y="370"/>
                    <a:pt x="243" y="370"/>
                    <a:pt x="243" y="370"/>
                  </a:cubicBezTo>
                  <a:cubicBezTo>
                    <a:pt x="243" y="370"/>
                    <a:pt x="243" y="370"/>
                    <a:pt x="242" y="370"/>
                  </a:cubicBezTo>
                  <a:cubicBezTo>
                    <a:pt x="242" y="370"/>
                    <a:pt x="242" y="370"/>
                    <a:pt x="242" y="370"/>
                  </a:cubicBezTo>
                  <a:cubicBezTo>
                    <a:pt x="242" y="370"/>
                    <a:pt x="241" y="370"/>
                    <a:pt x="241" y="370"/>
                  </a:cubicBezTo>
                  <a:cubicBezTo>
                    <a:pt x="238" y="371"/>
                    <a:pt x="235" y="371"/>
                    <a:pt x="231" y="371"/>
                  </a:cubicBezTo>
                  <a:cubicBezTo>
                    <a:pt x="229" y="371"/>
                    <a:pt x="228" y="371"/>
                    <a:pt x="226" y="371"/>
                  </a:cubicBezTo>
                  <a:cubicBezTo>
                    <a:pt x="226" y="371"/>
                    <a:pt x="226" y="371"/>
                    <a:pt x="226" y="371"/>
                  </a:cubicBezTo>
                  <a:cubicBezTo>
                    <a:pt x="225" y="371"/>
                    <a:pt x="224" y="371"/>
                    <a:pt x="223" y="371"/>
                  </a:cubicBezTo>
                  <a:cubicBezTo>
                    <a:pt x="223" y="371"/>
                    <a:pt x="223" y="371"/>
                    <a:pt x="223" y="371"/>
                  </a:cubicBezTo>
                  <a:cubicBezTo>
                    <a:pt x="222" y="371"/>
                    <a:pt x="221" y="371"/>
                    <a:pt x="220" y="371"/>
                  </a:cubicBezTo>
                  <a:cubicBezTo>
                    <a:pt x="220" y="371"/>
                    <a:pt x="220" y="371"/>
                    <a:pt x="220" y="370"/>
                  </a:cubicBezTo>
                  <a:cubicBezTo>
                    <a:pt x="219" y="370"/>
                    <a:pt x="218" y="370"/>
                    <a:pt x="217" y="370"/>
                  </a:cubicBezTo>
                  <a:cubicBezTo>
                    <a:pt x="217" y="370"/>
                    <a:pt x="217" y="370"/>
                    <a:pt x="217" y="370"/>
                  </a:cubicBezTo>
                  <a:cubicBezTo>
                    <a:pt x="216" y="370"/>
                    <a:pt x="215" y="370"/>
                    <a:pt x="214" y="370"/>
                  </a:cubicBezTo>
                  <a:cubicBezTo>
                    <a:pt x="214" y="370"/>
                    <a:pt x="214" y="370"/>
                    <a:pt x="214" y="370"/>
                  </a:cubicBezTo>
                  <a:cubicBezTo>
                    <a:pt x="212" y="370"/>
                    <a:pt x="211" y="370"/>
                    <a:pt x="209" y="370"/>
                  </a:cubicBezTo>
                  <a:cubicBezTo>
                    <a:pt x="209" y="370"/>
                    <a:pt x="209" y="369"/>
                    <a:pt x="209" y="369"/>
                  </a:cubicBezTo>
                  <a:cubicBezTo>
                    <a:pt x="207" y="369"/>
                    <a:pt x="206" y="369"/>
                    <a:pt x="204" y="369"/>
                  </a:cubicBezTo>
                  <a:cubicBezTo>
                    <a:pt x="204" y="369"/>
                    <a:pt x="204" y="370"/>
                    <a:pt x="204" y="370"/>
                  </a:cubicBezTo>
                  <a:cubicBezTo>
                    <a:pt x="203" y="370"/>
                    <a:pt x="202" y="370"/>
                    <a:pt x="201" y="370"/>
                  </a:cubicBezTo>
                  <a:cubicBezTo>
                    <a:pt x="201" y="370"/>
                    <a:pt x="201" y="370"/>
                    <a:pt x="201" y="370"/>
                  </a:cubicBezTo>
                  <a:cubicBezTo>
                    <a:pt x="200" y="370"/>
                    <a:pt x="200" y="370"/>
                    <a:pt x="199" y="370"/>
                  </a:cubicBezTo>
                  <a:cubicBezTo>
                    <a:pt x="199" y="370"/>
                    <a:pt x="199" y="370"/>
                    <a:pt x="199" y="370"/>
                  </a:cubicBezTo>
                  <a:cubicBezTo>
                    <a:pt x="198" y="370"/>
                    <a:pt x="198" y="370"/>
                    <a:pt x="198" y="370"/>
                  </a:cubicBezTo>
                  <a:cubicBezTo>
                    <a:pt x="198" y="371"/>
                    <a:pt x="198" y="371"/>
                    <a:pt x="198" y="371"/>
                  </a:cubicBezTo>
                  <a:cubicBezTo>
                    <a:pt x="197" y="371"/>
                    <a:pt x="197" y="371"/>
                    <a:pt x="196" y="371"/>
                  </a:cubicBezTo>
                  <a:cubicBezTo>
                    <a:pt x="196" y="371"/>
                    <a:pt x="196" y="371"/>
                    <a:pt x="196" y="371"/>
                  </a:cubicBezTo>
                  <a:cubicBezTo>
                    <a:pt x="196" y="371"/>
                    <a:pt x="195" y="371"/>
                    <a:pt x="195" y="371"/>
                  </a:cubicBezTo>
                  <a:cubicBezTo>
                    <a:pt x="195" y="372"/>
                    <a:pt x="195" y="372"/>
                    <a:pt x="194" y="372"/>
                  </a:cubicBezTo>
                  <a:cubicBezTo>
                    <a:pt x="194" y="373"/>
                    <a:pt x="193" y="373"/>
                    <a:pt x="192" y="374"/>
                  </a:cubicBezTo>
                  <a:cubicBezTo>
                    <a:pt x="192" y="374"/>
                    <a:pt x="192" y="374"/>
                    <a:pt x="192" y="374"/>
                  </a:cubicBezTo>
                  <a:cubicBezTo>
                    <a:pt x="192" y="375"/>
                    <a:pt x="192" y="375"/>
                    <a:pt x="192" y="375"/>
                  </a:cubicBezTo>
                </a:path>
              </a:pathLst>
            </a:custGeom>
            <a:grpFill/>
            <a:ln w="6350">
              <a:solidFill>
                <a:schemeClr val="bg1"/>
              </a:solidFill>
            </a:ln>
            <a:effectLst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64800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4000" b="1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0000"/>
                </a:solidFill>
                <a:latin typeface="UKIJ Qolyazma" pitchFamily="18" charset="0"/>
                <a:cs typeface="UKIJ Qolyazma" pitchFamily="18" charset="0"/>
              </a:endParaRPr>
            </a:p>
          </p:txBody>
        </p:sp>
        <p:sp>
          <p:nvSpPr>
            <p:cNvPr id="120" name="Freeform 31">
              <a:extLst>
                <a:ext uri="{FF2B5EF4-FFF2-40B4-BE49-F238E27FC236}">
                  <a16:creationId xmlns:a16="http://schemas.microsoft.com/office/drawing/2014/main" id="{399FA409-9ED2-5888-5C9C-9AB58D042B9F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5228" y="3447988"/>
              <a:ext cx="835822" cy="720536"/>
            </a:xfrm>
            <a:custGeom>
              <a:avLst/>
              <a:gdLst>
                <a:gd name="T0" fmla="*/ 373 w 384"/>
                <a:gd name="T1" fmla="*/ 48 h 331"/>
                <a:gd name="T2" fmla="*/ 367 w 384"/>
                <a:gd name="T3" fmla="*/ 59 h 331"/>
                <a:gd name="T4" fmla="*/ 367 w 384"/>
                <a:gd name="T5" fmla="*/ 76 h 331"/>
                <a:gd name="T6" fmla="*/ 376 w 384"/>
                <a:gd name="T7" fmla="*/ 105 h 331"/>
                <a:gd name="T8" fmla="*/ 373 w 384"/>
                <a:gd name="T9" fmla="*/ 133 h 331"/>
                <a:gd name="T10" fmla="*/ 361 w 384"/>
                <a:gd name="T11" fmla="*/ 139 h 331"/>
                <a:gd name="T12" fmla="*/ 352 w 384"/>
                <a:gd name="T13" fmla="*/ 143 h 331"/>
                <a:gd name="T14" fmla="*/ 344 w 384"/>
                <a:gd name="T15" fmla="*/ 147 h 331"/>
                <a:gd name="T16" fmla="*/ 306 w 384"/>
                <a:gd name="T17" fmla="*/ 160 h 331"/>
                <a:gd name="T18" fmla="*/ 299 w 384"/>
                <a:gd name="T19" fmla="*/ 187 h 331"/>
                <a:gd name="T20" fmla="*/ 288 w 384"/>
                <a:gd name="T21" fmla="*/ 191 h 331"/>
                <a:gd name="T22" fmla="*/ 278 w 384"/>
                <a:gd name="T23" fmla="*/ 196 h 331"/>
                <a:gd name="T24" fmla="*/ 267 w 384"/>
                <a:gd name="T25" fmla="*/ 204 h 331"/>
                <a:gd name="T26" fmla="*/ 254 w 384"/>
                <a:gd name="T27" fmla="*/ 214 h 331"/>
                <a:gd name="T28" fmla="*/ 248 w 384"/>
                <a:gd name="T29" fmla="*/ 275 h 331"/>
                <a:gd name="T30" fmla="*/ 239 w 384"/>
                <a:gd name="T31" fmla="*/ 285 h 331"/>
                <a:gd name="T32" fmla="*/ 230 w 384"/>
                <a:gd name="T33" fmla="*/ 289 h 331"/>
                <a:gd name="T34" fmla="*/ 220 w 384"/>
                <a:gd name="T35" fmla="*/ 292 h 331"/>
                <a:gd name="T36" fmla="*/ 211 w 384"/>
                <a:gd name="T37" fmla="*/ 296 h 331"/>
                <a:gd name="T38" fmla="*/ 201 w 384"/>
                <a:gd name="T39" fmla="*/ 301 h 331"/>
                <a:gd name="T40" fmla="*/ 187 w 384"/>
                <a:gd name="T41" fmla="*/ 312 h 331"/>
                <a:gd name="T42" fmla="*/ 171 w 384"/>
                <a:gd name="T43" fmla="*/ 327 h 331"/>
                <a:gd name="T44" fmla="*/ 155 w 384"/>
                <a:gd name="T45" fmla="*/ 329 h 331"/>
                <a:gd name="T46" fmla="*/ 145 w 384"/>
                <a:gd name="T47" fmla="*/ 320 h 331"/>
                <a:gd name="T48" fmla="*/ 140 w 384"/>
                <a:gd name="T49" fmla="*/ 307 h 331"/>
                <a:gd name="T50" fmla="*/ 130 w 384"/>
                <a:gd name="T51" fmla="*/ 308 h 331"/>
                <a:gd name="T52" fmla="*/ 124 w 384"/>
                <a:gd name="T53" fmla="*/ 320 h 331"/>
                <a:gd name="T54" fmla="*/ 107 w 384"/>
                <a:gd name="T55" fmla="*/ 312 h 331"/>
                <a:gd name="T56" fmla="*/ 93 w 384"/>
                <a:gd name="T57" fmla="*/ 286 h 331"/>
                <a:gd name="T58" fmla="*/ 78 w 384"/>
                <a:gd name="T59" fmla="*/ 284 h 331"/>
                <a:gd name="T60" fmla="*/ 65 w 384"/>
                <a:gd name="T61" fmla="*/ 295 h 331"/>
                <a:gd name="T62" fmla="*/ 52 w 384"/>
                <a:gd name="T63" fmla="*/ 296 h 331"/>
                <a:gd name="T64" fmla="*/ 47 w 384"/>
                <a:gd name="T65" fmla="*/ 288 h 331"/>
                <a:gd name="T66" fmla="*/ 39 w 384"/>
                <a:gd name="T67" fmla="*/ 282 h 331"/>
                <a:gd name="T68" fmla="*/ 51 w 384"/>
                <a:gd name="T69" fmla="*/ 235 h 331"/>
                <a:gd name="T70" fmla="*/ 58 w 384"/>
                <a:gd name="T71" fmla="*/ 216 h 331"/>
                <a:gd name="T72" fmla="*/ 52 w 384"/>
                <a:gd name="T73" fmla="*/ 207 h 331"/>
                <a:gd name="T74" fmla="*/ 46 w 384"/>
                <a:gd name="T75" fmla="*/ 197 h 331"/>
                <a:gd name="T76" fmla="*/ 40 w 384"/>
                <a:gd name="T77" fmla="*/ 188 h 331"/>
                <a:gd name="T78" fmla="*/ 6 w 384"/>
                <a:gd name="T79" fmla="*/ 150 h 331"/>
                <a:gd name="T80" fmla="*/ 6 w 384"/>
                <a:gd name="T81" fmla="*/ 134 h 331"/>
                <a:gd name="T82" fmla="*/ 47 w 384"/>
                <a:gd name="T83" fmla="*/ 132 h 331"/>
                <a:gd name="T84" fmla="*/ 60 w 384"/>
                <a:gd name="T85" fmla="*/ 129 h 331"/>
                <a:gd name="T86" fmla="*/ 90 w 384"/>
                <a:gd name="T87" fmla="*/ 106 h 331"/>
                <a:gd name="T88" fmla="*/ 104 w 384"/>
                <a:gd name="T89" fmla="*/ 116 h 331"/>
                <a:gd name="T90" fmla="*/ 103 w 384"/>
                <a:gd name="T91" fmla="*/ 129 h 331"/>
                <a:gd name="T92" fmla="*/ 137 w 384"/>
                <a:gd name="T93" fmla="*/ 117 h 331"/>
                <a:gd name="T94" fmla="*/ 180 w 384"/>
                <a:gd name="T95" fmla="*/ 75 h 331"/>
                <a:gd name="T96" fmla="*/ 188 w 384"/>
                <a:gd name="T97" fmla="*/ 70 h 331"/>
                <a:gd name="T98" fmla="*/ 196 w 384"/>
                <a:gd name="T99" fmla="*/ 64 h 331"/>
                <a:gd name="T100" fmla="*/ 206 w 384"/>
                <a:gd name="T101" fmla="*/ 57 h 331"/>
                <a:gd name="T102" fmla="*/ 215 w 384"/>
                <a:gd name="T103" fmla="*/ 51 h 331"/>
                <a:gd name="T104" fmla="*/ 224 w 384"/>
                <a:gd name="T105" fmla="*/ 44 h 331"/>
                <a:gd name="T106" fmla="*/ 234 w 384"/>
                <a:gd name="T107" fmla="*/ 38 h 331"/>
                <a:gd name="T108" fmla="*/ 245 w 384"/>
                <a:gd name="T109" fmla="*/ 31 h 331"/>
                <a:gd name="T110" fmla="*/ 253 w 384"/>
                <a:gd name="T111" fmla="*/ 27 h 331"/>
                <a:gd name="T112" fmla="*/ 264 w 384"/>
                <a:gd name="T113" fmla="*/ 22 h 331"/>
                <a:gd name="T114" fmla="*/ 274 w 384"/>
                <a:gd name="T115" fmla="*/ 18 h 331"/>
                <a:gd name="T116" fmla="*/ 286 w 384"/>
                <a:gd name="T117" fmla="*/ 10 h 331"/>
                <a:gd name="T118" fmla="*/ 327 w 384"/>
                <a:gd name="T119" fmla="*/ 5 h 331"/>
                <a:gd name="T120" fmla="*/ 331 w 384"/>
                <a:gd name="T121" fmla="*/ 13 h 331"/>
                <a:gd name="T122" fmla="*/ 335 w 384"/>
                <a:gd name="T123" fmla="*/ 21 h 331"/>
                <a:gd name="T124" fmla="*/ 362 w 384"/>
                <a:gd name="T125" fmla="*/ 35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84" h="331">
                  <a:moveTo>
                    <a:pt x="384" y="34"/>
                  </a:moveTo>
                  <a:cubicBezTo>
                    <a:pt x="384" y="35"/>
                    <a:pt x="383" y="36"/>
                    <a:pt x="382" y="36"/>
                  </a:cubicBezTo>
                  <a:cubicBezTo>
                    <a:pt x="382" y="37"/>
                    <a:pt x="382" y="37"/>
                    <a:pt x="382" y="37"/>
                  </a:cubicBezTo>
                  <a:cubicBezTo>
                    <a:pt x="381" y="38"/>
                    <a:pt x="380" y="39"/>
                    <a:pt x="380" y="39"/>
                  </a:cubicBezTo>
                  <a:cubicBezTo>
                    <a:pt x="380" y="39"/>
                    <a:pt x="380" y="40"/>
                    <a:pt x="380" y="40"/>
                  </a:cubicBezTo>
                  <a:cubicBezTo>
                    <a:pt x="379" y="40"/>
                    <a:pt x="379" y="40"/>
                    <a:pt x="379" y="40"/>
                  </a:cubicBezTo>
                  <a:cubicBezTo>
                    <a:pt x="379" y="40"/>
                    <a:pt x="379" y="40"/>
                    <a:pt x="379" y="41"/>
                  </a:cubicBezTo>
                  <a:cubicBezTo>
                    <a:pt x="379" y="41"/>
                    <a:pt x="378" y="41"/>
                    <a:pt x="378" y="41"/>
                  </a:cubicBezTo>
                  <a:cubicBezTo>
                    <a:pt x="378" y="42"/>
                    <a:pt x="378" y="42"/>
                    <a:pt x="378" y="42"/>
                  </a:cubicBezTo>
                  <a:cubicBezTo>
                    <a:pt x="377" y="42"/>
                    <a:pt x="377" y="43"/>
                    <a:pt x="376" y="43"/>
                  </a:cubicBezTo>
                  <a:cubicBezTo>
                    <a:pt x="376" y="44"/>
                    <a:pt x="376" y="44"/>
                    <a:pt x="376" y="44"/>
                  </a:cubicBezTo>
                  <a:cubicBezTo>
                    <a:pt x="376" y="44"/>
                    <a:pt x="375" y="45"/>
                    <a:pt x="375" y="45"/>
                  </a:cubicBezTo>
                  <a:cubicBezTo>
                    <a:pt x="375" y="45"/>
                    <a:pt x="375" y="45"/>
                    <a:pt x="375" y="45"/>
                  </a:cubicBezTo>
                  <a:cubicBezTo>
                    <a:pt x="375" y="46"/>
                    <a:pt x="374" y="46"/>
                    <a:pt x="374" y="46"/>
                  </a:cubicBezTo>
                  <a:cubicBezTo>
                    <a:pt x="374" y="46"/>
                    <a:pt x="374" y="47"/>
                    <a:pt x="374" y="47"/>
                  </a:cubicBezTo>
                  <a:cubicBezTo>
                    <a:pt x="374" y="47"/>
                    <a:pt x="373" y="47"/>
                    <a:pt x="373" y="48"/>
                  </a:cubicBezTo>
                  <a:cubicBezTo>
                    <a:pt x="373" y="48"/>
                    <a:pt x="373" y="48"/>
                    <a:pt x="373" y="48"/>
                  </a:cubicBezTo>
                  <a:cubicBezTo>
                    <a:pt x="373" y="48"/>
                    <a:pt x="373" y="49"/>
                    <a:pt x="372" y="49"/>
                  </a:cubicBezTo>
                  <a:cubicBezTo>
                    <a:pt x="372" y="49"/>
                    <a:pt x="372" y="49"/>
                    <a:pt x="372" y="49"/>
                  </a:cubicBezTo>
                  <a:cubicBezTo>
                    <a:pt x="372" y="50"/>
                    <a:pt x="372" y="50"/>
                    <a:pt x="371" y="50"/>
                  </a:cubicBezTo>
                  <a:cubicBezTo>
                    <a:pt x="371" y="51"/>
                    <a:pt x="371" y="51"/>
                    <a:pt x="371" y="51"/>
                  </a:cubicBezTo>
                  <a:cubicBezTo>
                    <a:pt x="371" y="52"/>
                    <a:pt x="370" y="52"/>
                    <a:pt x="370" y="52"/>
                  </a:cubicBezTo>
                  <a:cubicBezTo>
                    <a:pt x="370" y="52"/>
                    <a:pt x="370" y="52"/>
                    <a:pt x="370" y="53"/>
                  </a:cubicBezTo>
                  <a:cubicBezTo>
                    <a:pt x="370" y="53"/>
                    <a:pt x="370" y="53"/>
                    <a:pt x="370" y="53"/>
                  </a:cubicBezTo>
                  <a:cubicBezTo>
                    <a:pt x="369" y="54"/>
                    <a:pt x="369" y="54"/>
                    <a:pt x="369" y="55"/>
                  </a:cubicBezTo>
                  <a:cubicBezTo>
                    <a:pt x="369" y="55"/>
                    <a:pt x="369" y="55"/>
                    <a:pt x="368" y="55"/>
                  </a:cubicBezTo>
                  <a:cubicBezTo>
                    <a:pt x="368" y="55"/>
                    <a:pt x="368" y="55"/>
                    <a:pt x="368" y="56"/>
                  </a:cubicBezTo>
                  <a:cubicBezTo>
                    <a:pt x="368" y="56"/>
                    <a:pt x="368" y="56"/>
                    <a:pt x="368" y="56"/>
                  </a:cubicBezTo>
                  <a:cubicBezTo>
                    <a:pt x="368" y="56"/>
                    <a:pt x="368" y="57"/>
                    <a:pt x="367" y="58"/>
                  </a:cubicBezTo>
                  <a:cubicBezTo>
                    <a:pt x="367" y="58"/>
                    <a:pt x="367" y="58"/>
                    <a:pt x="367" y="58"/>
                  </a:cubicBezTo>
                  <a:cubicBezTo>
                    <a:pt x="367" y="58"/>
                    <a:pt x="367" y="58"/>
                    <a:pt x="367" y="59"/>
                  </a:cubicBezTo>
                  <a:cubicBezTo>
                    <a:pt x="367" y="59"/>
                    <a:pt x="367" y="59"/>
                    <a:pt x="367" y="59"/>
                  </a:cubicBezTo>
                  <a:cubicBezTo>
                    <a:pt x="367" y="59"/>
                    <a:pt x="367" y="59"/>
                    <a:pt x="367" y="59"/>
                  </a:cubicBezTo>
                  <a:cubicBezTo>
                    <a:pt x="367" y="59"/>
                    <a:pt x="367" y="59"/>
                    <a:pt x="366" y="59"/>
                  </a:cubicBezTo>
                  <a:cubicBezTo>
                    <a:pt x="366" y="60"/>
                    <a:pt x="366" y="60"/>
                    <a:pt x="366" y="61"/>
                  </a:cubicBezTo>
                  <a:cubicBezTo>
                    <a:pt x="366" y="61"/>
                    <a:pt x="366" y="61"/>
                    <a:pt x="366" y="61"/>
                  </a:cubicBezTo>
                  <a:cubicBezTo>
                    <a:pt x="366" y="62"/>
                    <a:pt x="364" y="68"/>
                    <a:pt x="365" y="70"/>
                  </a:cubicBezTo>
                  <a:cubicBezTo>
                    <a:pt x="365" y="70"/>
                    <a:pt x="365" y="70"/>
                    <a:pt x="365" y="70"/>
                  </a:cubicBezTo>
                  <a:cubicBezTo>
                    <a:pt x="365" y="71"/>
                    <a:pt x="365" y="71"/>
                    <a:pt x="365" y="72"/>
                  </a:cubicBezTo>
                  <a:cubicBezTo>
                    <a:pt x="365" y="72"/>
                    <a:pt x="366" y="72"/>
                    <a:pt x="366" y="72"/>
                  </a:cubicBezTo>
                  <a:cubicBezTo>
                    <a:pt x="366" y="73"/>
                    <a:pt x="366" y="73"/>
                    <a:pt x="366" y="73"/>
                  </a:cubicBezTo>
                  <a:cubicBezTo>
                    <a:pt x="366" y="73"/>
                    <a:pt x="366" y="73"/>
                    <a:pt x="366" y="73"/>
                  </a:cubicBezTo>
                  <a:cubicBezTo>
                    <a:pt x="366" y="74"/>
                    <a:pt x="366" y="74"/>
                    <a:pt x="366" y="75"/>
                  </a:cubicBezTo>
                  <a:cubicBezTo>
                    <a:pt x="366" y="75"/>
                    <a:pt x="366" y="75"/>
                    <a:pt x="366" y="75"/>
                  </a:cubicBezTo>
                  <a:cubicBezTo>
                    <a:pt x="366" y="75"/>
                    <a:pt x="366" y="75"/>
                    <a:pt x="366" y="75"/>
                  </a:cubicBezTo>
                  <a:cubicBezTo>
                    <a:pt x="367" y="75"/>
                    <a:pt x="367" y="75"/>
                    <a:pt x="367" y="75"/>
                  </a:cubicBezTo>
                  <a:cubicBezTo>
                    <a:pt x="367" y="76"/>
                    <a:pt x="367" y="76"/>
                    <a:pt x="367" y="76"/>
                  </a:cubicBezTo>
                  <a:cubicBezTo>
                    <a:pt x="367" y="76"/>
                    <a:pt x="367" y="76"/>
                    <a:pt x="367" y="76"/>
                  </a:cubicBezTo>
                  <a:cubicBezTo>
                    <a:pt x="367" y="77"/>
                    <a:pt x="367" y="77"/>
                    <a:pt x="367" y="77"/>
                  </a:cubicBezTo>
                  <a:cubicBezTo>
                    <a:pt x="367" y="77"/>
                    <a:pt x="367" y="77"/>
                    <a:pt x="367" y="77"/>
                  </a:cubicBezTo>
                  <a:cubicBezTo>
                    <a:pt x="367" y="77"/>
                    <a:pt x="367" y="77"/>
                    <a:pt x="367" y="78"/>
                  </a:cubicBezTo>
                  <a:cubicBezTo>
                    <a:pt x="368" y="78"/>
                    <a:pt x="368" y="78"/>
                    <a:pt x="368" y="78"/>
                  </a:cubicBezTo>
                  <a:cubicBezTo>
                    <a:pt x="368" y="78"/>
                    <a:pt x="368" y="79"/>
                    <a:pt x="368" y="79"/>
                  </a:cubicBezTo>
                  <a:cubicBezTo>
                    <a:pt x="369" y="80"/>
                    <a:pt x="369" y="80"/>
                    <a:pt x="370" y="80"/>
                  </a:cubicBezTo>
                  <a:cubicBezTo>
                    <a:pt x="370" y="80"/>
                    <a:pt x="370" y="81"/>
                    <a:pt x="370" y="81"/>
                  </a:cubicBezTo>
                  <a:cubicBezTo>
                    <a:pt x="370" y="81"/>
                    <a:pt x="370" y="81"/>
                    <a:pt x="371" y="82"/>
                  </a:cubicBezTo>
                  <a:cubicBezTo>
                    <a:pt x="371" y="82"/>
                    <a:pt x="371" y="82"/>
                    <a:pt x="371" y="82"/>
                  </a:cubicBezTo>
                  <a:cubicBezTo>
                    <a:pt x="371" y="82"/>
                    <a:pt x="371" y="82"/>
                    <a:pt x="371" y="83"/>
                  </a:cubicBezTo>
                  <a:cubicBezTo>
                    <a:pt x="372" y="83"/>
                    <a:pt x="372" y="83"/>
                    <a:pt x="372" y="84"/>
                  </a:cubicBezTo>
                  <a:cubicBezTo>
                    <a:pt x="374" y="86"/>
                    <a:pt x="377" y="87"/>
                    <a:pt x="378" y="91"/>
                  </a:cubicBezTo>
                  <a:cubicBezTo>
                    <a:pt x="378" y="92"/>
                    <a:pt x="378" y="94"/>
                    <a:pt x="378" y="96"/>
                  </a:cubicBezTo>
                  <a:cubicBezTo>
                    <a:pt x="378" y="96"/>
                    <a:pt x="378" y="96"/>
                    <a:pt x="378" y="96"/>
                  </a:cubicBezTo>
                  <a:cubicBezTo>
                    <a:pt x="378" y="96"/>
                    <a:pt x="378" y="97"/>
                    <a:pt x="378" y="98"/>
                  </a:cubicBezTo>
                  <a:cubicBezTo>
                    <a:pt x="377" y="100"/>
                    <a:pt x="377" y="103"/>
                    <a:pt x="376" y="105"/>
                  </a:cubicBezTo>
                  <a:cubicBezTo>
                    <a:pt x="376" y="106"/>
                    <a:pt x="376" y="107"/>
                    <a:pt x="376" y="108"/>
                  </a:cubicBezTo>
                  <a:cubicBezTo>
                    <a:pt x="376" y="108"/>
                    <a:pt x="376" y="108"/>
                    <a:pt x="376" y="108"/>
                  </a:cubicBezTo>
                  <a:cubicBezTo>
                    <a:pt x="376" y="108"/>
                    <a:pt x="376" y="108"/>
                    <a:pt x="376" y="108"/>
                  </a:cubicBezTo>
                  <a:cubicBezTo>
                    <a:pt x="376" y="110"/>
                    <a:pt x="376" y="112"/>
                    <a:pt x="376" y="114"/>
                  </a:cubicBezTo>
                  <a:cubicBezTo>
                    <a:pt x="376" y="114"/>
                    <a:pt x="376" y="114"/>
                    <a:pt x="377" y="114"/>
                  </a:cubicBezTo>
                  <a:cubicBezTo>
                    <a:pt x="377" y="116"/>
                    <a:pt x="377" y="117"/>
                    <a:pt x="377" y="119"/>
                  </a:cubicBezTo>
                  <a:cubicBezTo>
                    <a:pt x="377" y="122"/>
                    <a:pt x="377" y="126"/>
                    <a:pt x="377" y="129"/>
                  </a:cubicBezTo>
                  <a:cubicBezTo>
                    <a:pt x="376" y="129"/>
                    <a:pt x="376" y="129"/>
                    <a:pt x="376" y="129"/>
                  </a:cubicBezTo>
                  <a:cubicBezTo>
                    <a:pt x="376" y="130"/>
                    <a:pt x="376" y="131"/>
                    <a:pt x="376" y="131"/>
                  </a:cubicBezTo>
                  <a:cubicBezTo>
                    <a:pt x="376" y="131"/>
                    <a:pt x="375" y="132"/>
                    <a:pt x="375" y="132"/>
                  </a:cubicBezTo>
                  <a:cubicBezTo>
                    <a:pt x="375" y="132"/>
                    <a:pt x="375" y="132"/>
                    <a:pt x="375" y="132"/>
                  </a:cubicBezTo>
                  <a:cubicBezTo>
                    <a:pt x="375" y="132"/>
                    <a:pt x="375" y="132"/>
                    <a:pt x="374" y="132"/>
                  </a:cubicBezTo>
                  <a:cubicBezTo>
                    <a:pt x="374" y="132"/>
                    <a:pt x="374" y="133"/>
                    <a:pt x="374" y="133"/>
                  </a:cubicBezTo>
                  <a:cubicBezTo>
                    <a:pt x="374" y="133"/>
                    <a:pt x="374" y="133"/>
                    <a:pt x="373" y="133"/>
                  </a:cubicBezTo>
                  <a:cubicBezTo>
                    <a:pt x="373" y="133"/>
                    <a:pt x="373" y="133"/>
                    <a:pt x="373" y="133"/>
                  </a:cubicBezTo>
                  <a:cubicBezTo>
                    <a:pt x="373" y="133"/>
                    <a:pt x="373" y="133"/>
                    <a:pt x="373" y="133"/>
                  </a:cubicBezTo>
                  <a:cubicBezTo>
                    <a:pt x="373" y="134"/>
                    <a:pt x="372" y="134"/>
                    <a:pt x="372" y="134"/>
                  </a:cubicBezTo>
                  <a:cubicBezTo>
                    <a:pt x="372" y="134"/>
                    <a:pt x="371" y="134"/>
                    <a:pt x="371" y="134"/>
                  </a:cubicBezTo>
                  <a:cubicBezTo>
                    <a:pt x="371" y="135"/>
                    <a:pt x="371" y="135"/>
                    <a:pt x="371" y="135"/>
                  </a:cubicBezTo>
                  <a:cubicBezTo>
                    <a:pt x="370" y="135"/>
                    <a:pt x="369" y="135"/>
                    <a:pt x="368" y="136"/>
                  </a:cubicBezTo>
                  <a:cubicBezTo>
                    <a:pt x="368" y="136"/>
                    <a:pt x="368" y="136"/>
                    <a:pt x="368" y="136"/>
                  </a:cubicBezTo>
                  <a:cubicBezTo>
                    <a:pt x="368" y="136"/>
                    <a:pt x="368" y="136"/>
                    <a:pt x="368" y="136"/>
                  </a:cubicBezTo>
                  <a:cubicBezTo>
                    <a:pt x="368" y="136"/>
                    <a:pt x="368" y="136"/>
                    <a:pt x="368" y="136"/>
                  </a:cubicBezTo>
                  <a:cubicBezTo>
                    <a:pt x="368" y="136"/>
                    <a:pt x="367" y="136"/>
                    <a:pt x="367" y="136"/>
                  </a:cubicBezTo>
                  <a:cubicBezTo>
                    <a:pt x="367" y="137"/>
                    <a:pt x="367" y="137"/>
                    <a:pt x="367" y="137"/>
                  </a:cubicBezTo>
                  <a:cubicBezTo>
                    <a:pt x="366" y="137"/>
                    <a:pt x="366" y="137"/>
                    <a:pt x="365" y="137"/>
                  </a:cubicBezTo>
                  <a:cubicBezTo>
                    <a:pt x="365" y="138"/>
                    <a:pt x="365" y="138"/>
                    <a:pt x="365" y="138"/>
                  </a:cubicBezTo>
                  <a:cubicBezTo>
                    <a:pt x="365" y="138"/>
                    <a:pt x="364" y="138"/>
                    <a:pt x="364" y="138"/>
                  </a:cubicBezTo>
                  <a:cubicBezTo>
                    <a:pt x="364" y="138"/>
                    <a:pt x="364" y="138"/>
                    <a:pt x="364" y="138"/>
                  </a:cubicBezTo>
                  <a:cubicBezTo>
                    <a:pt x="364" y="138"/>
                    <a:pt x="363" y="138"/>
                    <a:pt x="363" y="138"/>
                  </a:cubicBezTo>
                  <a:cubicBezTo>
                    <a:pt x="363" y="138"/>
                    <a:pt x="363" y="138"/>
                    <a:pt x="363" y="139"/>
                  </a:cubicBezTo>
                  <a:cubicBezTo>
                    <a:pt x="363" y="139"/>
                    <a:pt x="362" y="139"/>
                    <a:pt x="361" y="139"/>
                  </a:cubicBezTo>
                  <a:cubicBezTo>
                    <a:pt x="361" y="139"/>
                    <a:pt x="361" y="139"/>
                    <a:pt x="361" y="140"/>
                  </a:cubicBezTo>
                  <a:cubicBezTo>
                    <a:pt x="361" y="140"/>
                    <a:pt x="360" y="140"/>
                    <a:pt x="360" y="140"/>
                  </a:cubicBezTo>
                  <a:cubicBezTo>
                    <a:pt x="360" y="140"/>
                    <a:pt x="360" y="140"/>
                    <a:pt x="360" y="140"/>
                  </a:cubicBezTo>
                  <a:cubicBezTo>
                    <a:pt x="360" y="140"/>
                    <a:pt x="359" y="140"/>
                    <a:pt x="359" y="140"/>
                  </a:cubicBezTo>
                  <a:cubicBezTo>
                    <a:pt x="359" y="140"/>
                    <a:pt x="359" y="141"/>
                    <a:pt x="359" y="141"/>
                  </a:cubicBezTo>
                  <a:cubicBezTo>
                    <a:pt x="358" y="141"/>
                    <a:pt x="358" y="141"/>
                    <a:pt x="358" y="141"/>
                  </a:cubicBezTo>
                  <a:cubicBezTo>
                    <a:pt x="358" y="141"/>
                    <a:pt x="358" y="141"/>
                    <a:pt x="358" y="141"/>
                  </a:cubicBezTo>
                  <a:cubicBezTo>
                    <a:pt x="357" y="141"/>
                    <a:pt x="357" y="141"/>
                    <a:pt x="356" y="141"/>
                  </a:cubicBezTo>
                  <a:cubicBezTo>
                    <a:pt x="356" y="141"/>
                    <a:pt x="356" y="142"/>
                    <a:pt x="356" y="142"/>
                  </a:cubicBezTo>
                  <a:cubicBezTo>
                    <a:pt x="356" y="142"/>
                    <a:pt x="356" y="142"/>
                    <a:pt x="355" y="142"/>
                  </a:cubicBezTo>
                  <a:cubicBezTo>
                    <a:pt x="355" y="142"/>
                    <a:pt x="355" y="142"/>
                    <a:pt x="355" y="142"/>
                  </a:cubicBezTo>
                  <a:cubicBezTo>
                    <a:pt x="355" y="142"/>
                    <a:pt x="354" y="142"/>
                    <a:pt x="354" y="142"/>
                  </a:cubicBezTo>
                  <a:cubicBezTo>
                    <a:pt x="354" y="142"/>
                    <a:pt x="354" y="143"/>
                    <a:pt x="354" y="143"/>
                  </a:cubicBezTo>
                  <a:cubicBezTo>
                    <a:pt x="353" y="143"/>
                    <a:pt x="353" y="143"/>
                    <a:pt x="353" y="143"/>
                  </a:cubicBezTo>
                  <a:cubicBezTo>
                    <a:pt x="353" y="143"/>
                    <a:pt x="353" y="143"/>
                    <a:pt x="353" y="143"/>
                  </a:cubicBezTo>
                  <a:cubicBezTo>
                    <a:pt x="353" y="143"/>
                    <a:pt x="352" y="143"/>
                    <a:pt x="352" y="143"/>
                  </a:cubicBezTo>
                  <a:cubicBezTo>
                    <a:pt x="352" y="143"/>
                    <a:pt x="352" y="143"/>
                    <a:pt x="352" y="143"/>
                  </a:cubicBezTo>
                  <a:cubicBezTo>
                    <a:pt x="352" y="143"/>
                    <a:pt x="351" y="143"/>
                    <a:pt x="351" y="143"/>
                  </a:cubicBezTo>
                  <a:cubicBezTo>
                    <a:pt x="351" y="144"/>
                    <a:pt x="351" y="144"/>
                    <a:pt x="351" y="144"/>
                  </a:cubicBezTo>
                  <a:cubicBezTo>
                    <a:pt x="351" y="144"/>
                    <a:pt x="350" y="144"/>
                    <a:pt x="350" y="144"/>
                  </a:cubicBezTo>
                  <a:cubicBezTo>
                    <a:pt x="350" y="144"/>
                    <a:pt x="350" y="144"/>
                    <a:pt x="350" y="144"/>
                  </a:cubicBezTo>
                  <a:cubicBezTo>
                    <a:pt x="349" y="144"/>
                    <a:pt x="349" y="144"/>
                    <a:pt x="349" y="144"/>
                  </a:cubicBezTo>
                  <a:cubicBezTo>
                    <a:pt x="349" y="145"/>
                    <a:pt x="349" y="145"/>
                    <a:pt x="349" y="145"/>
                  </a:cubicBezTo>
                  <a:cubicBezTo>
                    <a:pt x="349" y="145"/>
                    <a:pt x="348" y="145"/>
                    <a:pt x="348" y="145"/>
                  </a:cubicBezTo>
                  <a:cubicBezTo>
                    <a:pt x="348" y="145"/>
                    <a:pt x="348" y="145"/>
                    <a:pt x="348" y="145"/>
                  </a:cubicBezTo>
                  <a:cubicBezTo>
                    <a:pt x="348" y="145"/>
                    <a:pt x="347" y="145"/>
                    <a:pt x="347" y="145"/>
                  </a:cubicBezTo>
                  <a:cubicBezTo>
                    <a:pt x="347" y="145"/>
                    <a:pt x="347" y="145"/>
                    <a:pt x="347" y="146"/>
                  </a:cubicBezTo>
                  <a:cubicBezTo>
                    <a:pt x="347" y="146"/>
                    <a:pt x="346" y="146"/>
                    <a:pt x="346" y="146"/>
                  </a:cubicBezTo>
                  <a:cubicBezTo>
                    <a:pt x="346" y="146"/>
                    <a:pt x="346" y="146"/>
                    <a:pt x="346" y="146"/>
                  </a:cubicBezTo>
                  <a:cubicBezTo>
                    <a:pt x="345" y="146"/>
                    <a:pt x="345" y="146"/>
                    <a:pt x="345" y="146"/>
                  </a:cubicBezTo>
                  <a:cubicBezTo>
                    <a:pt x="345" y="146"/>
                    <a:pt x="345" y="146"/>
                    <a:pt x="345" y="147"/>
                  </a:cubicBezTo>
                  <a:cubicBezTo>
                    <a:pt x="344" y="147"/>
                    <a:pt x="344" y="147"/>
                    <a:pt x="344" y="147"/>
                  </a:cubicBezTo>
                  <a:cubicBezTo>
                    <a:pt x="344" y="147"/>
                    <a:pt x="344" y="147"/>
                    <a:pt x="344" y="147"/>
                  </a:cubicBezTo>
                  <a:cubicBezTo>
                    <a:pt x="344" y="147"/>
                    <a:pt x="344" y="147"/>
                    <a:pt x="343" y="147"/>
                  </a:cubicBezTo>
                  <a:cubicBezTo>
                    <a:pt x="337" y="151"/>
                    <a:pt x="332" y="155"/>
                    <a:pt x="324" y="157"/>
                  </a:cubicBezTo>
                  <a:cubicBezTo>
                    <a:pt x="323" y="158"/>
                    <a:pt x="322" y="158"/>
                    <a:pt x="321" y="158"/>
                  </a:cubicBezTo>
                  <a:cubicBezTo>
                    <a:pt x="321" y="158"/>
                    <a:pt x="321" y="158"/>
                    <a:pt x="321" y="158"/>
                  </a:cubicBezTo>
                  <a:cubicBezTo>
                    <a:pt x="319" y="158"/>
                    <a:pt x="317" y="158"/>
                    <a:pt x="315" y="158"/>
                  </a:cubicBezTo>
                  <a:cubicBezTo>
                    <a:pt x="315" y="159"/>
                    <a:pt x="315" y="159"/>
                    <a:pt x="315" y="159"/>
                  </a:cubicBezTo>
                  <a:cubicBezTo>
                    <a:pt x="314" y="159"/>
                    <a:pt x="313" y="159"/>
                    <a:pt x="311" y="159"/>
                  </a:cubicBezTo>
                  <a:cubicBezTo>
                    <a:pt x="311" y="159"/>
                    <a:pt x="311" y="159"/>
                    <a:pt x="311" y="159"/>
                  </a:cubicBezTo>
                  <a:cubicBezTo>
                    <a:pt x="311" y="159"/>
                    <a:pt x="310" y="159"/>
                    <a:pt x="309" y="159"/>
                  </a:cubicBezTo>
                  <a:cubicBezTo>
                    <a:pt x="309" y="159"/>
                    <a:pt x="309" y="159"/>
                    <a:pt x="309" y="160"/>
                  </a:cubicBezTo>
                  <a:cubicBezTo>
                    <a:pt x="309" y="160"/>
                    <a:pt x="308" y="160"/>
                    <a:pt x="308" y="160"/>
                  </a:cubicBezTo>
                  <a:cubicBezTo>
                    <a:pt x="308" y="160"/>
                    <a:pt x="308" y="160"/>
                    <a:pt x="308" y="160"/>
                  </a:cubicBezTo>
                  <a:cubicBezTo>
                    <a:pt x="307" y="160"/>
                    <a:pt x="307" y="160"/>
                    <a:pt x="307" y="160"/>
                  </a:cubicBezTo>
                  <a:cubicBezTo>
                    <a:pt x="307" y="160"/>
                    <a:pt x="307" y="160"/>
                    <a:pt x="307" y="160"/>
                  </a:cubicBezTo>
                  <a:cubicBezTo>
                    <a:pt x="306" y="160"/>
                    <a:pt x="306" y="160"/>
                    <a:pt x="306" y="160"/>
                  </a:cubicBezTo>
                  <a:cubicBezTo>
                    <a:pt x="306" y="160"/>
                    <a:pt x="306" y="160"/>
                    <a:pt x="306" y="161"/>
                  </a:cubicBezTo>
                  <a:cubicBezTo>
                    <a:pt x="305" y="161"/>
                    <a:pt x="305" y="161"/>
                    <a:pt x="305" y="161"/>
                  </a:cubicBezTo>
                  <a:cubicBezTo>
                    <a:pt x="305" y="161"/>
                    <a:pt x="305" y="161"/>
                    <a:pt x="305" y="161"/>
                  </a:cubicBezTo>
                  <a:cubicBezTo>
                    <a:pt x="304" y="162"/>
                    <a:pt x="303" y="161"/>
                    <a:pt x="302" y="163"/>
                  </a:cubicBezTo>
                  <a:cubicBezTo>
                    <a:pt x="302" y="164"/>
                    <a:pt x="302" y="168"/>
                    <a:pt x="303" y="169"/>
                  </a:cubicBezTo>
                  <a:cubicBezTo>
                    <a:pt x="303" y="169"/>
                    <a:pt x="303" y="169"/>
                    <a:pt x="303" y="169"/>
                  </a:cubicBezTo>
                  <a:cubicBezTo>
                    <a:pt x="303" y="170"/>
                    <a:pt x="304" y="171"/>
                    <a:pt x="304" y="172"/>
                  </a:cubicBezTo>
                  <a:cubicBezTo>
                    <a:pt x="305" y="175"/>
                    <a:pt x="307" y="179"/>
                    <a:pt x="306" y="183"/>
                  </a:cubicBezTo>
                  <a:cubicBezTo>
                    <a:pt x="306" y="184"/>
                    <a:pt x="306" y="184"/>
                    <a:pt x="306" y="184"/>
                  </a:cubicBezTo>
                  <a:cubicBezTo>
                    <a:pt x="305" y="184"/>
                    <a:pt x="305" y="184"/>
                    <a:pt x="305" y="184"/>
                  </a:cubicBezTo>
                  <a:cubicBezTo>
                    <a:pt x="305" y="184"/>
                    <a:pt x="305" y="184"/>
                    <a:pt x="304" y="185"/>
                  </a:cubicBezTo>
                  <a:cubicBezTo>
                    <a:pt x="304" y="185"/>
                    <a:pt x="304" y="185"/>
                    <a:pt x="303" y="185"/>
                  </a:cubicBezTo>
                  <a:cubicBezTo>
                    <a:pt x="303" y="185"/>
                    <a:pt x="303" y="186"/>
                    <a:pt x="303" y="186"/>
                  </a:cubicBezTo>
                  <a:cubicBezTo>
                    <a:pt x="302" y="186"/>
                    <a:pt x="301" y="186"/>
                    <a:pt x="300" y="187"/>
                  </a:cubicBezTo>
                  <a:cubicBezTo>
                    <a:pt x="300" y="187"/>
                    <a:pt x="300" y="187"/>
                    <a:pt x="300" y="187"/>
                  </a:cubicBezTo>
                  <a:cubicBezTo>
                    <a:pt x="299" y="187"/>
                    <a:pt x="299" y="187"/>
                    <a:pt x="299" y="187"/>
                  </a:cubicBezTo>
                  <a:cubicBezTo>
                    <a:pt x="299" y="187"/>
                    <a:pt x="299" y="187"/>
                    <a:pt x="299" y="187"/>
                  </a:cubicBezTo>
                  <a:cubicBezTo>
                    <a:pt x="298" y="188"/>
                    <a:pt x="298" y="188"/>
                    <a:pt x="297" y="188"/>
                  </a:cubicBezTo>
                  <a:cubicBezTo>
                    <a:pt x="297" y="188"/>
                    <a:pt x="297" y="188"/>
                    <a:pt x="297" y="189"/>
                  </a:cubicBezTo>
                  <a:cubicBezTo>
                    <a:pt x="296" y="189"/>
                    <a:pt x="296" y="189"/>
                    <a:pt x="296" y="189"/>
                  </a:cubicBezTo>
                  <a:cubicBezTo>
                    <a:pt x="296" y="189"/>
                    <a:pt x="296" y="189"/>
                    <a:pt x="296" y="189"/>
                  </a:cubicBezTo>
                  <a:cubicBezTo>
                    <a:pt x="296" y="189"/>
                    <a:pt x="295" y="189"/>
                    <a:pt x="295" y="189"/>
                  </a:cubicBezTo>
                  <a:cubicBezTo>
                    <a:pt x="295" y="189"/>
                    <a:pt x="295" y="189"/>
                    <a:pt x="295" y="189"/>
                  </a:cubicBezTo>
                  <a:cubicBezTo>
                    <a:pt x="295" y="189"/>
                    <a:pt x="294" y="189"/>
                    <a:pt x="294" y="189"/>
                  </a:cubicBezTo>
                  <a:cubicBezTo>
                    <a:pt x="294" y="189"/>
                    <a:pt x="294" y="189"/>
                    <a:pt x="294" y="190"/>
                  </a:cubicBezTo>
                  <a:cubicBezTo>
                    <a:pt x="294" y="190"/>
                    <a:pt x="294" y="190"/>
                    <a:pt x="293" y="190"/>
                  </a:cubicBezTo>
                  <a:cubicBezTo>
                    <a:pt x="293" y="190"/>
                    <a:pt x="293" y="190"/>
                    <a:pt x="293" y="190"/>
                  </a:cubicBezTo>
                  <a:cubicBezTo>
                    <a:pt x="293" y="190"/>
                    <a:pt x="292" y="190"/>
                    <a:pt x="291" y="190"/>
                  </a:cubicBezTo>
                  <a:cubicBezTo>
                    <a:pt x="291" y="190"/>
                    <a:pt x="291" y="191"/>
                    <a:pt x="291" y="191"/>
                  </a:cubicBezTo>
                  <a:cubicBezTo>
                    <a:pt x="291" y="191"/>
                    <a:pt x="291" y="191"/>
                    <a:pt x="291" y="191"/>
                  </a:cubicBezTo>
                  <a:cubicBezTo>
                    <a:pt x="291" y="191"/>
                    <a:pt x="291" y="191"/>
                    <a:pt x="291" y="191"/>
                  </a:cubicBezTo>
                  <a:cubicBezTo>
                    <a:pt x="290" y="191"/>
                    <a:pt x="289" y="191"/>
                    <a:pt x="288" y="191"/>
                  </a:cubicBezTo>
                  <a:cubicBezTo>
                    <a:pt x="288" y="191"/>
                    <a:pt x="288" y="192"/>
                    <a:pt x="288" y="192"/>
                  </a:cubicBezTo>
                  <a:cubicBezTo>
                    <a:pt x="288" y="192"/>
                    <a:pt x="287" y="192"/>
                    <a:pt x="287" y="192"/>
                  </a:cubicBezTo>
                  <a:cubicBezTo>
                    <a:pt x="287" y="192"/>
                    <a:pt x="287" y="192"/>
                    <a:pt x="287" y="192"/>
                  </a:cubicBezTo>
                  <a:cubicBezTo>
                    <a:pt x="286" y="192"/>
                    <a:pt x="286" y="192"/>
                    <a:pt x="286" y="192"/>
                  </a:cubicBezTo>
                  <a:cubicBezTo>
                    <a:pt x="286" y="193"/>
                    <a:pt x="286" y="193"/>
                    <a:pt x="286" y="193"/>
                  </a:cubicBezTo>
                  <a:cubicBezTo>
                    <a:pt x="286" y="193"/>
                    <a:pt x="285" y="193"/>
                    <a:pt x="285" y="193"/>
                  </a:cubicBezTo>
                  <a:cubicBezTo>
                    <a:pt x="285" y="193"/>
                    <a:pt x="285" y="193"/>
                    <a:pt x="285" y="193"/>
                  </a:cubicBezTo>
                  <a:cubicBezTo>
                    <a:pt x="284" y="193"/>
                    <a:pt x="284" y="193"/>
                    <a:pt x="284" y="193"/>
                  </a:cubicBezTo>
                  <a:cubicBezTo>
                    <a:pt x="284" y="194"/>
                    <a:pt x="284" y="194"/>
                    <a:pt x="284" y="194"/>
                  </a:cubicBezTo>
                  <a:cubicBezTo>
                    <a:pt x="283" y="194"/>
                    <a:pt x="283" y="194"/>
                    <a:pt x="283" y="194"/>
                  </a:cubicBezTo>
                  <a:cubicBezTo>
                    <a:pt x="283" y="194"/>
                    <a:pt x="283" y="194"/>
                    <a:pt x="283" y="194"/>
                  </a:cubicBezTo>
                  <a:cubicBezTo>
                    <a:pt x="282" y="194"/>
                    <a:pt x="282" y="194"/>
                    <a:pt x="282" y="194"/>
                  </a:cubicBezTo>
                  <a:cubicBezTo>
                    <a:pt x="282" y="194"/>
                    <a:pt x="282" y="194"/>
                    <a:pt x="282" y="194"/>
                  </a:cubicBezTo>
                  <a:cubicBezTo>
                    <a:pt x="281" y="195"/>
                    <a:pt x="280" y="195"/>
                    <a:pt x="280" y="195"/>
                  </a:cubicBezTo>
                  <a:cubicBezTo>
                    <a:pt x="280" y="195"/>
                    <a:pt x="280" y="195"/>
                    <a:pt x="280" y="196"/>
                  </a:cubicBezTo>
                  <a:cubicBezTo>
                    <a:pt x="279" y="196"/>
                    <a:pt x="279" y="196"/>
                    <a:pt x="278" y="196"/>
                  </a:cubicBezTo>
                  <a:cubicBezTo>
                    <a:pt x="278" y="196"/>
                    <a:pt x="278" y="196"/>
                    <a:pt x="278" y="197"/>
                  </a:cubicBezTo>
                  <a:cubicBezTo>
                    <a:pt x="277" y="197"/>
                    <a:pt x="277" y="197"/>
                    <a:pt x="277" y="197"/>
                  </a:cubicBezTo>
                  <a:cubicBezTo>
                    <a:pt x="276" y="197"/>
                    <a:pt x="276" y="197"/>
                    <a:pt x="276" y="198"/>
                  </a:cubicBezTo>
                  <a:cubicBezTo>
                    <a:pt x="276" y="198"/>
                    <a:pt x="275" y="198"/>
                    <a:pt x="275" y="198"/>
                  </a:cubicBezTo>
                  <a:cubicBezTo>
                    <a:pt x="275" y="198"/>
                    <a:pt x="275" y="198"/>
                    <a:pt x="274" y="199"/>
                  </a:cubicBezTo>
                  <a:cubicBezTo>
                    <a:pt x="274" y="199"/>
                    <a:pt x="274" y="199"/>
                    <a:pt x="274" y="199"/>
                  </a:cubicBezTo>
                  <a:cubicBezTo>
                    <a:pt x="274" y="199"/>
                    <a:pt x="273" y="199"/>
                    <a:pt x="273" y="199"/>
                  </a:cubicBezTo>
                  <a:cubicBezTo>
                    <a:pt x="273" y="199"/>
                    <a:pt x="273" y="199"/>
                    <a:pt x="273" y="199"/>
                  </a:cubicBezTo>
                  <a:cubicBezTo>
                    <a:pt x="272" y="200"/>
                    <a:pt x="272" y="200"/>
                    <a:pt x="272" y="200"/>
                  </a:cubicBezTo>
                  <a:cubicBezTo>
                    <a:pt x="272" y="200"/>
                    <a:pt x="272" y="200"/>
                    <a:pt x="271" y="200"/>
                  </a:cubicBezTo>
                  <a:cubicBezTo>
                    <a:pt x="271" y="201"/>
                    <a:pt x="271" y="201"/>
                    <a:pt x="271" y="201"/>
                  </a:cubicBezTo>
                  <a:cubicBezTo>
                    <a:pt x="270" y="201"/>
                    <a:pt x="270" y="201"/>
                    <a:pt x="270" y="201"/>
                  </a:cubicBezTo>
                  <a:cubicBezTo>
                    <a:pt x="270" y="202"/>
                    <a:pt x="269" y="202"/>
                    <a:pt x="269" y="203"/>
                  </a:cubicBezTo>
                  <a:cubicBezTo>
                    <a:pt x="269" y="203"/>
                    <a:pt x="269" y="203"/>
                    <a:pt x="268" y="203"/>
                  </a:cubicBezTo>
                  <a:cubicBezTo>
                    <a:pt x="268" y="203"/>
                    <a:pt x="268" y="203"/>
                    <a:pt x="267" y="204"/>
                  </a:cubicBezTo>
                  <a:cubicBezTo>
                    <a:pt x="267" y="204"/>
                    <a:pt x="267" y="204"/>
                    <a:pt x="267" y="204"/>
                  </a:cubicBezTo>
                  <a:cubicBezTo>
                    <a:pt x="267" y="204"/>
                    <a:pt x="266" y="204"/>
                    <a:pt x="266" y="205"/>
                  </a:cubicBezTo>
                  <a:cubicBezTo>
                    <a:pt x="266" y="205"/>
                    <a:pt x="266" y="205"/>
                    <a:pt x="265" y="205"/>
                  </a:cubicBezTo>
                  <a:cubicBezTo>
                    <a:pt x="265" y="205"/>
                    <a:pt x="265" y="206"/>
                    <a:pt x="265" y="206"/>
                  </a:cubicBezTo>
                  <a:cubicBezTo>
                    <a:pt x="265" y="206"/>
                    <a:pt x="265" y="206"/>
                    <a:pt x="265" y="206"/>
                  </a:cubicBezTo>
                  <a:cubicBezTo>
                    <a:pt x="264" y="206"/>
                    <a:pt x="264" y="207"/>
                    <a:pt x="263" y="207"/>
                  </a:cubicBezTo>
                  <a:cubicBezTo>
                    <a:pt x="263" y="207"/>
                    <a:pt x="263" y="207"/>
                    <a:pt x="263" y="207"/>
                  </a:cubicBezTo>
                  <a:cubicBezTo>
                    <a:pt x="262" y="208"/>
                    <a:pt x="261" y="209"/>
                    <a:pt x="261" y="210"/>
                  </a:cubicBezTo>
                  <a:cubicBezTo>
                    <a:pt x="261" y="210"/>
                    <a:pt x="260" y="210"/>
                    <a:pt x="260" y="210"/>
                  </a:cubicBezTo>
                  <a:cubicBezTo>
                    <a:pt x="260" y="210"/>
                    <a:pt x="260" y="210"/>
                    <a:pt x="260" y="210"/>
                  </a:cubicBezTo>
                  <a:cubicBezTo>
                    <a:pt x="260" y="210"/>
                    <a:pt x="259" y="210"/>
                    <a:pt x="259" y="210"/>
                  </a:cubicBezTo>
                  <a:cubicBezTo>
                    <a:pt x="259" y="211"/>
                    <a:pt x="259" y="211"/>
                    <a:pt x="259" y="211"/>
                  </a:cubicBezTo>
                  <a:cubicBezTo>
                    <a:pt x="258" y="211"/>
                    <a:pt x="258" y="211"/>
                    <a:pt x="258" y="211"/>
                  </a:cubicBezTo>
                  <a:cubicBezTo>
                    <a:pt x="258" y="212"/>
                    <a:pt x="257" y="212"/>
                    <a:pt x="257" y="213"/>
                  </a:cubicBezTo>
                  <a:cubicBezTo>
                    <a:pt x="256" y="213"/>
                    <a:pt x="256" y="213"/>
                    <a:pt x="256" y="213"/>
                  </a:cubicBezTo>
                  <a:cubicBezTo>
                    <a:pt x="256" y="213"/>
                    <a:pt x="255" y="214"/>
                    <a:pt x="255" y="214"/>
                  </a:cubicBezTo>
                  <a:cubicBezTo>
                    <a:pt x="255" y="214"/>
                    <a:pt x="254" y="214"/>
                    <a:pt x="254" y="214"/>
                  </a:cubicBezTo>
                  <a:cubicBezTo>
                    <a:pt x="254" y="215"/>
                    <a:pt x="254" y="215"/>
                    <a:pt x="253" y="215"/>
                  </a:cubicBezTo>
                  <a:cubicBezTo>
                    <a:pt x="253" y="215"/>
                    <a:pt x="253" y="215"/>
                    <a:pt x="253" y="215"/>
                  </a:cubicBezTo>
                  <a:cubicBezTo>
                    <a:pt x="252" y="216"/>
                    <a:pt x="252" y="216"/>
                    <a:pt x="252" y="217"/>
                  </a:cubicBezTo>
                  <a:cubicBezTo>
                    <a:pt x="251" y="217"/>
                    <a:pt x="251" y="217"/>
                    <a:pt x="251" y="217"/>
                  </a:cubicBezTo>
                  <a:cubicBezTo>
                    <a:pt x="251" y="217"/>
                    <a:pt x="251" y="217"/>
                    <a:pt x="251" y="218"/>
                  </a:cubicBezTo>
                  <a:cubicBezTo>
                    <a:pt x="250" y="218"/>
                    <a:pt x="250" y="218"/>
                    <a:pt x="250" y="218"/>
                  </a:cubicBezTo>
                  <a:cubicBezTo>
                    <a:pt x="250" y="218"/>
                    <a:pt x="250" y="218"/>
                    <a:pt x="250" y="218"/>
                  </a:cubicBezTo>
                  <a:cubicBezTo>
                    <a:pt x="250" y="218"/>
                    <a:pt x="249" y="218"/>
                    <a:pt x="249" y="218"/>
                  </a:cubicBezTo>
                  <a:cubicBezTo>
                    <a:pt x="249" y="218"/>
                    <a:pt x="249" y="219"/>
                    <a:pt x="249" y="219"/>
                  </a:cubicBezTo>
                  <a:cubicBezTo>
                    <a:pt x="248" y="219"/>
                    <a:pt x="248" y="219"/>
                    <a:pt x="247" y="219"/>
                  </a:cubicBezTo>
                  <a:cubicBezTo>
                    <a:pt x="247" y="221"/>
                    <a:pt x="246" y="223"/>
                    <a:pt x="246" y="225"/>
                  </a:cubicBezTo>
                  <a:cubicBezTo>
                    <a:pt x="246" y="225"/>
                    <a:pt x="246" y="226"/>
                    <a:pt x="246" y="226"/>
                  </a:cubicBezTo>
                  <a:cubicBezTo>
                    <a:pt x="243" y="234"/>
                    <a:pt x="245" y="246"/>
                    <a:pt x="247" y="253"/>
                  </a:cubicBezTo>
                  <a:cubicBezTo>
                    <a:pt x="248" y="254"/>
                    <a:pt x="248" y="256"/>
                    <a:pt x="248" y="258"/>
                  </a:cubicBezTo>
                  <a:cubicBezTo>
                    <a:pt x="250" y="262"/>
                    <a:pt x="250" y="270"/>
                    <a:pt x="248" y="274"/>
                  </a:cubicBezTo>
                  <a:cubicBezTo>
                    <a:pt x="248" y="274"/>
                    <a:pt x="248" y="275"/>
                    <a:pt x="248" y="275"/>
                  </a:cubicBezTo>
                  <a:cubicBezTo>
                    <a:pt x="248" y="275"/>
                    <a:pt x="248" y="275"/>
                    <a:pt x="248" y="275"/>
                  </a:cubicBezTo>
                  <a:cubicBezTo>
                    <a:pt x="248" y="276"/>
                    <a:pt x="247" y="276"/>
                    <a:pt x="247" y="277"/>
                  </a:cubicBezTo>
                  <a:cubicBezTo>
                    <a:pt x="247" y="277"/>
                    <a:pt x="247" y="277"/>
                    <a:pt x="247" y="277"/>
                  </a:cubicBezTo>
                  <a:cubicBezTo>
                    <a:pt x="247" y="277"/>
                    <a:pt x="247" y="277"/>
                    <a:pt x="247" y="278"/>
                  </a:cubicBezTo>
                  <a:cubicBezTo>
                    <a:pt x="247" y="278"/>
                    <a:pt x="247" y="278"/>
                    <a:pt x="246" y="278"/>
                  </a:cubicBezTo>
                  <a:cubicBezTo>
                    <a:pt x="246" y="278"/>
                    <a:pt x="246" y="279"/>
                    <a:pt x="246" y="279"/>
                  </a:cubicBezTo>
                  <a:cubicBezTo>
                    <a:pt x="246" y="279"/>
                    <a:pt x="245" y="280"/>
                    <a:pt x="245" y="280"/>
                  </a:cubicBezTo>
                  <a:cubicBezTo>
                    <a:pt x="245" y="280"/>
                    <a:pt x="245" y="280"/>
                    <a:pt x="245" y="281"/>
                  </a:cubicBezTo>
                  <a:cubicBezTo>
                    <a:pt x="244" y="281"/>
                    <a:pt x="244" y="281"/>
                    <a:pt x="243" y="282"/>
                  </a:cubicBezTo>
                  <a:cubicBezTo>
                    <a:pt x="243" y="282"/>
                    <a:pt x="243" y="282"/>
                    <a:pt x="243" y="283"/>
                  </a:cubicBezTo>
                  <a:cubicBezTo>
                    <a:pt x="243" y="283"/>
                    <a:pt x="243" y="283"/>
                    <a:pt x="243" y="283"/>
                  </a:cubicBezTo>
                  <a:cubicBezTo>
                    <a:pt x="243" y="283"/>
                    <a:pt x="242" y="283"/>
                    <a:pt x="242" y="284"/>
                  </a:cubicBezTo>
                  <a:cubicBezTo>
                    <a:pt x="242" y="284"/>
                    <a:pt x="241" y="284"/>
                    <a:pt x="240" y="284"/>
                  </a:cubicBezTo>
                  <a:cubicBezTo>
                    <a:pt x="240" y="284"/>
                    <a:pt x="240" y="284"/>
                    <a:pt x="240" y="284"/>
                  </a:cubicBezTo>
                  <a:cubicBezTo>
                    <a:pt x="240" y="284"/>
                    <a:pt x="240" y="285"/>
                    <a:pt x="239" y="285"/>
                  </a:cubicBezTo>
                  <a:cubicBezTo>
                    <a:pt x="239" y="285"/>
                    <a:pt x="239" y="285"/>
                    <a:pt x="239" y="285"/>
                  </a:cubicBezTo>
                  <a:cubicBezTo>
                    <a:pt x="239" y="285"/>
                    <a:pt x="238" y="285"/>
                    <a:pt x="237" y="285"/>
                  </a:cubicBezTo>
                  <a:cubicBezTo>
                    <a:pt x="237" y="286"/>
                    <a:pt x="237" y="286"/>
                    <a:pt x="237" y="286"/>
                  </a:cubicBezTo>
                  <a:cubicBezTo>
                    <a:pt x="237" y="286"/>
                    <a:pt x="237" y="286"/>
                    <a:pt x="236" y="286"/>
                  </a:cubicBezTo>
                  <a:cubicBezTo>
                    <a:pt x="236" y="286"/>
                    <a:pt x="236" y="286"/>
                    <a:pt x="236" y="286"/>
                  </a:cubicBezTo>
                  <a:cubicBezTo>
                    <a:pt x="236" y="286"/>
                    <a:pt x="236" y="286"/>
                    <a:pt x="236" y="286"/>
                  </a:cubicBezTo>
                  <a:cubicBezTo>
                    <a:pt x="236" y="286"/>
                    <a:pt x="236" y="286"/>
                    <a:pt x="236" y="286"/>
                  </a:cubicBezTo>
                  <a:cubicBezTo>
                    <a:pt x="235" y="286"/>
                    <a:pt x="235" y="286"/>
                    <a:pt x="235" y="286"/>
                  </a:cubicBezTo>
                  <a:cubicBezTo>
                    <a:pt x="235" y="287"/>
                    <a:pt x="235" y="287"/>
                    <a:pt x="235" y="287"/>
                  </a:cubicBezTo>
                  <a:cubicBezTo>
                    <a:pt x="234" y="287"/>
                    <a:pt x="234" y="287"/>
                    <a:pt x="234" y="287"/>
                  </a:cubicBezTo>
                  <a:cubicBezTo>
                    <a:pt x="234" y="287"/>
                    <a:pt x="234" y="287"/>
                    <a:pt x="234" y="287"/>
                  </a:cubicBezTo>
                  <a:cubicBezTo>
                    <a:pt x="233" y="287"/>
                    <a:pt x="233" y="287"/>
                    <a:pt x="232" y="288"/>
                  </a:cubicBezTo>
                  <a:cubicBezTo>
                    <a:pt x="232" y="288"/>
                    <a:pt x="232" y="288"/>
                    <a:pt x="232" y="288"/>
                  </a:cubicBezTo>
                  <a:cubicBezTo>
                    <a:pt x="232" y="288"/>
                    <a:pt x="231" y="288"/>
                    <a:pt x="231" y="288"/>
                  </a:cubicBezTo>
                  <a:cubicBezTo>
                    <a:pt x="231" y="288"/>
                    <a:pt x="231" y="288"/>
                    <a:pt x="231" y="288"/>
                  </a:cubicBezTo>
                  <a:cubicBezTo>
                    <a:pt x="231" y="288"/>
                    <a:pt x="231" y="288"/>
                    <a:pt x="230" y="288"/>
                  </a:cubicBezTo>
                  <a:cubicBezTo>
                    <a:pt x="230" y="288"/>
                    <a:pt x="230" y="288"/>
                    <a:pt x="230" y="289"/>
                  </a:cubicBezTo>
                  <a:cubicBezTo>
                    <a:pt x="230" y="289"/>
                    <a:pt x="229" y="289"/>
                    <a:pt x="228" y="289"/>
                  </a:cubicBezTo>
                  <a:cubicBezTo>
                    <a:pt x="228" y="289"/>
                    <a:pt x="228" y="289"/>
                    <a:pt x="228" y="289"/>
                  </a:cubicBezTo>
                  <a:cubicBezTo>
                    <a:pt x="228" y="289"/>
                    <a:pt x="228" y="289"/>
                    <a:pt x="228" y="289"/>
                  </a:cubicBezTo>
                  <a:cubicBezTo>
                    <a:pt x="228" y="289"/>
                    <a:pt x="228" y="289"/>
                    <a:pt x="228" y="290"/>
                  </a:cubicBezTo>
                  <a:cubicBezTo>
                    <a:pt x="227" y="290"/>
                    <a:pt x="226" y="290"/>
                    <a:pt x="225" y="290"/>
                  </a:cubicBezTo>
                  <a:cubicBezTo>
                    <a:pt x="225" y="290"/>
                    <a:pt x="225" y="290"/>
                    <a:pt x="225" y="290"/>
                  </a:cubicBezTo>
                  <a:cubicBezTo>
                    <a:pt x="225" y="290"/>
                    <a:pt x="225" y="290"/>
                    <a:pt x="225" y="290"/>
                  </a:cubicBezTo>
                  <a:cubicBezTo>
                    <a:pt x="225" y="290"/>
                    <a:pt x="225" y="291"/>
                    <a:pt x="225" y="291"/>
                  </a:cubicBezTo>
                  <a:cubicBezTo>
                    <a:pt x="224" y="291"/>
                    <a:pt x="223" y="291"/>
                    <a:pt x="223" y="291"/>
                  </a:cubicBezTo>
                  <a:cubicBezTo>
                    <a:pt x="223" y="291"/>
                    <a:pt x="223" y="291"/>
                    <a:pt x="223" y="291"/>
                  </a:cubicBezTo>
                  <a:cubicBezTo>
                    <a:pt x="222" y="291"/>
                    <a:pt x="222" y="291"/>
                    <a:pt x="222" y="291"/>
                  </a:cubicBezTo>
                  <a:cubicBezTo>
                    <a:pt x="222" y="291"/>
                    <a:pt x="222" y="292"/>
                    <a:pt x="222" y="292"/>
                  </a:cubicBezTo>
                  <a:cubicBezTo>
                    <a:pt x="222" y="292"/>
                    <a:pt x="221" y="292"/>
                    <a:pt x="221" y="292"/>
                  </a:cubicBezTo>
                  <a:cubicBezTo>
                    <a:pt x="221" y="292"/>
                    <a:pt x="221" y="292"/>
                    <a:pt x="221" y="292"/>
                  </a:cubicBezTo>
                  <a:cubicBezTo>
                    <a:pt x="221" y="292"/>
                    <a:pt x="220" y="292"/>
                    <a:pt x="220" y="292"/>
                  </a:cubicBezTo>
                  <a:cubicBezTo>
                    <a:pt x="220" y="292"/>
                    <a:pt x="220" y="292"/>
                    <a:pt x="220" y="292"/>
                  </a:cubicBezTo>
                  <a:cubicBezTo>
                    <a:pt x="220" y="293"/>
                    <a:pt x="219" y="293"/>
                    <a:pt x="218" y="293"/>
                  </a:cubicBezTo>
                  <a:cubicBezTo>
                    <a:pt x="218" y="293"/>
                    <a:pt x="218" y="293"/>
                    <a:pt x="218" y="293"/>
                  </a:cubicBezTo>
                  <a:cubicBezTo>
                    <a:pt x="218" y="293"/>
                    <a:pt x="217" y="293"/>
                    <a:pt x="217" y="293"/>
                  </a:cubicBezTo>
                  <a:cubicBezTo>
                    <a:pt x="217" y="294"/>
                    <a:pt x="217" y="294"/>
                    <a:pt x="217" y="294"/>
                  </a:cubicBezTo>
                  <a:cubicBezTo>
                    <a:pt x="216" y="294"/>
                    <a:pt x="216" y="294"/>
                    <a:pt x="216" y="294"/>
                  </a:cubicBezTo>
                  <a:cubicBezTo>
                    <a:pt x="216" y="294"/>
                    <a:pt x="216" y="294"/>
                    <a:pt x="216" y="294"/>
                  </a:cubicBezTo>
                  <a:cubicBezTo>
                    <a:pt x="215" y="294"/>
                    <a:pt x="215" y="294"/>
                    <a:pt x="215" y="294"/>
                  </a:cubicBezTo>
                  <a:cubicBezTo>
                    <a:pt x="215" y="294"/>
                    <a:pt x="215" y="294"/>
                    <a:pt x="215" y="295"/>
                  </a:cubicBezTo>
                  <a:cubicBezTo>
                    <a:pt x="215" y="295"/>
                    <a:pt x="214" y="295"/>
                    <a:pt x="214" y="295"/>
                  </a:cubicBezTo>
                  <a:cubicBezTo>
                    <a:pt x="214" y="295"/>
                    <a:pt x="214" y="295"/>
                    <a:pt x="214" y="295"/>
                  </a:cubicBezTo>
                  <a:cubicBezTo>
                    <a:pt x="213" y="295"/>
                    <a:pt x="213" y="295"/>
                    <a:pt x="213" y="295"/>
                  </a:cubicBezTo>
                  <a:cubicBezTo>
                    <a:pt x="213" y="295"/>
                    <a:pt x="213" y="295"/>
                    <a:pt x="213" y="296"/>
                  </a:cubicBezTo>
                  <a:cubicBezTo>
                    <a:pt x="212" y="296"/>
                    <a:pt x="212" y="296"/>
                    <a:pt x="211" y="296"/>
                  </a:cubicBezTo>
                  <a:cubicBezTo>
                    <a:pt x="211" y="296"/>
                    <a:pt x="211" y="296"/>
                    <a:pt x="211" y="296"/>
                  </a:cubicBezTo>
                  <a:cubicBezTo>
                    <a:pt x="211" y="296"/>
                    <a:pt x="211" y="296"/>
                    <a:pt x="211" y="296"/>
                  </a:cubicBezTo>
                  <a:cubicBezTo>
                    <a:pt x="211" y="296"/>
                    <a:pt x="211" y="296"/>
                    <a:pt x="211" y="296"/>
                  </a:cubicBezTo>
                  <a:cubicBezTo>
                    <a:pt x="210" y="296"/>
                    <a:pt x="209" y="297"/>
                    <a:pt x="209" y="297"/>
                  </a:cubicBezTo>
                  <a:cubicBezTo>
                    <a:pt x="209" y="297"/>
                    <a:pt x="209" y="297"/>
                    <a:pt x="209" y="297"/>
                  </a:cubicBezTo>
                  <a:cubicBezTo>
                    <a:pt x="208" y="297"/>
                    <a:pt x="208" y="297"/>
                    <a:pt x="208" y="297"/>
                  </a:cubicBezTo>
                  <a:cubicBezTo>
                    <a:pt x="208" y="297"/>
                    <a:pt x="208" y="298"/>
                    <a:pt x="208" y="298"/>
                  </a:cubicBezTo>
                  <a:cubicBezTo>
                    <a:pt x="207" y="298"/>
                    <a:pt x="206" y="298"/>
                    <a:pt x="206" y="298"/>
                  </a:cubicBezTo>
                  <a:cubicBezTo>
                    <a:pt x="206" y="298"/>
                    <a:pt x="206" y="299"/>
                    <a:pt x="206" y="299"/>
                  </a:cubicBezTo>
                  <a:cubicBezTo>
                    <a:pt x="205" y="299"/>
                    <a:pt x="205" y="299"/>
                    <a:pt x="204" y="299"/>
                  </a:cubicBezTo>
                  <a:cubicBezTo>
                    <a:pt x="204" y="299"/>
                    <a:pt x="204" y="300"/>
                    <a:pt x="204" y="300"/>
                  </a:cubicBezTo>
                  <a:cubicBezTo>
                    <a:pt x="204" y="300"/>
                    <a:pt x="203" y="300"/>
                    <a:pt x="203" y="300"/>
                  </a:cubicBezTo>
                  <a:cubicBezTo>
                    <a:pt x="203" y="300"/>
                    <a:pt x="203" y="300"/>
                    <a:pt x="203" y="300"/>
                  </a:cubicBezTo>
                  <a:cubicBezTo>
                    <a:pt x="203" y="300"/>
                    <a:pt x="203" y="300"/>
                    <a:pt x="202" y="300"/>
                  </a:cubicBezTo>
                  <a:cubicBezTo>
                    <a:pt x="202" y="300"/>
                    <a:pt x="202" y="300"/>
                    <a:pt x="202" y="300"/>
                  </a:cubicBezTo>
                  <a:cubicBezTo>
                    <a:pt x="202" y="300"/>
                    <a:pt x="202" y="300"/>
                    <a:pt x="202" y="300"/>
                  </a:cubicBezTo>
                  <a:cubicBezTo>
                    <a:pt x="202" y="301"/>
                    <a:pt x="202" y="301"/>
                    <a:pt x="202" y="301"/>
                  </a:cubicBezTo>
                  <a:cubicBezTo>
                    <a:pt x="201" y="301"/>
                    <a:pt x="201" y="301"/>
                    <a:pt x="201" y="301"/>
                  </a:cubicBezTo>
                  <a:cubicBezTo>
                    <a:pt x="201" y="301"/>
                    <a:pt x="201" y="301"/>
                    <a:pt x="201" y="301"/>
                  </a:cubicBezTo>
                  <a:cubicBezTo>
                    <a:pt x="200" y="302"/>
                    <a:pt x="200" y="302"/>
                    <a:pt x="199" y="302"/>
                  </a:cubicBezTo>
                  <a:cubicBezTo>
                    <a:pt x="199" y="302"/>
                    <a:pt x="199" y="302"/>
                    <a:pt x="199" y="302"/>
                  </a:cubicBezTo>
                  <a:cubicBezTo>
                    <a:pt x="199" y="302"/>
                    <a:pt x="199" y="302"/>
                    <a:pt x="198" y="303"/>
                  </a:cubicBezTo>
                  <a:cubicBezTo>
                    <a:pt x="198" y="303"/>
                    <a:pt x="198" y="303"/>
                    <a:pt x="198" y="303"/>
                  </a:cubicBezTo>
                  <a:cubicBezTo>
                    <a:pt x="198" y="303"/>
                    <a:pt x="197" y="303"/>
                    <a:pt x="197" y="303"/>
                  </a:cubicBezTo>
                  <a:cubicBezTo>
                    <a:pt x="197" y="303"/>
                    <a:pt x="197" y="303"/>
                    <a:pt x="197" y="304"/>
                  </a:cubicBezTo>
                  <a:cubicBezTo>
                    <a:pt x="197" y="304"/>
                    <a:pt x="196" y="304"/>
                    <a:pt x="196" y="304"/>
                  </a:cubicBezTo>
                  <a:cubicBezTo>
                    <a:pt x="196" y="304"/>
                    <a:pt x="196" y="304"/>
                    <a:pt x="196" y="305"/>
                  </a:cubicBezTo>
                  <a:cubicBezTo>
                    <a:pt x="195" y="305"/>
                    <a:pt x="195" y="305"/>
                    <a:pt x="195" y="305"/>
                  </a:cubicBezTo>
                  <a:cubicBezTo>
                    <a:pt x="195" y="305"/>
                    <a:pt x="195" y="305"/>
                    <a:pt x="194" y="306"/>
                  </a:cubicBezTo>
                  <a:cubicBezTo>
                    <a:pt x="194" y="306"/>
                    <a:pt x="194" y="306"/>
                    <a:pt x="194" y="306"/>
                  </a:cubicBezTo>
                  <a:cubicBezTo>
                    <a:pt x="193" y="306"/>
                    <a:pt x="193" y="307"/>
                    <a:pt x="193" y="307"/>
                  </a:cubicBezTo>
                  <a:cubicBezTo>
                    <a:pt x="192" y="307"/>
                    <a:pt x="192" y="307"/>
                    <a:pt x="192" y="307"/>
                  </a:cubicBezTo>
                  <a:cubicBezTo>
                    <a:pt x="191" y="308"/>
                    <a:pt x="191" y="308"/>
                    <a:pt x="190" y="309"/>
                  </a:cubicBezTo>
                  <a:cubicBezTo>
                    <a:pt x="190" y="309"/>
                    <a:pt x="190" y="309"/>
                    <a:pt x="189" y="309"/>
                  </a:cubicBezTo>
                  <a:cubicBezTo>
                    <a:pt x="189" y="310"/>
                    <a:pt x="188" y="311"/>
                    <a:pt x="187" y="312"/>
                  </a:cubicBezTo>
                  <a:cubicBezTo>
                    <a:pt x="187" y="312"/>
                    <a:pt x="187" y="312"/>
                    <a:pt x="186" y="312"/>
                  </a:cubicBezTo>
                  <a:cubicBezTo>
                    <a:pt x="186" y="313"/>
                    <a:pt x="186" y="313"/>
                    <a:pt x="186" y="313"/>
                  </a:cubicBezTo>
                  <a:cubicBezTo>
                    <a:pt x="186" y="314"/>
                    <a:pt x="185" y="314"/>
                    <a:pt x="184" y="315"/>
                  </a:cubicBezTo>
                  <a:cubicBezTo>
                    <a:pt x="184" y="315"/>
                    <a:pt x="184" y="315"/>
                    <a:pt x="184" y="315"/>
                  </a:cubicBezTo>
                  <a:cubicBezTo>
                    <a:pt x="183" y="316"/>
                    <a:pt x="183" y="317"/>
                    <a:pt x="182" y="317"/>
                  </a:cubicBezTo>
                  <a:cubicBezTo>
                    <a:pt x="181" y="319"/>
                    <a:pt x="180" y="320"/>
                    <a:pt x="178" y="321"/>
                  </a:cubicBezTo>
                  <a:cubicBezTo>
                    <a:pt x="178" y="322"/>
                    <a:pt x="177" y="322"/>
                    <a:pt x="177" y="322"/>
                  </a:cubicBezTo>
                  <a:cubicBezTo>
                    <a:pt x="177" y="323"/>
                    <a:pt x="177" y="323"/>
                    <a:pt x="177" y="323"/>
                  </a:cubicBezTo>
                  <a:cubicBezTo>
                    <a:pt x="177" y="323"/>
                    <a:pt x="176" y="323"/>
                    <a:pt x="176" y="323"/>
                  </a:cubicBezTo>
                  <a:cubicBezTo>
                    <a:pt x="176" y="323"/>
                    <a:pt x="175" y="324"/>
                    <a:pt x="175" y="325"/>
                  </a:cubicBezTo>
                  <a:cubicBezTo>
                    <a:pt x="175" y="325"/>
                    <a:pt x="174" y="325"/>
                    <a:pt x="174" y="325"/>
                  </a:cubicBezTo>
                  <a:cubicBezTo>
                    <a:pt x="174" y="325"/>
                    <a:pt x="174" y="325"/>
                    <a:pt x="173" y="326"/>
                  </a:cubicBezTo>
                  <a:cubicBezTo>
                    <a:pt x="173" y="326"/>
                    <a:pt x="173" y="326"/>
                    <a:pt x="173" y="326"/>
                  </a:cubicBezTo>
                  <a:cubicBezTo>
                    <a:pt x="173" y="326"/>
                    <a:pt x="172" y="326"/>
                    <a:pt x="172" y="326"/>
                  </a:cubicBezTo>
                  <a:cubicBezTo>
                    <a:pt x="172" y="326"/>
                    <a:pt x="172" y="326"/>
                    <a:pt x="172" y="326"/>
                  </a:cubicBezTo>
                  <a:cubicBezTo>
                    <a:pt x="171" y="327"/>
                    <a:pt x="171" y="327"/>
                    <a:pt x="171" y="327"/>
                  </a:cubicBezTo>
                  <a:cubicBezTo>
                    <a:pt x="171" y="327"/>
                    <a:pt x="170" y="327"/>
                    <a:pt x="170" y="327"/>
                  </a:cubicBezTo>
                  <a:cubicBezTo>
                    <a:pt x="170" y="327"/>
                    <a:pt x="170" y="328"/>
                    <a:pt x="170" y="328"/>
                  </a:cubicBezTo>
                  <a:cubicBezTo>
                    <a:pt x="170" y="328"/>
                    <a:pt x="169" y="328"/>
                    <a:pt x="169" y="328"/>
                  </a:cubicBezTo>
                  <a:cubicBezTo>
                    <a:pt x="169" y="328"/>
                    <a:pt x="169" y="328"/>
                    <a:pt x="169" y="328"/>
                  </a:cubicBezTo>
                  <a:cubicBezTo>
                    <a:pt x="168" y="328"/>
                    <a:pt x="168" y="329"/>
                    <a:pt x="167" y="329"/>
                  </a:cubicBezTo>
                  <a:cubicBezTo>
                    <a:pt x="167" y="329"/>
                    <a:pt x="167" y="329"/>
                    <a:pt x="167" y="329"/>
                  </a:cubicBezTo>
                  <a:cubicBezTo>
                    <a:pt x="166" y="329"/>
                    <a:pt x="166" y="329"/>
                    <a:pt x="165" y="329"/>
                  </a:cubicBezTo>
                  <a:cubicBezTo>
                    <a:pt x="165" y="330"/>
                    <a:pt x="165" y="330"/>
                    <a:pt x="165" y="330"/>
                  </a:cubicBezTo>
                  <a:cubicBezTo>
                    <a:pt x="164" y="330"/>
                    <a:pt x="163" y="330"/>
                    <a:pt x="161" y="330"/>
                  </a:cubicBezTo>
                  <a:cubicBezTo>
                    <a:pt x="161" y="330"/>
                    <a:pt x="161" y="330"/>
                    <a:pt x="161" y="331"/>
                  </a:cubicBezTo>
                  <a:cubicBezTo>
                    <a:pt x="161" y="331"/>
                    <a:pt x="160" y="331"/>
                    <a:pt x="159" y="331"/>
                  </a:cubicBezTo>
                  <a:cubicBezTo>
                    <a:pt x="159" y="330"/>
                    <a:pt x="159" y="330"/>
                    <a:pt x="159" y="330"/>
                  </a:cubicBezTo>
                  <a:cubicBezTo>
                    <a:pt x="158" y="330"/>
                    <a:pt x="158" y="330"/>
                    <a:pt x="157" y="330"/>
                  </a:cubicBezTo>
                  <a:cubicBezTo>
                    <a:pt x="157" y="330"/>
                    <a:pt x="157" y="330"/>
                    <a:pt x="157" y="330"/>
                  </a:cubicBezTo>
                  <a:cubicBezTo>
                    <a:pt x="156" y="330"/>
                    <a:pt x="156" y="330"/>
                    <a:pt x="155" y="329"/>
                  </a:cubicBezTo>
                  <a:cubicBezTo>
                    <a:pt x="155" y="329"/>
                    <a:pt x="155" y="329"/>
                    <a:pt x="155" y="329"/>
                  </a:cubicBezTo>
                  <a:cubicBezTo>
                    <a:pt x="154" y="329"/>
                    <a:pt x="154" y="329"/>
                    <a:pt x="153" y="329"/>
                  </a:cubicBezTo>
                  <a:cubicBezTo>
                    <a:pt x="153" y="329"/>
                    <a:pt x="153" y="329"/>
                    <a:pt x="153" y="328"/>
                  </a:cubicBezTo>
                  <a:cubicBezTo>
                    <a:pt x="153" y="328"/>
                    <a:pt x="153" y="328"/>
                    <a:pt x="153" y="328"/>
                  </a:cubicBezTo>
                  <a:cubicBezTo>
                    <a:pt x="153" y="328"/>
                    <a:pt x="152" y="328"/>
                    <a:pt x="152" y="328"/>
                  </a:cubicBezTo>
                  <a:cubicBezTo>
                    <a:pt x="152" y="328"/>
                    <a:pt x="152" y="328"/>
                    <a:pt x="152" y="328"/>
                  </a:cubicBezTo>
                  <a:cubicBezTo>
                    <a:pt x="152" y="327"/>
                    <a:pt x="151" y="327"/>
                    <a:pt x="151" y="327"/>
                  </a:cubicBezTo>
                  <a:cubicBezTo>
                    <a:pt x="151" y="327"/>
                    <a:pt x="151" y="327"/>
                    <a:pt x="150" y="327"/>
                  </a:cubicBezTo>
                  <a:cubicBezTo>
                    <a:pt x="150" y="326"/>
                    <a:pt x="150" y="326"/>
                    <a:pt x="149" y="325"/>
                  </a:cubicBezTo>
                  <a:cubicBezTo>
                    <a:pt x="149" y="325"/>
                    <a:pt x="149" y="325"/>
                    <a:pt x="149" y="325"/>
                  </a:cubicBezTo>
                  <a:cubicBezTo>
                    <a:pt x="149" y="325"/>
                    <a:pt x="149" y="325"/>
                    <a:pt x="149" y="325"/>
                  </a:cubicBezTo>
                  <a:cubicBezTo>
                    <a:pt x="148" y="325"/>
                    <a:pt x="148" y="324"/>
                    <a:pt x="147" y="324"/>
                  </a:cubicBezTo>
                  <a:cubicBezTo>
                    <a:pt x="147" y="324"/>
                    <a:pt x="147" y="324"/>
                    <a:pt x="147" y="324"/>
                  </a:cubicBezTo>
                  <a:cubicBezTo>
                    <a:pt x="147" y="323"/>
                    <a:pt x="147" y="323"/>
                    <a:pt x="147" y="323"/>
                  </a:cubicBezTo>
                  <a:cubicBezTo>
                    <a:pt x="147" y="323"/>
                    <a:pt x="147" y="322"/>
                    <a:pt x="146" y="322"/>
                  </a:cubicBezTo>
                  <a:cubicBezTo>
                    <a:pt x="146" y="322"/>
                    <a:pt x="146" y="322"/>
                    <a:pt x="146" y="322"/>
                  </a:cubicBezTo>
                  <a:cubicBezTo>
                    <a:pt x="146" y="321"/>
                    <a:pt x="146" y="320"/>
                    <a:pt x="145" y="320"/>
                  </a:cubicBezTo>
                  <a:cubicBezTo>
                    <a:pt x="145" y="320"/>
                    <a:pt x="145" y="320"/>
                    <a:pt x="145" y="320"/>
                  </a:cubicBezTo>
                  <a:cubicBezTo>
                    <a:pt x="145" y="319"/>
                    <a:pt x="145" y="319"/>
                    <a:pt x="145" y="319"/>
                  </a:cubicBezTo>
                  <a:cubicBezTo>
                    <a:pt x="145" y="319"/>
                    <a:pt x="145" y="319"/>
                    <a:pt x="145" y="319"/>
                  </a:cubicBezTo>
                  <a:cubicBezTo>
                    <a:pt x="145" y="318"/>
                    <a:pt x="144" y="318"/>
                    <a:pt x="144" y="317"/>
                  </a:cubicBezTo>
                  <a:cubicBezTo>
                    <a:pt x="144" y="317"/>
                    <a:pt x="144" y="317"/>
                    <a:pt x="144" y="317"/>
                  </a:cubicBezTo>
                  <a:cubicBezTo>
                    <a:pt x="144" y="317"/>
                    <a:pt x="144" y="316"/>
                    <a:pt x="144" y="315"/>
                  </a:cubicBezTo>
                  <a:cubicBezTo>
                    <a:pt x="144" y="315"/>
                    <a:pt x="143" y="315"/>
                    <a:pt x="143" y="315"/>
                  </a:cubicBezTo>
                  <a:cubicBezTo>
                    <a:pt x="143" y="315"/>
                    <a:pt x="143" y="314"/>
                    <a:pt x="143" y="314"/>
                  </a:cubicBezTo>
                  <a:cubicBezTo>
                    <a:pt x="143" y="314"/>
                    <a:pt x="143" y="314"/>
                    <a:pt x="143" y="314"/>
                  </a:cubicBezTo>
                  <a:cubicBezTo>
                    <a:pt x="142" y="313"/>
                    <a:pt x="142" y="313"/>
                    <a:pt x="142" y="312"/>
                  </a:cubicBezTo>
                  <a:cubicBezTo>
                    <a:pt x="142" y="312"/>
                    <a:pt x="142" y="312"/>
                    <a:pt x="142" y="312"/>
                  </a:cubicBezTo>
                  <a:cubicBezTo>
                    <a:pt x="142" y="311"/>
                    <a:pt x="141" y="310"/>
                    <a:pt x="141" y="309"/>
                  </a:cubicBezTo>
                  <a:cubicBezTo>
                    <a:pt x="141" y="309"/>
                    <a:pt x="140" y="309"/>
                    <a:pt x="140" y="308"/>
                  </a:cubicBezTo>
                  <a:cubicBezTo>
                    <a:pt x="140" y="308"/>
                    <a:pt x="140" y="308"/>
                    <a:pt x="140" y="308"/>
                  </a:cubicBezTo>
                  <a:cubicBezTo>
                    <a:pt x="140" y="308"/>
                    <a:pt x="140" y="308"/>
                    <a:pt x="140" y="308"/>
                  </a:cubicBezTo>
                  <a:cubicBezTo>
                    <a:pt x="140" y="308"/>
                    <a:pt x="140" y="307"/>
                    <a:pt x="140" y="307"/>
                  </a:cubicBezTo>
                  <a:cubicBezTo>
                    <a:pt x="140" y="307"/>
                    <a:pt x="140" y="307"/>
                    <a:pt x="139" y="307"/>
                  </a:cubicBezTo>
                  <a:cubicBezTo>
                    <a:pt x="139" y="307"/>
                    <a:pt x="139" y="307"/>
                    <a:pt x="139" y="306"/>
                  </a:cubicBezTo>
                  <a:cubicBezTo>
                    <a:pt x="139" y="306"/>
                    <a:pt x="139" y="306"/>
                    <a:pt x="138" y="306"/>
                  </a:cubicBezTo>
                  <a:cubicBezTo>
                    <a:pt x="138" y="306"/>
                    <a:pt x="138" y="306"/>
                    <a:pt x="138" y="306"/>
                  </a:cubicBezTo>
                  <a:cubicBezTo>
                    <a:pt x="138" y="306"/>
                    <a:pt x="138" y="306"/>
                    <a:pt x="137" y="305"/>
                  </a:cubicBezTo>
                  <a:cubicBezTo>
                    <a:pt x="137" y="305"/>
                    <a:pt x="136" y="305"/>
                    <a:pt x="135" y="305"/>
                  </a:cubicBezTo>
                  <a:cubicBezTo>
                    <a:pt x="135" y="305"/>
                    <a:pt x="135" y="305"/>
                    <a:pt x="135" y="305"/>
                  </a:cubicBezTo>
                  <a:cubicBezTo>
                    <a:pt x="134" y="305"/>
                    <a:pt x="134" y="305"/>
                    <a:pt x="133" y="305"/>
                  </a:cubicBezTo>
                  <a:cubicBezTo>
                    <a:pt x="133" y="305"/>
                    <a:pt x="133" y="306"/>
                    <a:pt x="133" y="306"/>
                  </a:cubicBezTo>
                  <a:cubicBezTo>
                    <a:pt x="133" y="306"/>
                    <a:pt x="133" y="306"/>
                    <a:pt x="133" y="306"/>
                  </a:cubicBezTo>
                  <a:cubicBezTo>
                    <a:pt x="133" y="306"/>
                    <a:pt x="133" y="306"/>
                    <a:pt x="133" y="306"/>
                  </a:cubicBezTo>
                  <a:cubicBezTo>
                    <a:pt x="133" y="306"/>
                    <a:pt x="132" y="306"/>
                    <a:pt x="132" y="306"/>
                  </a:cubicBezTo>
                  <a:cubicBezTo>
                    <a:pt x="132" y="306"/>
                    <a:pt x="132" y="307"/>
                    <a:pt x="132" y="307"/>
                  </a:cubicBezTo>
                  <a:cubicBezTo>
                    <a:pt x="131" y="307"/>
                    <a:pt x="131" y="307"/>
                    <a:pt x="131" y="307"/>
                  </a:cubicBezTo>
                  <a:cubicBezTo>
                    <a:pt x="131" y="307"/>
                    <a:pt x="131" y="307"/>
                    <a:pt x="131" y="307"/>
                  </a:cubicBezTo>
                  <a:cubicBezTo>
                    <a:pt x="131" y="307"/>
                    <a:pt x="130" y="308"/>
                    <a:pt x="130" y="308"/>
                  </a:cubicBezTo>
                  <a:cubicBezTo>
                    <a:pt x="130" y="308"/>
                    <a:pt x="130" y="309"/>
                    <a:pt x="130" y="309"/>
                  </a:cubicBezTo>
                  <a:cubicBezTo>
                    <a:pt x="129" y="309"/>
                    <a:pt x="129" y="309"/>
                    <a:pt x="129" y="309"/>
                  </a:cubicBezTo>
                  <a:cubicBezTo>
                    <a:pt x="129" y="309"/>
                    <a:pt x="129" y="310"/>
                    <a:pt x="129" y="310"/>
                  </a:cubicBezTo>
                  <a:cubicBezTo>
                    <a:pt x="129" y="310"/>
                    <a:pt x="128" y="310"/>
                    <a:pt x="128" y="310"/>
                  </a:cubicBezTo>
                  <a:cubicBezTo>
                    <a:pt x="128" y="311"/>
                    <a:pt x="128" y="312"/>
                    <a:pt x="128" y="312"/>
                  </a:cubicBezTo>
                  <a:cubicBezTo>
                    <a:pt x="127" y="312"/>
                    <a:pt x="127" y="312"/>
                    <a:pt x="127" y="312"/>
                  </a:cubicBezTo>
                  <a:cubicBezTo>
                    <a:pt x="127" y="313"/>
                    <a:pt x="127" y="313"/>
                    <a:pt x="127" y="313"/>
                  </a:cubicBezTo>
                  <a:cubicBezTo>
                    <a:pt x="127" y="313"/>
                    <a:pt x="127" y="313"/>
                    <a:pt x="127" y="313"/>
                  </a:cubicBezTo>
                  <a:cubicBezTo>
                    <a:pt x="127" y="314"/>
                    <a:pt x="127" y="315"/>
                    <a:pt x="126" y="315"/>
                  </a:cubicBezTo>
                  <a:cubicBezTo>
                    <a:pt x="126" y="315"/>
                    <a:pt x="126" y="315"/>
                    <a:pt x="126" y="315"/>
                  </a:cubicBezTo>
                  <a:cubicBezTo>
                    <a:pt x="126" y="316"/>
                    <a:pt x="126" y="317"/>
                    <a:pt x="126" y="318"/>
                  </a:cubicBezTo>
                  <a:cubicBezTo>
                    <a:pt x="126" y="318"/>
                    <a:pt x="126" y="318"/>
                    <a:pt x="126" y="318"/>
                  </a:cubicBezTo>
                  <a:cubicBezTo>
                    <a:pt x="126" y="318"/>
                    <a:pt x="126" y="319"/>
                    <a:pt x="125" y="319"/>
                  </a:cubicBezTo>
                  <a:cubicBezTo>
                    <a:pt x="125" y="319"/>
                    <a:pt x="125" y="319"/>
                    <a:pt x="125" y="319"/>
                  </a:cubicBezTo>
                  <a:cubicBezTo>
                    <a:pt x="125" y="320"/>
                    <a:pt x="125" y="320"/>
                    <a:pt x="125" y="320"/>
                  </a:cubicBezTo>
                  <a:cubicBezTo>
                    <a:pt x="125" y="320"/>
                    <a:pt x="124" y="320"/>
                    <a:pt x="124" y="320"/>
                  </a:cubicBezTo>
                  <a:cubicBezTo>
                    <a:pt x="124" y="320"/>
                    <a:pt x="124" y="320"/>
                    <a:pt x="124" y="320"/>
                  </a:cubicBezTo>
                  <a:cubicBezTo>
                    <a:pt x="123" y="321"/>
                    <a:pt x="122" y="321"/>
                    <a:pt x="122" y="321"/>
                  </a:cubicBezTo>
                  <a:cubicBezTo>
                    <a:pt x="119" y="320"/>
                    <a:pt x="117" y="319"/>
                    <a:pt x="115" y="319"/>
                  </a:cubicBezTo>
                  <a:cubicBezTo>
                    <a:pt x="115" y="318"/>
                    <a:pt x="115" y="318"/>
                    <a:pt x="115" y="318"/>
                  </a:cubicBezTo>
                  <a:cubicBezTo>
                    <a:pt x="114" y="318"/>
                    <a:pt x="114" y="317"/>
                    <a:pt x="113" y="317"/>
                  </a:cubicBezTo>
                  <a:cubicBezTo>
                    <a:pt x="113" y="317"/>
                    <a:pt x="113" y="317"/>
                    <a:pt x="112" y="317"/>
                  </a:cubicBezTo>
                  <a:cubicBezTo>
                    <a:pt x="112" y="317"/>
                    <a:pt x="112" y="317"/>
                    <a:pt x="112" y="317"/>
                  </a:cubicBezTo>
                  <a:cubicBezTo>
                    <a:pt x="112" y="316"/>
                    <a:pt x="112" y="316"/>
                    <a:pt x="111" y="316"/>
                  </a:cubicBezTo>
                  <a:cubicBezTo>
                    <a:pt x="111" y="316"/>
                    <a:pt x="111" y="316"/>
                    <a:pt x="111" y="316"/>
                  </a:cubicBezTo>
                  <a:cubicBezTo>
                    <a:pt x="111" y="316"/>
                    <a:pt x="111" y="315"/>
                    <a:pt x="110" y="315"/>
                  </a:cubicBezTo>
                  <a:cubicBezTo>
                    <a:pt x="110" y="315"/>
                    <a:pt x="110" y="315"/>
                    <a:pt x="110" y="315"/>
                  </a:cubicBezTo>
                  <a:cubicBezTo>
                    <a:pt x="110" y="315"/>
                    <a:pt x="109" y="315"/>
                    <a:pt x="109" y="314"/>
                  </a:cubicBezTo>
                  <a:cubicBezTo>
                    <a:pt x="109" y="314"/>
                    <a:pt x="109" y="314"/>
                    <a:pt x="109" y="314"/>
                  </a:cubicBezTo>
                  <a:cubicBezTo>
                    <a:pt x="109" y="314"/>
                    <a:pt x="109" y="314"/>
                    <a:pt x="109" y="314"/>
                  </a:cubicBezTo>
                  <a:cubicBezTo>
                    <a:pt x="108" y="314"/>
                    <a:pt x="108" y="314"/>
                    <a:pt x="108" y="314"/>
                  </a:cubicBezTo>
                  <a:cubicBezTo>
                    <a:pt x="108" y="313"/>
                    <a:pt x="107" y="313"/>
                    <a:pt x="107" y="312"/>
                  </a:cubicBezTo>
                  <a:cubicBezTo>
                    <a:pt x="107" y="312"/>
                    <a:pt x="106" y="312"/>
                    <a:pt x="106" y="312"/>
                  </a:cubicBezTo>
                  <a:cubicBezTo>
                    <a:pt x="105" y="311"/>
                    <a:pt x="104" y="310"/>
                    <a:pt x="103" y="308"/>
                  </a:cubicBezTo>
                  <a:cubicBezTo>
                    <a:pt x="102" y="308"/>
                    <a:pt x="102" y="308"/>
                    <a:pt x="102" y="308"/>
                  </a:cubicBezTo>
                  <a:cubicBezTo>
                    <a:pt x="102" y="308"/>
                    <a:pt x="102" y="308"/>
                    <a:pt x="102" y="308"/>
                  </a:cubicBezTo>
                  <a:cubicBezTo>
                    <a:pt x="101" y="308"/>
                    <a:pt x="101" y="308"/>
                    <a:pt x="100" y="308"/>
                  </a:cubicBezTo>
                  <a:cubicBezTo>
                    <a:pt x="100" y="308"/>
                    <a:pt x="100" y="308"/>
                    <a:pt x="100" y="308"/>
                  </a:cubicBezTo>
                  <a:cubicBezTo>
                    <a:pt x="100" y="308"/>
                    <a:pt x="99" y="308"/>
                    <a:pt x="99" y="308"/>
                  </a:cubicBezTo>
                  <a:cubicBezTo>
                    <a:pt x="99" y="308"/>
                    <a:pt x="99" y="308"/>
                    <a:pt x="99" y="307"/>
                  </a:cubicBezTo>
                  <a:cubicBezTo>
                    <a:pt x="99" y="307"/>
                    <a:pt x="98" y="307"/>
                    <a:pt x="98" y="307"/>
                  </a:cubicBezTo>
                  <a:cubicBezTo>
                    <a:pt x="98" y="307"/>
                    <a:pt x="98" y="307"/>
                    <a:pt x="98" y="307"/>
                  </a:cubicBezTo>
                  <a:cubicBezTo>
                    <a:pt x="97" y="306"/>
                    <a:pt x="96" y="306"/>
                    <a:pt x="96" y="305"/>
                  </a:cubicBezTo>
                  <a:cubicBezTo>
                    <a:pt x="95" y="304"/>
                    <a:pt x="95" y="302"/>
                    <a:pt x="95" y="300"/>
                  </a:cubicBezTo>
                  <a:cubicBezTo>
                    <a:pt x="96" y="298"/>
                    <a:pt x="98" y="292"/>
                    <a:pt x="96" y="289"/>
                  </a:cubicBezTo>
                  <a:cubicBezTo>
                    <a:pt x="96" y="289"/>
                    <a:pt x="95" y="288"/>
                    <a:pt x="95" y="288"/>
                  </a:cubicBezTo>
                  <a:cubicBezTo>
                    <a:pt x="94" y="288"/>
                    <a:pt x="94" y="287"/>
                    <a:pt x="93" y="286"/>
                  </a:cubicBezTo>
                  <a:cubicBezTo>
                    <a:pt x="93" y="286"/>
                    <a:pt x="93" y="286"/>
                    <a:pt x="93" y="286"/>
                  </a:cubicBezTo>
                  <a:cubicBezTo>
                    <a:pt x="92" y="286"/>
                    <a:pt x="92" y="285"/>
                    <a:pt x="92" y="285"/>
                  </a:cubicBezTo>
                  <a:cubicBezTo>
                    <a:pt x="91" y="285"/>
                    <a:pt x="91" y="285"/>
                    <a:pt x="90" y="285"/>
                  </a:cubicBezTo>
                  <a:cubicBezTo>
                    <a:pt x="90" y="284"/>
                    <a:pt x="90" y="284"/>
                    <a:pt x="90" y="284"/>
                  </a:cubicBezTo>
                  <a:cubicBezTo>
                    <a:pt x="90" y="284"/>
                    <a:pt x="89" y="284"/>
                    <a:pt x="89" y="284"/>
                  </a:cubicBezTo>
                  <a:cubicBezTo>
                    <a:pt x="89" y="284"/>
                    <a:pt x="89" y="283"/>
                    <a:pt x="89" y="283"/>
                  </a:cubicBezTo>
                  <a:cubicBezTo>
                    <a:pt x="88" y="283"/>
                    <a:pt x="88" y="283"/>
                    <a:pt x="88" y="283"/>
                  </a:cubicBezTo>
                  <a:cubicBezTo>
                    <a:pt x="88" y="283"/>
                    <a:pt x="88" y="283"/>
                    <a:pt x="88" y="283"/>
                  </a:cubicBezTo>
                  <a:cubicBezTo>
                    <a:pt x="88" y="283"/>
                    <a:pt x="87" y="283"/>
                    <a:pt x="87" y="283"/>
                  </a:cubicBezTo>
                  <a:cubicBezTo>
                    <a:pt x="87" y="283"/>
                    <a:pt x="87" y="283"/>
                    <a:pt x="87" y="283"/>
                  </a:cubicBezTo>
                  <a:cubicBezTo>
                    <a:pt x="86" y="282"/>
                    <a:pt x="86" y="282"/>
                    <a:pt x="85" y="282"/>
                  </a:cubicBezTo>
                  <a:cubicBezTo>
                    <a:pt x="85" y="282"/>
                    <a:pt x="85" y="282"/>
                    <a:pt x="85" y="282"/>
                  </a:cubicBezTo>
                  <a:cubicBezTo>
                    <a:pt x="85" y="282"/>
                    <a:pt x="84" y="281"/>
                    <a:pt x="83" y="282"/>
                  </a:cubicBezTo>
                  <a:cubicBezTo>
                    <a:pt x="83" y="282"/>
                    <a:pt x="83" y="282"/>
                    <a:pt x="83" y="282"/>
                  </a:cubicBezTo>
                  <a:cubicBezTo>
                    <a:pt x="82" y="282"/>
                    <a:pt x="81" y="282"/>
                    <a:pt x="80" y="283"/>
                  </a:cubicBezTo>
                  <a:cubicBezTo>
                    <a:pt x="80" y="283"/>
                    <a:pt x="80" y="283"/>
                    <a:pt x="80" y="283"/>
                  </a:cubicBezTo>
                  <a:cubicBezTo>
                    <a:pt x="79" y="283"/>
                    <a:pt x="78" y="283"/>
                    <a:pt x="78" y="284"/>
                  </a:cubicBezTo>
                  <a:cubicBezTo>
                    <a:pt x="78" y="284"/>
                    <a:pt x="78" y="284"/>
                    <a:pt x="78" y="284"/>
                  </a:cubicBezTo>
                  <a:cubicBezTo>
                    <a:pt x="77" y="284"/>
                    <a:pt x="77" y="284"/>
                    <a:pt x="76" y="284"/>
                  </a:cubicBezTo>
                  <a:cubicBezTo>
                    <a:pt x="76" y="284"/>
                    <a:pt x="76" y="285"/>
                    <a:pt x="76" y="285"/>
                  </a:cubicBezTo>
                  <a:cubicBezTo>
                    <a:pt x="76" y="285"/>
                    <a:pt x="75" y="285"/>
                    <a:pt x="75" y="285"/>
                  </a:cubicBezTo>
                  <a:cubicBezTo>
                    <a:pt x="75" y="285"/>
                    <a:pt x="75" y="286"/>
                    <a:pt x="75" y="286"/>
                  </a:cubicBezTo>
                  <a:cubicBezTo>
                    <a:pt x="74" y="286"/>
                    <a:pt x="74" y="286"/>
                    <a:pt x="74" y="286"/>
                  </a:cubicBezTo>
                  <a:cubicBezTo>
                    <a:pt x="74" y="286"/>
                    <a:pt x="74" y="286"/>
                    <a:pt x="74" y="286"/>
                  </a:cubicBezTo>
                  <a:cubicBezTo>
                    <a:pt x="73" y="286"/>
                    <a:pt x="73" y="286"/>
                    <a:pt x="73" y="286"/>
                  </a:cubicBezTo>
                  <a:cubicBezTo>
                    <a:pt x="73" y="287"/>
                    <a:pt x="73" y="287"/>
                    <a:pt x="72" y="288"/>
                  </a:cubicBezTo>
                  <a:cubicBezTo>
                    <a:pt x="72" y="288"/>
                    <a:pt x="72" y="288"/>
                    <a:pt x="72" y="288"/>
                  </a:cubicBezTo>
                  <a:cubicBezTo>
                    <a:pt x="71" y="288"/>
                    <a:pt x="71" y="288"/>
                    <a:pt x="71" y="289"/>
                  </a:cubicBezTo>
                  <a:cubicBezTo>
                    <a:pt x="70" y="289"/>
                    <a:pt x="70" y="289"/>
                    <a:pt x="70" y="289"/>
                  </a:cubicBezTo>
                  <a:cubicBezTo>
                    <a:pt x="70" y="289"/>
                    <a:pt x="69" y="290"/>
                    <a:pt x="69" y="290"/>
                  </a:cubicBezTo>
                  <a:cubicBezTo>
                    <a:pt x="68" y="291"/>
                    <a:pt x="67" y="292"/>
                    <a:pt x="66" y="292"/>
                  </a:cubicBezTo>
                  <a:cubicBezTo>
                    <a:pt x="66" y="293"/>
                    <a:pt x="66" y="293"/>
                    <a:pt x="66" y="293"/>
                  </a:cubicBezTo>
                  <a:cubicBezTo>
                    <a:pt x="66" y="294"/>
                    <a:pt x="65" y="294"/>
                    <a:pt x="65" y="295"/>
                  </a:cubicBezTo>
                  <a:cubicBezTo>
                    <a:pt x="65" y="295"/>
                    <a:pt x="65" y="295"/>
                    <a:pt x="65" y="295"/>
                  </a:cubicBezTo>
                  <a:cubicBezTo>
                    <a:pt x="64" y="295"/>
                    <a:pt x="64" y="295"/>
                    <a:pt x="64" y="296"/>
                  </a:cubicBezTo>
                  <a:cubicBezTo>
                    <a:pt x="64" y="296"/>
                    <a:pt x="64" y="296"/>
                    <a:pt x="64" y="297"/>
                  </a:cubicBezTo>
                  <a:cubicBezTo>
                    <a:pt x="63" y="297"/>
                    <a:pt x="63" y="297"/>
                    <a:pt x="63" y="297"/>
                  </a:cubicBezTo>
                  <a:cubicBezTo>
                    <a:pt x="63" y="297"/>
                    <a:pt x="63" y="297"/>
                    <a:pt x="63" y="297"/>
                  </a:cubicBezTo>
                  <a:cubicBezTo>
                    <a:pt x="63" y="297"/>
                    <a:pt x="63" y="298"/>
                    <a:pt x="62" y="298"/>
                  </a:cubicBezTo>
                  <a:cubicBezTo>
                    <a:pt x="62" y="298"/>
                    <a:pt x="62" y="299"/>
                    <a:pt x="62" y="299"/>
                  </a:cubicBezTo>
                  <a:cubicBezTo>
                    <a:pt x="62" y="299"/>
                    <a:pt x="62" y="299"/>
                    <a:pt x="61" y="299"/>
                  </a:cubicBezTo>
                  <a:cubicBezTo>
                    <a:pt x="61" y="300"/>
                    <a:pt x="61" y="301"/>
                    <a:pt x="60" y="302"/>
                  </a:cubicBezTo>
                  <a:cubicBezTo>
                    <a:pt x="60" y="302"/>
                    <a:pt x="59" y="302"/>
                    <a:pt x="59" y="302"/>
                  </a:cubicBezTo>
                  <a:cubicBezTo>
                    <a:pt x="59" y="302"/>
                    <a:pt x="59" y="302"/>
                    <a:pt x="59" y="302"/>
                  </a:cubicBezTo>
                  <a:cubicBezTo>
                    <a:pt x="58" y="302"/>
                    <a:pt x="57" y="302"/>
                    <a:pt x="57" y="301"/>
                  </a:cubicBezTo>
                  <a:cubicBezTo>
                    <a:pt x="55" y="301"/>
                    <a:pt x="54" y="300"/>
                    <a:pt x="53" y="299"/>
                  </a:cubicBezTo>
                  <a:cubicBezTo>
                    <a:pt x="53" y="298"/>
                    <a:pt x="53" y="298"/>
                    <a:pt x="53" y="298"/>
                  </a:cubicBezTo>
                  <a:cubicBezTo>
                    <a:pt x="53" y="298"/>
                    <a:pt x="52" y="297"/>
                    <a:pt x="52" y="297"/>
                  </a:cubicBezTo>
                  <a:cubicBezTo>
                    <a:pt x="52" y="297"/>
                    <a:pt x="52" y="296"/>
                    <a:pt x="52" y="296"/>
                  </a:cubicBezTo>
                  <a:cubicBezTo>
                    <a:pt x="51" y="296"/>
                    <a:pt x="51" y="296"/>
                    <a:pt x="51" y="296"/>
                  </a:cubicBezTo>
                  <a:cubicBezTo>
                    <a:pt x="51" y="295"/>
                    <a:pt x="51" y="295"/>
                    <a:pt x="51" y="295"/>
                  </a:cubicBezTo>
                  <a:cubicBezTo>
                    <a:pt x="50" y="294"/>
                    <a:pt x="50" y="294"/>
                    <a:pt x="50" y="294"/>
                  </a:cubicBezTo>
                  <a:cubicBezTo>
                    <a:pt x="50" y="294"/>
                    <a:pt x="50" y="294"/>
                    <a:pt x="50" y="293"/>
                  </a:cubicBezTo>
                  <a:cubicBezTo>
                    <a:pt x="50" y="293"/>
                    <a:pt x="50" y="293"/>
                    <a:pt x="50" y="293"/>
                  </a:cubicBezTo>
                  <a:cubicBezTo>
                    <a:pt x="50" y="293"/>
                    <a:pt x="50" y="293"/>
                    <a:pt x="50" y="293"/>
                  </a:cubicBezTo>
                  <a:cubicBezTo>
                    <a:pt x="49" y="293"/>
                    <a:pt x="49" y="293"/>
                    <a:pt x="49" y="293"/>
                  </a:cubicBezTo>
                  <a:cubicBezTo>
                    <a:pt x="49" y="293"/>
                    <a:pt x="49" y="292"/>
                    <a:pt x="49" y="292"/>
                  </a:cubicBezTo>
                  <a:cubicBezTo>
                    <a:pt x="49" y="292"/>
                    <a:pt x="49" y="292"/>
                    <a:pt x="49" y="292"/>
                  </a:cubicBezTo>
                  <a:cubicBezTo>
                    <a:pt x="49" y="292"/>
                    <a:pt x="49" y="292"/>
                    <a:pt x="49" y="291"/>
                  </a:cubicBezTo>
                  <a:cubicBezTo>
                    <a:pt x="49" y="291"/>
                    <a:pt x="49" y="291"/>
                    <a:pt x="48" y="291"/>
                  </a:cubicBezTo>
                  <a:cubicBezTo>
                    <a:pt x="48" y="291"/>
                    <a:pt x="48" y="290"/>
                    <a:pt x="48" y="290"/>
                  </a:cubicBezTo>
                  <a:cubicBezTo>
                    <a:pt x="48" y="290"/>
                    <a:pt x="48" y="290"/>
                    <a:pt x="47" y="290"/>
                  </a:cubicBezTo>
                  <a:cubicBezTo>
                    <a:pt x="47" y="289"/>
                    <a:pt x="47" y="289"/>
                    <a:pt x="47" y="289"/>
                  </a:cubicBezTo>
                  <a:cubicBezTo>
                    <a:pt x="47" y="289"/>
                    <a:pt x="47" y="289"/>
                    <a:pt x="47" y="289"/>
                  </a:cubicBezTo>
                  <a:cubicBezTo>
                    <a:pt x="47" y="289"/>
                    <a:pt x="47" y="288"/>
                    <a:pt x="47" y="288"/>
                  </a:cubicBezTo>
                  <a:cubicBezTo>
                    <a:pt x="47" y="288"/>
                    <a:pt x="47" y="288"/>
                    <a:pt x="47" y="288"/>
                  </a:cubicBezTo>
                  <a:cubicBezTo>
                    <a:pt x="47" y="288"/>
                    <a:pt x="47" y="288"/>
                    <a:pt x="47" y="288"/>
                  </a:cubicBezTo>
                  <a:cubicBezTo>
                    <a:pt x="47" y="288"/>
                    <a:pt x="47" y="288"/>
                    <a:pt x="46" y="288"/>
                  </a:cubicBezTo>
                  <a:cubicBezTo>
                    <a:pt x="46" y="287"/>
                    <a:pt x="46" y="287"/>
                    <a:pt x="46" y="287"/>
                  </a:cubicBezTo>
                  <a:cubicBezTo>
                    <a:pt x="46" y="287"/>
                    <a:pt x="46" y="287"/>
                    <a:pt x="46" y="287"/>
                  </a:cubicBezTo>
                  <a:cubicBezTo>
                    <a:pt x="46" y="287"/>
                    <a:pt x="46" y="286"/>
                    <a:pt x="46" y="286"/>
                  </a:cubicBezTo>
                  <a:cubicBezTo>
                    <a:pt x="46" y="286"/>
                    <a:pt x="46" y="286"/>
                    <a:pt x="45" y="286"/>
                  </a:cubicBezTo>
                  <a:cubicBezTo>
                    <a:pt x="45" y="285"/>
                    <a:pt x="44" y="284"/>
                    <a:pt x="44" y="283"/>
                  </a:cubicBezTo>
                  <a:cubicBezTo>
                    <a:pt x="43" y="283"/>
                    <a:pt x="43" y="283"/>
                    <a:pt x="43" y="283"/>
                  </a:cubicBezTo>
                  <a:cubicBezTo>
                    <a:pt x="43" y="284"/>
                    <a:pt x="43" y="286"/>
                    <a:pt x="43" y="286"/>
                  </a:cubicBezTo>
                  <a:cubicBezTo>
                    <a:pt x="42" y="286"/>
                    <a:pt x="42" y="286"/>
                    <a:pt x="42" y="286"/>
                  </a:cubicBezTo>
                  <a:cubicBezTo>
                    <a:pt x="42" y="286"/>
                    <a:pt x="41" y="285"/>
                    <a:pt x="41" y="285"/>
                  </a:cubicBezTo>
                  <a:cubicBezTo>
                    <a:pt x="41" y="285"/>
                    <a:pt x="41" y="285"/>
                    <a:pt x="40" y="285"/>
                  </a:cubicBezTo>
                  <a:cubicBezTo>
                    <a:pt x="40" y="284"/>
                    <a:pt x="40" y="284"/>
                    <a:pt x="40" y="284"/>
                  </a:cubicBezTo>
                  <a:cubicBezTo>
                    <a:pt x="40" y="284"/>
                    <a:pt x="40" y="284"/>
                    <a:pt x="40" y="284"/>
                  </a:cubicBezTo>
                  <a:cubicBezTo>
                    <a:pt x="39" y="283"/>
                    <a:pt x="39" y="283"/>
                    <a:pt x="39" y="282"/>
                  </a:cubicBezTo>
                  <a:cubicBezTo>
                    <a:pt x="39" y="280"/>
                    <a:pt x="39" y="277"/>
                    <a:pt x="40" y="275"/>
                  </a:cubicBezTo>
                  <a:cubicBezTo>
                    <a:pt x="40" y="275"/>
                    <a:pt x="40" y="274"/>
                    <a:pt x="40" y="274"/>
                  </a:cubicBezTo>
                  <a:cubicBezTo>
                    <a:pt x="41" y="272"/>
                    <a:pt x="41" y="270"/>
                    <a:pt x="41" y="268"/>
                  </a:cubicBezTo>
                  <a:cubicBezTo>
                    <a:pt x="42" y="267"/>
                    <a:pt x="42" y="265"/>
                    <a:pt x="42" y="264"/>
                  </a:cubicBezTo>
                  <a:cubicBezTo>
                    <a:pt x="43" y="261"/>
                    <a:pt x="43" y="257"/>
                    <a:pt x="44" y="253"/>
                  </a:cubicBezTo>
                  <a:cubicBezTo>
                    <a:pt x="44" y="253"/>
                    <a:pt x="44" y="252"/>
                    <a:pt x="44" y="251"/>
                  </a:cubicBezTo>
                  <a:cubicBezTo>
                    <a:pt x="45" y="248"/>
                    <a:pt x="46" y="245"/>
                    <a:pt x="46" y="242"/>
                  </a:cubicBezTo>
                  <a:cubicBezTo>
                    <a:pt x="47" y="242"/>
                    <a:pt x="47" y="242"/>
                    <a:pt x="47" y="242"/>
                  </a:cubicBezTo>
                  <a:cubicBezTo>
                    <a:pt x="47" y="242"/>
                    <a:pt x="47" y="242"/>
                    <a:pt x="47" y="241"/>
                  </a:cubicBezTo>
                  <a:cubicBezTo>
                    <a:pt x="47" y="241"/>
                    <a:pt x="47" y="241"/>
                    <a:pt x="47" y="241"/>
                  </a:cubicBezTo>
                  <a:cubicBezTo>
                    <a:pt x="47" y="241"/>
                    <a:pt x="47" y="241"/>
                    <a:pt x="47" y="241"/>
                  </a:cubicBezTo>
                  <a:cubicBezTo>
                    <a:pt x="48" y="241"/>
                    <a:pt x="48" y="240"/>
                    <a:pt x="48" y="240"/>
                  </a:cubicBezTo>
                  <a:cubicBezTo>
                    <a:pt x="48" y="240"/>
                    <a:pt x="49" y="239"/>
                    <a:pt x="49" y="238"/>
                  </a:cubicBezTo>
                  <a:cubicBezTo>
                    <a:pt x="49" y="238"/>
                    <a:pt x="49" y="238"/>
                    <a:pt x="50" y="238"/>
                  </a:cubicBezTo>
                  <a:cubicBezTo>
                    <a:pt x="50" y="237"/>
                    <a:pt x="50" y="236"/>
                    <a:pt x="50" y="236"/>
                  </a:cubicBezTo>
                  <a:cubicBezTo>
                    <a:pt x="50" y="236"/>
                    <a:pt x="51" y="236"/>
                    <a:pt x="51" y="235"/>
                  </a:cubicBezTo>
                  <a:cubicBezTo>
                    <a:pt x="51" y="235"/>
                    <a:pt x="51" y="234"/>
                    <a:pt x="52" y="233"/>
                  </a:cubicBezTo>
                  <a:cubicBezTo>
                    <a:pt x="52" y="233"/>
                    <a:pt x="52" y="233"/>
                    <a:pt x="52" y="233"/>
                  </a:cubicBezTo>
                  <a:cubicBezTo>
                    <a:pt x="52" y="232"/>
                    <a:pt x="53" y="232"/>
                    <a:pt x="53" y="232"/>
                  </a:cubicBezTo>
                  <a:cubicBezTo>
                    <a:pt x="53" y="231"/>
                    <a:pt x="53" y="231"/>
                    <a:pt x="53" y="231"/>
                  </a:cubicBezTo>
                  <a:cubicBezTo>
                    <a:pt x="53" y="231"/>
                    <a:pt x="53" y="231"/>
                    <a:pt x="53" y="231"/>
                  </a:cubicBezTo>
                  <a:cubicBezTo>
                    <a:pt x="54" y="231"/>
                    <a:pt x="54" y="231"/>
                    <a:pt x="54" y="231"/>
                  </a:cubicBezTo>
                  <a:cubicBezTo>
                    <a:pt x="54" y="230"/>
                    <a:pt x="54" y="230"/>
                    <a:pt x="54" y="230"/>
                  </a:cubicBezTo>
                  <a:cubicBezTo>
                    <a:pt x="54" y="230"/>
                    <a:pt x="54" y="230"/>
                    <a:pt x="54" y="230"/>
                  </a:cubicBezTo>
                  <a:cubicBezTo>
                    <a:pt x="54" y="230"/>
                    <a:pt x="54" y="229"/>
                    <a:pt x="54" y="229"/>
                  </a:cubicBezTo>
                  <a:cubicBezTo>
                    <a:pt x="54" y="229"/>
                    <a:pt x="55" y="229"/>
                    <a:pt x="55" y="229"/>
                  </a:cubicBezTo>
                  <a:cubicBezTo>
                    <a:pt x="55" y="228"/>
                    <a:pt x="55" y="227"/>
                    <a:pt x="55" y="227"/>
                  </a:cubicBezTo>
                  <a:cubicBezTo>
                    <a:pt x="56" y="227"/>
                    <a:pt x="56" y="226"/>
                    <a:pt x="56" y="226"/>
                  </a:cubicBezTo>
                  <a:cubicBezTo>
                    <a:pt x="56" y="226"/>
                    <a:pt x="57" y="225"/>
                    <a:pt x="57" y="224"/>
                  </a:cubicBezTo>
                  <a:cubicBezTo>
                    <a:pt x="58" y="223"/>
                    <a:pt x="59" y="221"/>
                    <a:pt x="60" y="219"/>
                  </a:cubicBezTo>
                  <a:cubicBezTo>
                    <a:pt x="59" y="219"/>
                    <a:pt x="58" y="217"/>
                    <a:pt x="58" y="217"/>
                  </a:cubicBezTo>
                  <a:cubicBezTo>
                    <a:pt x="58" y="217"/>
                    <a:pt x="58" y="216"/>
                    <a:pt x="58" y="216"/>
                  </a:cubicBezTo>
                  <a:cubicBezTo>
                    <a:pt x="58" y="216"/>
                    <a:pt x="57" y="216"/>
                    <a:pt x="57" y="216"/>
                  </a:cubicBezTo>
                  <a:cubicBezTo>
                    <a:pt x="57" y="216"/>
                    <a:pt x="57" y="215"/>
                    <a:pt x="57" y="215"/>
                  </a:cubicBezTo>
                  <a:cubicBezTo>
                    <a:pt x="57" y="215"/>
                    <a:pt x="57" y="215"/>
                    <a:pt x="57" y="215"/>
                  </a:cubicBezTo>
                  <a:cubicBezTo>
                    <a:pt x="57" y="215"/>
                    <a:pt x="57" y="214"/>
                    <a:pt x="57" y="214"/>
                  </a:cubicBezTo>
                  <a:cubicBezTo>
                    <a:pt x="56" y="214"/>
                    <a:pt x="56" y="214"/>
                    <a:pt x="56" y="214"/>
                  </a:cubicBezTo>
                  <a:cubicBezTo>
                    <a:pt x="56" y="213"/>
                    <a:pt x="56" y="213"/>
                    <a:pt x="56" y="213"/>
                  </a:cubicBezTo>
                  <a:cubicBezTo>
                    <a:pt x="56" y="213"/>
                    <a:pt x="55" y="213"/>
                    <a:pt x="55" y="213"/>
                  </a:cubicBezTo>
                  <a:cubicBezTo>
                    <a:pt x="55" y="212"/>
                    <a:pt x="55" y="212"/>
                    <a:pt x="55" y="212"/>
                  </a:cubicBezTo>
                  <a:cubicBezTo>
                    <a:pt x="55" y="212"/>
                    <a:pt x="55" y="212"/>
                    <a:pt x="54" y="212"/>
                  </a:cubicBezTo>
                  <a:cubicBezTo>
                    <a:pt x="54" y="211"/>
                    <a:pt x="54" y="211"/>
                    <a:pt x="54" y="210"/>
                  </a:cubicBezTo>
                  <a:cubicBezTo>
                    <a:pt x="54" y="210"/>
                    <a:pt x="54" y="210"/>
                    <a:pt x="53" y="210"/>
                  </a:cubicBezTo>
                  <a:cubicBezTo>
                    <a:pt x="53" y="210"/>
                    <a:pt x="53" y="209"/>
                    <a:pt x="53" y="209"/>
                  </a:cubicBezTo>
                  <a:cubicBezTo>
                    <a:pt x="53" y="209"/>
                    <a:pt x="53" y="209"/>
                    <a:pt x="53" y="209"/>
                  </a:cubicBezTo>
                  <a:cubicBezTo>
                    <a:pt x="53" y="209"/>
                    <a:pt x="53" y="208"/>
                    <a:pt x="53" y="208"/>
                  </a:cubicBezTo>
                  <a:cubicBezTo>
                    <a:pt x="52" y="208"/>
                    <a:pt x="52" y="208"/>
                    <a:pt x="52" y="208"/>
                  </a:cubicBezTo>
                  <a:cubicBezTo>
                    <a:pt x="52" y="208"/>
                    <a:pt x="52" y="207"/>
                    <a:pt x="52" y="207"/>
                  </a:cubicBezTo>
                  <a:cubicBezTo>
                    <a:pt x="52" y="207"/>
                    <a:pt x="52" y="207"/>
                    <a:pt x="51" y="207"/>
                  </a:cubicBezTo>
                  <a:cubicBezTo>
                    <a:pt x="51" y="206"/>
                    <a:pt x="51" y="206"/>
                    <a:pt x="51" y="206"/>
                  </a:cubicBezTo>
                  <a:cubicBezTo>
                    <a:pt x="51" y="206"/>
                    <a:pt x="51" y="206"/>
                    <a:pt x="51" y="206"/>
                  </a:cubicBezTo>
                  <a:cubicBezTo>
                    <a:pt x="50" y="205"/>
                    <a:pt x="50" y="205"/>
                    <a:pt x="50" y="204"/>
                  </a:cubicBezTo>
                  <a:cubicBezTo>
                    <a:pt x="50" y="204"/>
                    <a:pt x="50" y="204"/>
                    <a:pt x="50" y="204"/>
                  </a:cubicBezTo>
                  <a:cubicBezTo>
                    <a:pt x="50" y="204"/>
                    <a:pt x="50" y="203"/>
                    <a:pt x="50" y="203"/>
                  </a:cubicBezTo>
                  <a:cubicBezTo>
                    <a:pt x="49" y="203"/>
                    <a:pt x="49" y="203"/>
                    <a:pt x="49" y="203"/>
                  </a:cubicBezTo>
                  <a:cubicBezTo>
                    <a:pt x="49" y="203"/>
                    <a:pt x="49" y="202"/>
                    <a:pt x="49" y="202"/>
                  </a:cubicBezTo>
                  <a:cubicBezTo>
                    <a:pt x="49" y="202"/>
                    <a:pt x="48" y="202"/>
                    <a:pt x="48" y="202"/>
                  </a:cubicBezTo>
                  <a:cubicBezTo>
                    <a:pt x="48" y="202"/>
                    <a:pt x="48" y="201"/>
                    <a:pt x="48" y="201"/>
                  </a:cubicBezTo>
                  <a:cubicBezTo>
                    <a:pt x="48" y="201"/>
                    <a:pt x="48" y="201"/>
                    <a:pt x="47" y="201"/>
                  </a:cubicBezTo>
                  <a:cubicBezTo>
                    <a:pt x="47" y="200"/>
                    <a:pt x="47" y="200"/>
                    <a:pt x="47" y="200"/>
                  </a:cubicBezTo>
                  <a:cubicBezTo>
                    <a:pt x="47" y="200"/>
                    <a:pt x="47" y="200"/>
                    <a:pt x="47" y="200"/>
                  </a:cubicBezTo>
                  <a:cubicBezTo>
                    <a:pt x="47" y="199"/>
                    <a:pt x="47" y="199"/>
                    <a:pt x="46" y="198"/>
                  </a:cubicBezTo>
                  <a:cubicBezTo>
                    <a:pt x="46" y="198"/>
                    <a:pt x="46" y="198"/>
                    <a:pt x="46" y="198"/>
                  </a:cubicBezTo>
                  <a:cubicBezTo>
                    <a:pt x="46" y="198"/>
                    <a:pt x="46" y="198"/>
                    <a:pt x="46" y="197"/>
                  </a:cubicBezTo>
                  <a:cubicBezTo>
                    <a:pt x="45" y="197"/>
                    <a:pt x="45" y="197"/>
                    <a:pt x="45" y="197"/>
                  </a:cubicBezTo>
                  <a:cubicBezTo>
                    <a:pt x="45" y="197"/>
                    <a:pt x="45" y="196"/>
                    <a:pt x="45" y="196"/>
                  </a:cubicBezTo>
                  <a:cubicBezTo>
                    <a:pt x="45" y="196"/>
                    <a:pt x="45" y="196"/>
                    <a:pt x="44" y="196"/>
                  </a:cubicBezTo>
                  <a:cubicBezTo>
                    <a:pt x="44" y="196"/>
                    <a:pt x="44" y="195"/>
                    <a:pt x="44" y="195"/>
                  </a:cubicBezTo>
                  <a:cubicBezTo>
                    <a:pt x="44" y="195"/>
                    <a:pt x="44" y="195"/>
                    <a:pt x="44" y="195"/>
                  </a:cubicBezTo>
                  <a:cubicBezTo>
                    <a:pt x="43" y="194"/>
                    <a:pt x="43" y="194"/>
                    <a:pt x="43" y="194"/>
                  </a:cubicBezTo>
                  <a:cubicBezTo>
                    <a:pt x="43" y="194"/>
                    <a:pt x="43" y="194"/>
                    <a:pt x="43" y="194"/>
                  </a:cubicBezTo>
                  <a:cubicBezTo>
                    <a:pt x="43" y="193"/>
                    <a:pt x="43" y="193"/>
                    <a:pt x="43" y="192"/>
                  </a:cubicBezTo>
                  <a:cubicBezTo>
                    <a:pt x="42" y="192"/>
                    <a:pt x="42" y="192"/>
                    <a:pt x="42" y="192"/>
                  </a:cubicBezTo>
                  <a:cubicBezTo>
                    <a:pt x="42" y="192"/>
                    <a:pt x="42" y="192"/>
                    <a:pt x="42" y="191"/>
                  </a:cubicBezTo>
                  <a:cubicBezTo>
                    <a:pt x="42" y="191"/>
                    <a:pt x="41" y="191"/>
                    <a:pt x="41" y="191"/>
                  </a:cubicBezTo>
                  <a:cubicBezTo>
                    <a:pt x="41" y="191"/>
                    <a:pt x="41" y="191"/>
                    <a:pt x="41" y="190"/>
                  </a:cubicBezTo>
                  <a:cubicBezTo>
                    <a:pt x="41" y="190"/>
                    <a:pt x="41" y="190"/>
                    <a:pt x="40" y="190"/>
                  </a:cubicBezTo>
                  <a:cubicBezTo>
                    <a:pt x="40" y="190"/>
                    <a:pt x="40" y="189"/>
                    <a:pt x="40" y="189"/>
                  </a:cubicBezTo>
                  <a:cubicBezTo>
                    <a:pt x="40" y="189"/>
                    <a:pt x="40" y="189"/>
                    <a:pt x="40" y="189"/>
                  </a:cubicBezTo>
                  <a:cubicBezTo>
                    <a:pt x="40" y="189"/>
                    <a:pt x="40" y="188"/>
                    <a:pt x="40" y="188"/>
                  </a:cubicBezTo>
                  <a:cubicBezTo>
                    <a:pt x="31" y="179"/>
                    <a:pt x="21" y="170"/>
                    <a:pt x="12" y="162"/>
                  </a:cubicBezTo>
                  <a:cubicBezTo>
                    <a:pt x="12" y="161"/>
                    <a:pt x="12" y="161"/>
                    <a:pt x="12" y="160"/>
                  </a:cubicBezTo>
                  <a:cubicBezTo>
                    <a:pt x="12" y="160"/>
                    <a:pt x="12" y="160"/>
                    <a:pt x="11" y="160"/>
                  </a:cubicBezTo>
                  <a:cubicBezTo>
                    <a:pt x="11" y="160"/>
                    <a:pt x="11" y="160"/>
                    <a:pt x="11" y="160"/>
                  </a:cubicBezTo>
                  <a:cubicBezTo>
                    <a:pt x="11" y="159"/>
                    <a:pt x="11" y="159"/>
                    <a:pt x="11" y="159"/>
                  </a:cubicBezTo>
                  <a:cubicBezTo>
                    <a:pt x="11" y="159"/>
                    <a:pt x="10" y="158"/>
                    <a:pt x="10" y="158"/>
                  </a:cubicBezTo>
                  <a:cubicBezTo>
                    <a:pt x="10" y="158"/>
                    <a:pt x="10" y="158"/>
                    <a:pt x="10" y="157"/>
                  </a:cubicBezTo>
                  <a:cubicBezTo>
                    <a:pt x="9" y="157"/>
                    <a:pt x="9" y="156"/>
                    <a:pt x="9" y="155"/>
                  </a:cubicBezTo>
                  <a:cubicBezTo>
                    <a:pt x="9" y="155"/>
                    <a:pt x="9" y="155"/>
                    <a:pt x="8" y="155"/>
                  </a:cubicBezTo>
                  <a:cubicBezTo>
                    <a:pt x="8" y="155"/>
                    <a:pt x="8" y="154"/>
                    <a:pt x="8" y="154"/>
                  </a:cubicBezTo>
                  <a:cubicBezTo>
                    <a:pt x="8" y="154"/>
                    <a:pt x="8" y="154"/>
                    <a:pt x="8" y="154"/>
                  </a:cubicBezTo>
                  <a:cubicBezTo>
                    <a:pt x="8" y="154"/>
                    <a:pt x="8" y="154"/>
                    <a:pt x="8" y="154"/>
                  </a:cubicBezTo>
                  <a:cubicBezTo>
                    <a:pt x="8" y="153"/>
                    <a:pt x="7" y="153"/>
                    <a:pt x="7" y="153"/>
                  </a:cubicBezTo>
                  <a:cubicBezTo>
                    <a:pt x="7" y="153"/>
                    <a:pt x="7" y="152"/>
                    <a:pt x="7" y="151"/>
                  </a:cubicBezTo>
                  <a:cubicBezTo>
                    <a:pt x="6" y="151"/>
                    <a:pt x="6" y="151"/>
                    <a:pt x="6" y="151"/>
                  </a:cubicBezTo>
                  <a:cubicBezTo>
                    <a:pt x="6" y="151"/>
                    <a:pt x="6" y="150"/>
                    <a:pt x="6" y="150"/>
                  </a:cubicBezTo>
                  <a:cubicBezTo>
                    <a:pt x="6" y="150"/>
                    <a:pt x="6" y="150"/>
                    <a:pt x="5" y="150"/>
                  </a:cubicBezTo>
                  <a:cubicBezTo>
                    <a:pt x="5" y="150"/>
                    <a:pt x="5" y="150"/>
                    <a:pt x="5" y="149"/>
                  </a:cubicBezTo>
                  <a:cubicBezTo>
                    <a:pt x="5" y="149"/>
                    <a:pt x="5" y="149"/>
                    <a:pt x="5" y="149"/>
                  </a:cubicBezTo>
                  <a:cubicBezTo>
                    <a:pt x="5" y="148"/>
                    <a:pt x="4" y="148"/>
                    <a:pt x="4" y="147"/>
                  </a:cubicBezTo>
                  <a:cubicBezTo>
                    <a:pt x="4" y="147"/>
                    <a:pt x="4" y="147"/>
                    <a:pt x="3" y="147"/>
                  </a:cubicBezTo>
                  <a:cubicBezTo>
                    <a:pt x="3" y="146"/>
                    <a:pt x="3" y="146"/>
                    <a:pt x="3" y="145"/>
                  </a:cubicBezTo>
                  <a:cubicBezTo>
                    <a:pt x="3" y="145"/>
                    <a:pt x="3" y="145"/>
                    <a:pt x="2" y="145"/>
                  </a:cubicBezTo>
                  <a:cubicBezTo>
                    <a:pt x="2" y="144"/>
                    <a:pt x="2" y="143"/>
                    <a:pt x="2" y="143"/>
                  </a:cubicBezTo>
                  <a:cubicBezTo>
                    <a:pt x="1" y="143"/>
                    <a:pt x="1" y="142"/>
                    <a:pt x="1" y="142"/>
                  </a:cubicBezTo>
                  <a:cubicBezTo>
                    <a:pt x="1" y="142"/>
                    <a:pt x="1" y="142"/>
                    <a:pt x="1" y="142"/>
                  </a:cubicBezTo>
                  <a:cubicBezTo>
                    <a:pt x="1" y="142"/>
                    <a:pt x="1" y="142"/>
                    <a:pt x="1" y="142"/>
                  </a:cubicBezTo>
                  <a:cubicBezTo>
                    <a:pt x="1" y="141"/>
                    <a:pt x="1" y="141"/>
                    <a:pt x="1" y="141"/>
                  </a:cubicBezTo>
                  <a:cubicBezTo>
                    <a:pt x="0" y="141"/>
                    <a:pt x="0" y="141"/>
                    <a:pt x="0" y="140"/>
                  </a:cubicBezTo>
                  <a:cubicBezTo>
                    <a:pt x="1" y="140"/>
                    <a:pt x="2" y="139"/>
                    <a:pt x="2" y="138"/>
                  </a:cubicBezTo>
                  <a:cubicBezTo>
                    <a:pt x="2" y="138"/>
                    <a:pt x="2" y="138"/>
                    <a:pt x="2" y="137"/>
                  </a:cubicBezTo>
                  <a:cubicBezTo>
                    <a:pt x="4" y="136"/>
                    <a:pt x="5" y="135"/>
                    <a:pt x="6" y="134"/>
                  </a:cubicBezTo>
                  <a:cubicBezTo>
                    <a:pt x="6" y="134"/>
                    <a:pt x="6" y="133"/>
                    <a:pt x="7" y="133"/>
                  </a:cubicBezTo>
                  <a:cubicBezTo>
                    <a:pt x="8" y="132"/>
                    <a:pt x="9" y="131"/>
                    <a:pt x="10" y="130"/>
                  </a:cubicBezTo>
                  <a:cubicBezTo>
                    <a:pt x="10" y="129"/>
                    <a:pt x="10" y="128"/>
                    <a:pt x="10" y="127"/>
                  </a:cubicBezTo>
                  <a:cubicBezTo>
                    <a:pt x="9" y="126"/>
                    <a:pt x="10" y="124"/>
                    <a:pt x="10" y="123"/>
                  </a:cubicBezTo>
                  <a:cubicBezTo>
                    <a:pt x="10" y="122"/>
                    <a:pt x="10" y="122"/>
                    <a:pt x="10" y="122"/>
                  </a:cubicBezTo>
                  <a:cubicBezTo>
                    <a:pt x="10" y="122"/>
                    <a:pt x="9" y="122"/>
                    <a:pt x="9" y="122"/>
                  </a:cubicBezTo>
                  <a:cubicBezTo>
                    <a:pt x="9" y="120"/>
                    <a:pt x="9" y="118"/>
                    <a:pt x="9" y="116"/>
                  </a:cubicBezTo>
                  <a:cubicBezTo>
                    <a:pt x="13" y="116"/>
                    <a:pt x="17" y="116"/>
                    <a:pt x="21" y="116"/>
                  </a:cubicBezTo>
                  <a:cubicBezTo>
                    <a:pt x="23" y="123"/>
                    <a:pt x="25" y="130"/>
                    <a:pt x="28" y="137"/>
                  </a:cubicBezTo>
                  <a:cubicBezTo>
                    <a:pt x="33" y="137"/>
                    <a:pt x="37" y="137"/>
                    <a:pt x="42" y="138"/>
                  </a:cubicBezTo>
                  <a:cubicBezTo>
                    <a:pt x="42" y="137"/>
                    <a:pt x="43" y="136"/>
                    <a:pt x="44" y="136"/>
                  </a:cubicBezTo>
                  <a:cubicBezTo>
                    <a:pt x="44" y="135"/>
                    <a:pt x="44" y="135"/>
                    <a:pt x="45" y="135"/>
                  </a:cubicBezTo>
                  <a:cubicBezTo>
                    <a:pt x="45" y="135"/>
                    <a:pt x="45" y="135"/>
                    <a:pt x="45" y="134"/>
                  </a:cubicBezTo>
                  <a:cubicBezTo>
                    <a:pt x="45" y="134"/>
                    <a:pt x="46" y="134"/>
                    <a:pt x="46" y="133"/>
                  </a:cubicBezTo>
                  <a:cubicBezTo>
                    <a:pt x="46" y="133"/>
                    <a:pt x="46" y="133"/>
                    <a:pt x="46" y="133"/>
                  </a:cubicBezTo>
                  <a:cubicBezTo>
                    <a:pt x="46" y="132"/>
                    <a:pt x="47" y="132"/>
                    <a:pt x="47" y="132"/>
                  </a:cubicBezTo>
                  <a:cubicBezTo>
                    <a:pt x="47" y="132"/>
                    <a:pt x="47" y="131"/>
                    <a:pt x="47" y="131"/>
                  </a:cubicBezTo>
                  <a:cubicBezTo>
                    <a:pt x="48" y="131"/>
                    <a:pt x="48" y="130"/>
                    <a:pt x="48" y="130"/>
                  </a:cubicBezTo>
                  <a:cubicBezTo>
                    <a:pt x="48" y="130"/>
                    <a:pt x="48" y="130"/>
                    <a:pt x="48" y="129"/>
                  </a:cubicBezTo>
                  <a:cubicBezTo>
                    <a:pt x="49" y="129"/>
                    <a:pt x="49" y="129"/>
                    <a:pt x="50" y="128"/>
                  </a:cubicBezTo>
                  <a:cubicBezTo>
                    <a:pt x="50" y="128"/>
                    <a:pt x="50" y="128"/>
                    <a:pt x="50" y="128"/>
                  </a:cubicBezTo>
                  <a:cubicBezTo>
                    <a:pt x="50" y="127"/>
                    <a:pt x="51" y="127"/>
                    <a:pt x="51" y="127"/>
                  </a:cubicBezTo>
                  <a:cubicBezTo>
                    <a:pt x="52" y="126"/>
                    <a:pt x="51" y="125"/>
                    <a:pt x="53" y="125"/>
                  </a:cubicBezTo>
                  <a:cubicBezTo>
                    <a:pt x="54" y="126"/>
                    <a:pt x="54" y="126"/>
                    <a:pt x="55" y="127"/>
                  </a:cubicBezTo>
                  <a:cubicBezTo>
                    <a:pt x="56" y="127"/>
                    <a:pt x="56" y="127"/>
                    <a:pt x="56" y="127"/>
                  </a:cubicBezTo>
                  <a:cubicBezTo>
                    <a:pt x="56" y="127"/>
                    <a:pt x="56" y="127"/>
                    <a:pt x="57" y="127"/>
                  </a:cubicBezTo>
                  <a:cubicBezTo>
                    <a:pt x="57" y="127"/>
                    <a:pt x="57" y="128"/>
                    <a:pt x="57" y="128"/>
                  </a:cubicBezTo>
                  <a:cubicBezTo>
                    <a:pt x="57" y="128"/>
                    <a:pt x="57" y="128"/>
                    <a:pt x="57" y="128"/>
                  </a:cubicBezTo>
                  <a:cubicBezTo>
                    <a:pt x="57" y="128"/>
                    <a:pt x="57" y="128"/>
                    <a:pt x="57" y="128"/>
                  </a:cubicBezTo>
                  <a:cubicBezTo>
                    <a:pt x="57" y="128"/>
                    <a:pt x="58" y="128"/>
                    <a:pt x="58" y="128"/>
                  </a:cubicBezTo>
                  <a:cubicBezTo>
                    <a:pt x="58" y="128"/>
                    <a:pt x="58" y="128"/>
                    <a:pt x="58" y="129"/>
                  </a:cubicBezTo>
                  <a:cubicBezTo>
                    <a:pt x="59" y="129"/>
                    <a:pt x="60" y="129"/>
                    <a:pt x="60" y="129"/>
                  </a:cubicBezTo>
                  <a:cubicBezTo>
                    <a:pt x="61" y="130"/>
                    <a:pt x="61" y="130"/>
                    <a:pt x="61" y="130"/>
                  </a:cubicBezTo>
                  <a:cubicBezTo>
                    <a:pt x="61" y="130"/>
                    <a:pt x="62" y="130"/>
                    <a:pt x="62" y="130"/>
                  </a:cubicBezTo>
                  <a:cubicBezTo>
                    <a:pt x="62" y="131"/>
                    <a:pt x="62" y="131"/>
                    <a:pt x="62" y="131"/>
                  </a:cubicBezTo>
                  <a:cubicBezTo>
                    <a:pt x="63" y="132"/>
                    <a:pt x="64" y="132"/>
                    <a:pt x="66" y="132"/>
                  </a:cubicBezTo>
                  <a:cubicBezTo>
                    <a:pt x="66" y="132"/>
                    <a:pt x="66" y="132"/>
                    <a:pt x="66" y="132"/>
                  </a:cubicBezTo>
                  <a:cubicBezTo>
                    <a:pt x="67" y="132"/>
                    <a:pt x="67" y="132"/>
                    <a:pt x="68" y="132"/>
                  </a:cubicBezTo>
                  <a:cubicBezTo>
                    <a:pt x="68" y="131"/>
                    <a:pt x="68" y="131"/>
                    <a:pt x="68" y="131"/>
                  </a:cubicBezTo>
                  <a:cubicBezTo>
                    <a:pt x="69" y="131"/>
                    <a:pt x="69" y="131"/>
                    <a:pt x="69" y="131"/>
                  </a:cubicBezTo>
                  <a:cubicBezTo>
                    <a:pt x="69" y="131"/>
                    <a:pt x="69" y="131"/>
                    <a:pt x="69" y="131"/>
                  </a:cubicBezTo>
                  <a:cubicBezTo>
                    <a:pt x="72" y="130"/>
                    <a:pt x="75" y="129"/>
                    <a:pt x="77" y="129"/>
                  </a:cubicBezTo>
                  <a:cubicBezTo>
                    <a:pt x="79" y="122"/>
                    <a:pt x="81" y="115"/>
                    <a:pt x="83" y="108"/>
                  </a:cubicBezTo>
                  <a:cubicBezTo>
                    <a:pt x="85" y="108"/>
                    <a:pt x="86" y="107"/>
                    <a:pt x="87" y="107"/>
                  </a:cubicBezTo>
                  <a:cubicBezTo>
                    <a:pt x="88" y="107"/>
                    <a:pt x="88" y="107"/>
                    <a:pt x="89" y="107"/>
                  </a:cubicBezTo>
                  <a:cubicBezTo>
                    <a:pt x="89" y="107"/>
                    <a:pt x="89" y="107"/>
                    <a:pt x="89" y="107"/>
                  </a:cubicBezTo>
                  <a:cubicBezTo>
                    <a:pt x="90" y="107"/>
                    <a:pt x="90" y="107"/>
                    <a:pt x="90" y="107"/>
                  </a:cubicBezTo>
                  <a:cubicBezTo>
                    <a:pt x="90" y="107"/>
                    <a:pt x="90" y="106"/>
                    <a:pt x="90" y="106"/>
                  </a:cubicBezTo>
                  <a:cubicBezTo>
                    <a:pt x="91" y="106"/>
                    <a:pt x="91" y="106"/>
                    <a:pt x="92" y="106"/>
                  </a:cubicBezTo>
                  <a:cubicBezTo>
                    <a:pt x="92" y="106"/>
                    <a:pt x="92" y="106"/>
                    <a:pt x="92" y="106"/>
                  </a:cubicBezTo>
                  <a:cubicBezTo>
                    <a:pt x="92" y="106"/>
                    <a:pt x="93" y="106"/>
                    <a:pt x="94" y="106"/>
                  </a:cubicBezTo>
                  <a:cubicBezTo>
                    <a:pt x="94" y="106"/>
                    <a:pt x="94" y="106"/>
                    <a:pt x="94" y="106"/>
                  </a:cubicBezTo>
                  <a:cubicBezTo>
                    <a:pt x="95" y="105"/>
                    <a:pt x="97" y="106"/>
                    <a:pt x="98" y="106"/>
                  </a:cubicBezTo>
                  <a:cubicBezTo>
                    <a:pt x="102" y="107"/>
                    <a:pt x="106" y="108"/>
                    <a:pt x="109" y="108"/>
                  </a:cubicBezTo>
                  <a:cubicBezTo>
                    <a:pt x="109" y="109"/>
                    <a:pt x="109" y="110"/>
                    <a:pt x="108" y="110"/>
                  </a:cubicBezTo>
                  <a:cubicBezTo>
                    <a:pt x="108" y="110"/>
                    <a:pt x="108" y="110"/>
                    <a:pt x="108" y="110"/>
                  </a:cubicBezTo>
                  <a:cubicBezTo>
                    <a:pt x="108" y="110"/>
                    <a:pt x="108" y="111"/>
                    <a:pt x="108" y="111"/>
                  </a:cubicBezTo>
                  <a:cubicBezTo>
                    <a:pt x="108" y="111"/>
                    <a:pt x="107" y="111"/>
                    <a:pt x="107" y="112"/>
                  </a:cubicBezTo>
                  <a:cubicBezTo>
                    <a:pt x="107" y="112"/>
                    <a:pt x="107" y="112"/>
                    <a:pt x="107" y="112"/>
                  </a:cubicBezTo>
                  <a:cubicBezTo>
                    <a:pt x="107" y="113"/>
                    <a:pt x="106" y="113"/>
                    <a:pt x="106" y="113"/>
                  </a:cubicBezTo>
                  <a:cubicBezTo>
                    <a:pt x="106" y="113"/>
                    <a:pt x="106" y="113"/>
                    <a:pt x="106" y="114"/>
                  </a:cubicBezTo>
                  <a:cubicBezTo>
                    <a:pt x="106" y="114"/>
                    <a:pt x="105" y="114"/>
                    <a:pt x="105" y="114"/>
                  </a:cubicBezTo>
                  <a:cubicBezTo>
                    <a:pt x="105" y="115"/>
                    <a:pt x="105" y="115"/>
                    <a:pt x="105" y="115"/>
                  </a:cubicBezTo>
                  <a:cubicBezTo>
                    <a:pt x="104" y="115"/>
                    <a:pt x="104" y="116"/>
                    <a:pt x="104" y="116"/>
                  </a:cubicBezTo>
                  <a:cubicBezTo>
                    <a:pt x="104" y="116"/>
                    <a:pt x="104" y="116"/>
                    <a:pt x="104" y="116"/>
                  </a:cubicBezTo>
                  <a:cubicBezTo>
                    <a:pt x="103" y="117"/>
                    <a:pt x="103" y="117"/>
                    <a:pt x="103" y="117"/>
                  </a:cubicBezTo>
                  <a:cubicBezTo>
                    <a:pt x="103" y="117"/>
                    <a:pt x="103" y="118"/>
                    <a:pt x="103" y="118"/>
                  </a:cubicBezTo>
                  <a:cubicBezTo>
                    <a:pt x="102" y="118"/>
                    <a:pt x="102" y="118"/>
                    <a:pt x="102" y="119"/>
                  </a:cubicBezTo>
                  <a:cubicBezTo>
                    <a:pt x="102" y="119"/>
                    <a:pt x="102" y="119"/>
                    <a:pt x="102" y="119"/>
                  </a:cubicBezTo>
                  <a:cubicBezTo>
                    <a:pt x="101" y="120"/>
                    <a:pt x="101" y="120"/>
                    <a:pt x="101" y="120"/>
                  </a:cubicBezTo>
                  <a:cubicBezTo>
                    <a:pt x="101" y="120"/>
                    <a:pt x="101" y="120"/>
                    <a:pt x="101" y="121"/>
                  </a:cubicBezTo>
                  <a:cubicBezTo>
                    <a:pt x="100" y="121"/>
                    <a:pt x="100" y="121"/>
                    <a:pt x="100" y="121"/>
                  </a:cubicBezTo>
                  <a:cubicBezTo>
                    <a:pt x="100" y="121"/>
                    <a:pt x="100" y="122"/>
                    <a:pt x="100" y="122"/>
                  </a:cubicBezTo>
                  <a:cubicBezTo>
                    <a:pt x="99" y="122"/>
                    <a:pt x="99" y="122"/>
                    <a:pt x="99" y="122"/>
                  </a:cubicBezTo>
                  <a:cubicBezTo>
                    <a:pt x="99" y="122"/>
                    <a:pt x="99" y="123"/>
                    <a:pt x="99" y="123"/>
                  </a:cubicBezTo>
                  <a:cubicBezTo>
                    <a:pt x="100" y="124"/>
                    <a:pt x="99" y="124"/>
                    <a:pt x="100" y="124"/>
                  </a:cubicBezTo>
                  <a:cubicBezTo>
                    <a:pt x="100" y="125"/>
                    <a:pt x="101" y="125"/>
                    <a:pt x="101" y="126"/>
                  </a:cubicBezTo>
                  <a:cubicBezTo>
                    <a:pt x="101" y="126"/>
                    <a:pt x="101" y="126"/>
                    <a:pt x="101" y="126"/>
                  </a:cubicBezTo>
                  <a:cubicBezTo>
                    <a:pt x="102" y="126"/>
                    <a:pt x="102" y="127"/>
                    <a:pt x="102" y="127"/>
                  </a:cubicBezTo>
                  <a:cubicBezTo>
                    <a:pt x="103" y="127"/>
                    <a:pt x="103" y="128"/>
                    <a:pt x="103" y="129"/>
                  </a:cubicBezTo>
                  <a:cubicBezTo>
                    <a:pt x="107" y="128"/>
                    <a:pt x="111" y="128"/>
                    <a:pt x="114" y="127"/>
                  </a:cubicBezTo>
                  <a:cubicBezTo>
                    <a:pt x="115" y="127"/>
                    <a:pt x="116" y="127"/>
                    <a:pt x="117" y="127"/>
                  </a:cubicBezTo>
                  <a:cubicBezTo>
                    <a:pt x="117" y="127"/>
                    <a:pt x="117" y="127"/>
                    <a:pt x="117" y="127"/>
                  </a:cubicBezTo>
                  <a:cubicBezTo>
                    <a:pt x="118" y="127"/>
                    <a:pt x="119" y="127"/>
                    <a:pt x="121" y="127"/>
                  </a:cubicBezTo>
                  <a:cubicBezTo>
                    <a:pt x="121" y="127"/>
                    <a:pt x="121" y="127"/>
                    <a:pt x="121" y="127"/>
                  </a:cubicBezTo>
                  <a:cubicBezTo>
                    <a:pt x="122" y="127"/>
                    <a:pt x="123" y="127"/>
                    <a:pt x="124" y="127"/>
                  </a:cubicBezTo>
                  <a:cubicBezTo>
                    <a:pt x="124" y="127"/>
                    <a:pt x="124" y="126"/>
                    <a:pt x="124" y="126"/>
                  </a:cubicBezTo>
                  <a:cubicBezTo>
                    <a:pt x="126" y="126"/>
                    <a:pt x="128" y="126"/>
                    <a:pt x="130" y="126"/>
                  </a:cubicBezTo>
                  <a:cubicBezTo>
                    <a:pt x="130" y="125"/>
                    <a:pt x="131" y="124"/>
                    <a:pt x="132" y="123"/>
                  </a:cubicBezTo>
                  <a:cubicBezTo>
                    <a:pt x="132" y="123"/>
                    <a:pt x="132" y="123"/>
                    <a:pt x="133" y="122"/>
                  </a:cubicBezTo>
                  <a:cubicBezTo>
                    <a:pt x="133" y="122"/>
                    <a:pt x="133" y="122"/>
                    <a:pt x="133" y="122"/>
                  </a:cubicBezTo>
                  <a:cubicBezTo>
                    <a:pt x="133" y="121"/>
                    <a:pt x="134" y="121"/>
                    <a:pt x="134" y="121"/>
                  </a:cubicBezTo>
                  <a:cubicBezTo>
                    <a:pt x="134" y="120"/>
                    <a:pt x="134" y="120"/>
                    <a:pt x="134" y="120"/>
                  </a:cubicBezTo>
                  <a:cubicBezTo>
                    <a:pt x="135" y="120"/>
                    <a:pt x="135" y="119"/>
                    <a:pt x="136" y="119"/>
                  </a:cubicBezTo>
                  <a:cubicBezTo>
                    <a:pt x="136" y="119"/>
                    <a:pt x="136" y="118"/>
                    <a:pt x="136" y="118"/>
                  </a:cubicBezTo>
                  <a:cubicBezTo>
                    <a:pt x="136" y="118"/>
                    <a:pt x="137" y="117"/>
                    <a:pt x="137" y="117"/>
                  </a:cubicBezTo>
                  <a:cubicBezTo>
                    <a:pt x="137" y="117"/>
                    <a:pt x="137" y="116"/>
                    <a:pt x="137" y="116"/>
                  </a:cubicBezTo>
                  <a:cubicBezTo>
                    <a:pt x="138" y="116"/>
                    <a:pt x="138" y="115"/>
                    <a:pt x="139" y="115"/>
                  </a:cubicBezTo>
                  <a:cubicBezTo>
                    <a:pt x="139" y="115"/>
                    <a:pt x="139" y="115"/>
                    <a:pt x="139" y="114"/>
                  </a:cubicBezTo>
                  <a:cubicBezTo>
                    <a:pt x="139" y="114"/>
                    <a:pt x="140" y="114"/>
                    <a:pt x="140" y="113"/>
                  </a:cubicBezTo>
                  <a:cubicBezTo>
                    <a:pt x="140" y="113"/>
                    <a:pt x="140" y="113"/>
                    <a:pt x="140" y="113"/>
                  </a:cubicBezTo>
                  <a:cubicBezTo>
                    <a:pt x="140" y="113"/>
                    <a:pt x="141" y="112"/>
                    <a:pt x="141" y="112"/>
                  </a:cubicBezTo>
                  <a:cubicBezTo>
                    <a:pt x="141" y="112"/>
                    <a:pt x="141" y="112"/>
                    <a:pt x="141" y="112"/>
                  </a:cubicBezTo>
                  <a:cubicBezTo>
                    <a:pt x="141" y="112"/>
                    <a:pt x="141" y="112"/>
                    <a:pt x="142" y="112"/>
                  </a:cubicBezTo>
                  <a:cubicBezTo>
                    <a:pt x="147" y="100"/>
                    <a:pt x="152" y="89"/>
                    <a:pt x="157" y="77"/>
                  </a:cubicBezTo>
                  <a:cubicBezTo>
                    <a:pt x="164" y="77"/>
                    <a:pt x="170" y="77"/>
                    <a:pt x="177" y="77"/>
                  </a:cubicBezTo>
                  <a:cubicBezTo>
                    <a:pt x="177" y="77"/>
                    <a:pt x="177" y="77"/>
                    <a:pt x="177" y="77"/>
                  </a:cubicBezTo>
                  <a:cubicBezTo>
                    <a:pt x="177" y="77"/>
                    <a:pt x="177" y="77"/>
                    <a:pt x="178" y="77"/>
                  </a:cubicBezTo>
                  <a:cubicBezTo>
                    <a:pt x="178" y="76"/>
                    <a:pt x="178" y="76"/>
                    <a:pt x="178" y="76"/>
                  </a:cubicBezTo>
                  <a:cubicBezTo>
                    <a:pt x="178" y="76"/>
                    <a:pt x="178" y="76"/>
                    <a:pt x="179" y="76"/>
                  </a:cubicBezTo>
                  <a:cubicBezTo>
                    <a:pt x="179" y="76"/>
                    <a:pt x="179" y="75"/>
                    <a:pt x="179" y="75"/>
                  </a:cubicBezTo>
                  <a:cubicBezTo>
                    <a:pt x="179" y="75"/>
                    <a:pt x="179" y="75"/>
                    <a:pt x="180" y="75"/>
                  </a:cubicBezTo>
                  <a:cubicBezTo>
                    <a:pt x="180" y="75"/>
                    <a:pt x="180" y="75"/>
                    <a:pt x="180" y="75"/>
                  </a:cubicBezTo>
                  <a:cubicBezTo>
                    <a:pt x="180" y="75"/>
                    <a:pt x="180" y="75"/>
                    <a:pt x="181" y="75"/>
                  </a:cubicBezTo>
                  <a:cubicBezTo>
                    <a:pt x="181" y="74"/>
                    <a:pt x="181" y="74"/>
                    <a:pt x="181" y="74"/>
                  </a:cubicBezTo>
                  <a:cubicBezTo>
                    <a:pt x="181" y="74"/>
                    <a:pt x="182" y="74"/>
                    <a:pt x="182" y="74"/>
                  </a:cubicBezTo>
                  <a:cubicBezTo>
                    <a:pt x="182" y="74"/>
                    <a:pt x="182" y="73"/>
                    <a:pt x="182" y="73"/>
                  </a:cubicBezTo>
                  <a:cubicBezTo>
                    <a:pt x="182" y="73"/>
                    <a:pt x="183" y="73"/>
                    <a:pt x="183" y="73"/>
                  </a:cubicBezTo>
                  <a:cubicBezTo>
                    <a:pt x="183" y="73"/>
                    <a:pt x="183" y="73"/>
                    <a:pt x="183" y="72"/>
                  </a:cubicBezTo>
                  <a:cubicBezTo>
                    <a:pt x="183" y="72"/>
                    <a:pt x="184" y="72"/>
                    <a:pt x="184" y="72"/>
                  </a:cubicBezTo>
                  <a:cubicBezTo>
                    <a:pt x="184" y="72"/>
                    <a:pt x="184" y="72"/>
                    <a:pt x="184" y="72"/>
                  </a:cubicBezTo>
                  <a:cubicBezTo>
                    <a:pt x="184" y="72"/>
                    <a:pt x="185" y="72"/>
                    <a:pt x="185" y="72"/>
                  </a:cubicBezTo>
                  <a:cubicBezTo>
                    <a:pt x="185" y="71"/>
                    <a:pt x="185" y="71"/>
                    <a:pt x="185" y="71"/>
                  </a:cubicBezTo>
                  <a:cubicBezTo>
                    <a:pt x="185" y="71"/>
                    <a:pt x="186" y="71"/>
                    <a:pt x="186" y="71"/>
                  </a:cubicBezTo>
                  <a:cubicBezTo>
                    <a:pt x="186" y="71"/>
                    <a:pt x="186" y="71"/>
                    <a:pt x="186" y="70"/>
                  </a:cubicBezTo>
                  <a:cubicBezTo>
                    <a:pt x="187" y="70"/>
                    <a:pt x="187" y="70"/>
                    <a:pt x="187" y="70"/>
                  </a:cubicBezTo>
                  <a:cubicBezTo>
                    <a:pt x="187" y="70"/>
                    <a:pt x="187" y="70"/>
                    <a:pt x="187" y="70"/>
                  </a:cubicBezTo>
                  <a:cubicBezTo>
                    <a:pt x="188" y="70"/>
                    <a:pt x="188" y="70"/>
                    <a:pt x="188" y="70"/>
                  </a:cubicBezTo>
                  <a:cubicBezTo>
                    <a:pt x="188" y="69"/>
                    <a:pt x="188" y="69"/>
                    <a:pt x="188" y="69"/>
                  </a:cubicBezTo>
                  <a:cubicBezTo>
                    <a:pt x="189" y="69"/>
                    <a:pt x="189" y="69"/>
                    <a:pt x="189" y="69"/>
                  </a:cubicBezTo>
                  <a:cubicBezTo>
                    <a:pt x="189" y="69"/>
                    <a:pt x="189" y="68"/>
                    <a:pt x="189" y="68"/>
                  </a:cubicBezTo>
                  <a:cubicBezTo>
                    <a:pt x="190" y="68"/>
                    <a:pt x="190" y="68"/>
                    <a:pt x="190" y="68"/>
                  </a:cubicBezTo>
                  <a:cubicBezTo>
                    <a:pt x="190" y="68"/>
                    <a:pt x="190" y="68"/>
                    <a:pt x="190" y="68"/>
                  </a:cubicBezTo>
                  <a:cubicBezTo>
                    <a:pt x="191" y="68"/>
                    <a:pt x="191" y="68"/>
                    <a:pt x="191" y="68"/>
                  </a:cubicBezTo>
                  <a:cubicBezTo>
                    <a:pt x="191" y="67"/>
                    <a:pt x="191" y="67"/>
                    <a:pt x="192" y="67"/>
                  </a:cubicBezTo>
                  <a:cubicBezTo>
                    <a:pt x="192" y="67"/>
                    <a:pt x="192" y="67"/>
                    <a:pt x="192" y="67"/>
                  </a:cubicBezTo>
                  <a:cubicBezTo>
                    <a:pt x="192" y="67"/>
                    <a:pt x="192" y="66"/>
                    <a:pt x="193" y="66"/>
                  </a:cubicBezTo>
                  <a:cubicBezTo>
                    <a:pt x="193" y="66"/>
                    <a:pt x="193" y="66"/>
                    <a:pt x="193" y="66"/>
                  </a:cubicBezTo>
                  <a:cubicBezTo>
                    <a:pt x="193" y="66"/>
                    <a:pt x="194" y="66"/>
                    <a:pt x="194" y="65"/>
                  </a:cubicBezTo>
                  <a:cubicBezTo>
                    <a:pt x="194" y="65"/>
                    <a:pt x="194" y="65"/>
                    <a:pt x="194" y="65"/>
                  </a:cubicBezTo>
                  <a:cubicBezTo>
                    <a:pt x="194" y="65"/>
                    <a:pt x="194" y="65"/>
                    <a:pt x="194" y="65"/>
                  </a:cubicBezTo>
                  <a:cubicBezTo>
                    <a:pt x="195" y="65"/>
                    <a:pt x="195" y="65"/>
                    <a:pt x="195" y="65"/>
                  </a:cubicBezTo>
                  <a:cubicBezTo>
                    <a:pt x="195" y="64"/>
                    <a:pt x="196" y="64"/>
                    <a:pt x="196" y="64"/>
                  </a:cubicBezTo>
                  <a:cubicBezTo>
                    <a:pt x="196" y="64"/>
                    <a:pt x="196" y="64"/>
                    <a:pt x="196" y="64"/>
                  </a:cubicBezTo>
                  <a:cubicBezTo>
                    <a:pt x="197" y="64"/>
                    <a:pt x="197" y="64"/>
                    <a:pt x="197" y="63"/>
                  </a:cubicBezTo>
                  <a:cubicBezTo>
                    <a:pt x="197" y="63"/>
                    <a:pt x="197" y="63"/>
                    <a:pt x="197" y="63"/>
                  </a:cubicBezTo>
                  <a:cubicBezTo>
                    <a:pt x="198" y="63"/>
                    <a:pt x="198" y="63"/>
                    <a:pt x="198" y="62"/>
                  </a:cubicBezTo>
                  <a:cubicBezTo>
                    <a:pt x="198" y="62"/>
                    <a:pt x="199" y="62"/>
                    <a:pt x="199" y="62"/>
                  </a:cubicBezTo>
                  <a:cubicBezTo>
                    <a:pt x="199" y="62"/>
                    <a:pt x="199" y="62"/>
                    <a:pt x="199" y="62"/>
                  </a:cubicBezTo>
                  <a:cubicBezTo>
                    <a:pt x="199" y="62"/>
                    <a:pt x="200" y="62"/>
                    <a:pt x="200" y="62"/>
                  </a:cubicBezTo>
                  <a:cubicBezTo>
                    <a:pt x="200" y="61"/>
                    <a:pt x="200" y="61"/>
                    <a:pt x="200" y="61"/>
                  </a:cubicBezTo>
                  <a:cubicBezTo>
                    <a:pt x="201" y="61"/>
                    <a:pt x="201" y="61"/>
                    <a:pt x="201" y="61"/>
                  </a:cubicBezTo>
                  <a:cubicBezTo>
                    <a:pt x="201" y="61"/>
                    <a:pt x="201" y="60"/>
                    <a:pt x="202" y="60"/>
                  </a:cubicBezTo>
                  <a:cubicBezTo>
                    <a:pt x="202" y="60"/>
                    <a:pt x="202" y="60"/>
                    <a:pt x="202" y="60"/>
                  </a:cubicBezTo>
                  <a:cubicBezTo>
                    <a:pt x="202" y="60"/>
                    <a:pt x="202" y="60"/>
                    <a:pt x="202" y="59"/>
                  </a:cubicBezTo>
                  <a:cubicBezTo>
                    <a:pt x="203" y="59"/>
                    <a:pt x="203" y="59"/>
                    <a:pt x="203" y="59"/>
                  </a:cubicBezTo>
                  <a:cubicBezTo>
                    <a:pt x="204" y="59"/>
                    <a:pt x="204" y="59"/>
                    <a:pt x="204" y="58"/>
                  </a:cubicBezTo>
                  <a:cubicBezTo>
                    <a:pt x="204" y="58"/>
                    <a:pt x="204" y="58"/>
                    <a:pt x="204" y="58"/>
                  </a:cubicBezTo>
                  <a:cubicBezTo>
                    <a:pt x="205" y="58"/>
                    <a:pt x="205" y="58"/>
                    <a:pt x="205" y="57"/>
                  </a:cubicBezTo>
                  <a:cubicBezTo>
                    <a:pt x="205" y="57"/>
                    <a:pt x="206" y="57"/>
                    <a:pt x="206" y="57"/>
                  </a:cubicBezTo>
                  <a:cubicBezTo>
                    <a:pt x="206" y="57"/>
                    <a:pt x="206" y="57"/>
                    <a:pt x="206" y="57"/>
                  </a:cubicBezTo>
                  <a:cubicBezTo>
                    <a:pt x="206" y="57"/>
                    <a:pt x="207" y="57"/>
                    <a:pt x="207" y="57"/>
                  </a:cubicBezTo>
                  <a:cubicBezTo>
                    <a:pt x="207" y="56"/>
                    <a:pt x="207" y="56"/>
                    <a:pt x="207" y="56"/>
                  </a:cubicBezTo>
                  <a:cubicBezTo>
                    <a:pt x="208" y="56"/>
                    <a:pt x="208" y="56"/>
                    <a:pt x="208" y="56"/>
                  </a:cubicBezTo>
                  <a:cubicBezTo>
                    <a:pt x="208" y="56"/>
                    <a:pt x="208" y="55"/>
                    <a:pt x="209" y="55"/>
                  </a:cubicBezTo>
                  <a:cubicBezTo>
                    <a:pt x="209" y="55"/>
                    <a:pt x="209" y="55"/>
                    <a:pt x="209" y="55"/>
                  </a:cubicBezTo>
                  <a:cubicBezTo>
                    <a:pt x="209" y="55"/>
                    <a:pt x="209" y="55"/>
                    <a:pt x="209" y="55"/>
                  </a:cubicBezTo>
                  <a:cubicBezTo>
                    <a:pt x="210" y="54"/>
                    <a:pt x="210" y="54"/>
                    <a:pt x="210" y="54"/>
                  </a:cubicBezTo>
                  <a:cubicBezTo>
                    <a:pt x="211" y="54"/>
                    <a:pt x="211" y="54"/>
                    <a:pt x="211" y="54"/>
                  </a:cubicBezTo>
                  <a:cubicBezTo>
                    <a:pt x="211" y="54"/>
                    <a:pt x="211" y="54"/>
                    <a:pt x="211" y="54"/>
                  </a:cubicBezTo>
                  <a:cubicBezTo>
                    <a:pt x="212" y="53"/>
                    <a:pt x="212" y="53"/>
                    <a:pt x="212" y="52"/>
                  </a:cubicBezTo>
                  <a:cubicBezTo>
                    <a:pt x="212" y="52"/>
                    <a:pt x="213" y="52"/>
                    <a:pt x="213" y="52"/>
                  </a:cubicBezTo>
                  <a:cubicBezTo>
                    <a:pt x="213" y="52"/>
                    <a:pt x="213" y="52"/>
                    <a:pt x="213" y="52"/>
                  </a:cubicBezTo>
                  <a:cubicBezTo>
                    <a:pt x="213" y="52"/>
                    <a:pt x="214" y="52"/>
                    <a:pt x="214" y="52"/>
                  </a:cubicBezTo>
                  <a:cubicBezTo>
                    <a:pt x="214" y="52"/>
                    <a:pt x="214" y="51"/>
                    <a:pt x="214" y="51"/>
                  </a:cubicBezTo>
                  <a:cubicBezTo>
                    <a:pt x="214" y="51"/>
                    <a:pt x="215" y="51"/>
                    <a:pt x="215" y="51"/>
                  </a:cubicBezTo>
                  <a:cubicBezTo>
                    <a:pt x="215" y="51"/>
                    <a:pt x="215" y="50"/>
                    <a:pt x="216" y="50"/>
                  </a:cubicBezTo>
                  <a:cubicBezTo>
                    <a:pt x="216" y="50"/>
                    <a:pt x="216" y="50"/>
                    <a:pt x="216" y="50"/>
                  </a:cubicBezTo>
                  <a:cubicBezTo>
                    <a:pt x="216" y="50"/>
                    <a:pt x="217" y="50"/>
                    <a:pt x="217" y="49"/>
                  </a:cubicBezTo>
                  <a:cubicBezTo>
                    <a:pt x="217" y="49"/>
                    <a:pt x="217" y="49"/>
                    <a:pt x="217" y="49"/>
                  </a:cubicBezTo>
                  <a:cubicBezTo>
                    <a:pt x="218" y="49"/>
                    <a:pt x="218" y="49"/>
                    <a:pt x="218" y="49"/>
                  </a:cubicBezTo>
                  <a:cubicBezTo>
                    <a:pt x="218" y="49"/>
                    <a:pt x="218" y="49"/>
                    <a:pt x="218" y="49"/>
                  </a:cubicBezTo>
                  <a:cubicBezTo>
                    <a:pt x="219" y="48"/>
                    <a:pt x="219" y="48"/>
                    <a:pt x="219" y="48"/>
                  </a:cubicBezTo>
                  <a:cubicBezTo>
                    <a:pt x="219" y="48"/>
                    <a:pt x="220" y="48"/>
                    <a:pt x="220" y="48"/>
                  </a:cubicBezTo>
                  <a:cubicBezTo>
                    <a:pt x="220" y="47"/>
                    <a:pt x="220" y="47"/>
                    <a:pt x="220" y="47"/>
                  </a:cubicBezTo>
                  <a:cubicBezTo>
                    <a:pt x="220" y="47"/>
                    <a:pt x="221" y="47"/>
                    <a:pt x="221" y="47"/>
                  </a:cubicBezTo>
                  <a:cubicBezTo>
                    <a:pt x="221" y="47"/>
                    <a:pt x="221" y="46"/>
                    <a:pt x="221" y="46"/>
                  </a:cubicBezTo>
                  <a:cubicBezTo>
                    <a:pt x="221" y="46"/>
                    <a:pt x="222" y="46"/>
                    <a:pt x="222" y="46"/>
                  </a:cubicBezTo>
                  <a:cubicBezTo>
                    <a:pt x="222" y="46"/>
                    <a:pt x="222" y="45"/>
                    <a:pt x="223" y="45"/>
                  </a:cubicBezTo>
                  <a:cubicBezTo>
                    <a:pt x="223" y="45"/>
                    <a:pt x="223" y="45"/>
                    <a:pt x="223" y="45"/>
                  </a:cubicBezTo>
                  <a:cubicBezTo>
                    <a:pt x="223" y="45"/>
                    <a:pt x="223" y="45"/>
                    <a:pt x="223" y="45"/>
                  </a:cubicBezTo>
                  <a:cubicBezTo>
                    <a:pt x="224" y="45"/>
                    <a:pt x="224" y="45"/>
                    <a:pt x="224" y="44"/>
                  </a:cubicBezTo>
                  <a:cubicBezTo>
                    <a:pt x="225" y="44"/>
                    <a:pt x="225" y="44"/>
                    <a:pt x="225" y="44"/>
                  </a:cubicBezTo>
                  <a:cubicBezTo>
                    <a:pt x="225" y="44"/>
                    <a:pt x="225" y="44"/>
                    <a:pt x="225" y="44"/>
                  </a:cubicBezTo>
                  <a:cubicBezTo>
                    <a:pt x="226" y="43"/>
                    <a:pt x="226" y="43"/>
                    <a:pt x="226" y="43"/>
                  </a:cubicBezTo>
                  <a:cubicBezTo>
                    <a:pt x="226" y="43"/>
                    <a:pt x="227" y="43"/>
                    <a:pt x="227" y="43"/>
                  </a:cubicBezTo>
                  <a:cubicBezTo>
                    <a:pt x="227" y="43"/>
                    <a:pt x="227" y="42"/>
                    <a:pt x="227" y="42"/>
                  </a:cubicBezTo>
                  <a:cubicBezTo>
                    <a:pt x="227" y="42"/>
                    <a:pt x="228" y="42"/>
                    <a:pt x="228" y="42"/>
                  </a:cubicBezTo>
                  <a:cubicBezTo>
                    <a:pt x="228" y="42"/>
                    <a:pt x="228" y="42"/>
                    <a:pt x="228" y="41"/>
                  </a:cubicBezTo>
                  <a:cubicBezTo>
                    <a:pt x="228" y="41"/>
                    <a:pt x="229" y="41"/>
                    <a:pt x="229" y="41"/>
                  </a:cubicBezTo>
                  <a:cubicBezTo>
                    <a:pt x="229" y="41"/>
                    <a:pt x="229" y="41"/>
                    <a:pt x="230" y="40"/>
                  </a:cubicBezTo>
                  <a:cubicBezTo>
                    <a:pt x="230" y="40"/>
                    <a:pt x="230" y="40"/>
                    <a:pt x="230" y="40"/>
                  </a:cubicBezTo>
                  <a:cubicBezTo>
                    <a:pt x="230" y="40"/>
                    <a:pt x="231" y="40"/>
                    <a:pt x="231" y="40"/>
                  </a:cubicBezTo>
                  <a:cubicBezTo>
                    <a:pt x="231" y="40"/>
                    <a:pt x="231" y="40"/>
                    <a:pt x="231" y="40"/>
                  </a:cubicBezTo>
                  <a:cubicBezTo>
                    <a:pt x="231" y="39"/>
                    <a:pt x="231" y="39"/>
                    <a:pt x="231" y="39"/>
                  </a:cubicBezTo>
                  <a:cubicBezTo>
                    <a:pt x="232" y="39"/>
                    <a:pt x="232" y="39"/>
                    <a:pt x="232" y="39"/>
                  </a:cubicBezTo>
                  <a:cubicBezTo>
                    <a:pt x="233" y="39"/>
                    <a:pt x="233" y="38"/>
                    <a:pt x="233" y="38"/>
                  </a:cubicBezTo>
                  <a:cubicBezTo>
                    <a:pt x="233" y="38"/>
                    <a:pt x="233" y="38"/>
                    <a:pt x="234" y="38"/>
                  </a:cubicBezTo>
                  <a:cubicBezTo>
                    <a:pt x="234" y="38"/>
                    <a:pt x="234" y="37"/>
                    <a:pt x="234" y="37"/>
                  </a:cubicBezTo>
                  <a:cubicBezTo>
                    <a:pt x="234" y="37"/>
                    <a:pt x="235" y="37"/>
                    <a:pt x="235" y="37"/>
                  </a:cubicBezTo>
                  <a:cubicBezTo>
                    <a:pt x="235" y="37"/>
                    <a:pt x="235" y="37"/>
                    <a:pt x="235" y="37"/>
                  </a:cubicBezTo>
                  <a:cubicBezTo>
                    <a:pt x="235" y="37"/>
                    <a:pt x="236" y="37"/>
                    <a:pt x="236" y="36"/>
                  </a:cubicBezTo>
                  <a:cubicBezTo>
                    <a:pt x="236" y="36"/>
                    <a:pt x="236" y="36"/>
                    <a:pt x="236" y="36"/>
                  </a:cubicBezTo>
                  <a:cubicBezTo>
                    <a:pt x="237" y="36"/>
                    <a:pt x="237" y="36"/>
                    <a:pt x="237" y="36"/>
                  </a:cubicBezTo>
                  <a:cubicBezTo>
                    <a:pt x="237" y="35"/>
                    <a:pt x="237" y="35"/>
                    <a:pt x="238" y="35"/>
                  </a:cubicBezTo>
                  <a:cubicBezTo>
                    <a:pt x="238" y="35"/>
                    <a:pt x="238" y="35"/>
                    <a:pt x="238" y="35"/>
                  </a:cubicBezTo>
                  <a:cubicBezTo>
                    <a:pt x="238" y="35"/>
                    <a:pt x="238" y="34"/>
                    <a:pt x="238" y="34"/>
                  </a:cubicBezTo>
                  <a:cubicBezTo>
                    <a:pt x="239" y="34"/>
                    <a:pt x="239" y="34"/>
                    <a:pt x="239" y="34"/>
                  </a:cubicBezTo>
                  <a:cubicBezTo>
                    <a:pt x="240" y="34"/>
                    <a:pt x="240" y="33"/>
                    <a:pt x="240" y="33"/>
                  </a:cubicBezTo>
                  <a:cubicBezTo>
                    <a:pt x="240" y="33"/>
                    <a:pt x="240" y="33"/>
                    <a:pt x="240" y="33"/>
                  </a:cubicBezTo>
                  <a:cubicBezTo>
                    <a:pt x="241" y="33"/>
                    <a:pt x="241" y="33"/>
                    <a:pt x="241" y="32"/>
                  </a:cubicBezTo>
                  <a:cubicBezTo>
                    <a:pt x="242" y="32"/>
                    <a:pt x="242" y="32"/>
                    <a:pt x="243" y="32"/>
                  </a:cubicBezTo>
                  <a:cubicBezTo>
                    <a:pt x="243" y="32"/>
                    <a:pt x="243" y="32"/>
                    <a:pt x="243" y="32"/>
                  </a:cubicBezTo>
                  <a:cubicBezTo>
                    <a:pt x="243" y="31"/>
                    <a:pt x="244" y="31"/>
                    <a:pt x="245" y="31"/>
                  </a:cubicBezTo>
                  <a:cubicBezTo>
                    <a:pt x="245" y="31"/>
                    <a:pt x="245" y="31"/>
                    <a:pt x="245" y="30"/>
                  </a:cubicBezTo>
                  <a:cubicBezTo>
                    <a:pt x="245" y="30"/>
                    <a:pt x="245" y="30"/>
                    <a:pt x="246" y="30"/>
                  </a:cubicBezTo>
                  <a:cubicBezTo>
                    <a:pt x="246" y="30"/>
                    <a:pt x="246" y="30"/>
                    <a:pt x="246" y="30"/>
                  </a:cubicBezTo>
                  <a:cubicBezTo>
                    <a:pt x="246" y="30"/>
                    <a:pt x="246" y="30"/>
                    <a:pt x="246" y="30"/>
                  </a:cubicBezTo>
                  <a:cubicBezTo>
                    <a:pt x="246" y="30"/>
                    <a:pt x="246" y="30"/>
                    <a:pt x="246" y="30"/>
                  </a:cubicBezTo>
                  <a:cubicBezTo>
                    <a:pt x="247" y="30"/>
                    <a:pt x="248" y="29"/>
                    <a:pt x="249" y="29"/>
                  </a:cubicBezTo>
                  <a:cubicBezTo>
                    <a:pt x="249" y="29"/>
                    <a:pt x="249" y="29"/>
                    <a:pt x="249" y="29"/>
                  </a:cubicBezTo>
                  <a:cubicBezTo>
                    <a:pt x="249" y="29"/>
                    <a:pt x="249" y="29"/>
                    <a:pt x="250" y="29"/>
                  </a:cubicBezTo>
                  <a:cubicBezTo>
                    <a:pt x="250" y="29"/>
                    <a:pt x="250" y="28"/>
                    <a:pt x="250" y="28"/>
                  </a:cubicBezTo>
                  <a:cubicBezTo>
                    <a:pt x="250" y="28"/>
                    <a:pt x="250" y="28"/>
                    <a:pt x="250" y="28"/>
                  </a:cubicBezTo>
                  <a:cubicBezTo>
                    <a:pt x="250" y="28"/>
                    <a:pt x="250" y="28"/>
                    <a:pt x="250" y="28"/>
                  </a:cubicBezTo>
                  <a:cubicBezTo>
                    <a:pt x="251" y="28"/>
                    <a:pt x="251" y="28"/>
                    <a:pt x="252" y="28"/>
                  </a:cubicBezTo>
                  <a:cubicBezTo>
                    <a:pt x="252" y="28"/>
                    <a:pt x="252" y="27"/>
                    <a:pt x="252" y="27"/>
                  </a:cubicBezTo>
                  <a:cubicBezTo>
                    <a:pt x="252" y="27"/>
                    <a:pt x="252" y="27"/>
                    <a:pt x="253" y="27"/>
                  </a:cubicBezTo>
                  <a:cubicBezTo>
                    <a:pt x="253" y="27"/>
                    <a:pt x="253" y="27"/>
                    <a:pt x="253" y="27"/>
                  </a:cubicBezTo>
                  <a:cubicBezTo>
                    <a:pt x="253" y="27"/>
                    <a:pt x="253" y="27"/>
                    <a:pt x="253" y="27"/>
                  </a:cubicBezTo>
                  <a:cubicBezTo>
                    <a:pt x="253" y="27"/>
                    <a:pt x="253" y="27"/>
                    <a:pt x="253" y="27"/>
                  </a:cubicBezTo>
                  <a:cubicBezTo>
                    <a:pt x="254" y="26"/>
                    <a:pt x="255" y="26"/>
                    <a:pt x="256" y="26"/>
                  </a:cubicBezTo>
                  <a:cubicBezTo>
                    <a:pt x="256" y="26"/>
                    <a:pt x="256" y="26"/>
                    <a:pt x="256" y="26"/>
                  </a:cubicBezTo>
                  <a:cubicBezTo>
                    <a:pt x="256" y="26"/>
                    <a:pt x="256" y="26"/>
                    <a:pt x="257" y="26"/>
                  </a:cubicBezTo>
                  <a:cubicBezTo>
                    <a:pt x="257" y="25"/>
                    <a:pt x="257" y="25"/>
                    <a:pt x="257" y="25"/>
                  </a:cubicBezTo>
                  <a:cubicBezTo>
                    <a:pt x="257" y="25"/>
                    <a:pt x="257" y="25"/>
                    <a:pt x="257" y="25"/>
                  </a:cubicBezTo>
                  <a:cubicBezTo>
                    <a:pt x="257" y="25"/>
                    <a:pt x="257" y="25"/>
                    <a:pt x="257" y="25"/>
                  </a:cubicBezTo>
                  <a:cubicBezTo>
                    <a:pt x="258" y="25"/>
                    <a:pt x="258" y="25"/>
                    <a:pt x="259" y="25"/>
                  </a:cubicBezTo>
                  <a:cubicBezTo>
                    <a:pt x="259" y="24"/>
                    <a:pt x="259" y="24"/>
                    <a:pt x="259" y="24"/>
                  </a:cubicBezTo>
                  <a:cubicBezTo>
                    <a:pt x="259" y="24"/>
                    <a:pt x="260" y="24"/>
                    <a:pt x="260" y="24"/>
                  </a:cubicBezTo>
                  <a:cubicBezTo>
                    <a:pt x="260" y="24"/>
                    <a:pt x="260" y="24"/>
                    <a:pt x="260" y="23"/>
                  </a:cubicBezTo>
                  <a:cubicBezTo>
                    <a:pt x="261" y="23"/>
                    <a:pt x="262" y="23"/>
                    <a:pt x="263" y="23"/>
                  </a:cubicBezTo>
                  <a:cubicBezTo>
                    <a:pt x="263" y="23"/>
                    <a:pt x="263" y="23"/>
                    <a:pt x="263" y="22"/>
                  </a:cubicBezTo>
                  <a:cubicBezTo>
                    <a:pt x="263" y="22"/>
                    <a:pt x="263" y="22"/>
                    <a:pt x="264" y="22"/>
                  </a:cubicBezTo>
                  <a:cubicBezTo>
                    <a:pt x="264" y="22"/>
                    <a:pt x="264" y="22"/>
                    <a:pt x="264" y="22"/>
                  </a:cubicBezTo>
                  <a:cubicBezTo>
                    <a:pt x="264" y="22"/>
                    <a:pt x="264" y="22"/>
                    <a:pt x="264" y="22"/>
                  </a:cubicBezTo>
                  <a:cubicBezTo>
                    <a:pt x="264" y="22"/>
                    <a:pt x="264" y="22"/>
                    <a:pt x="264" y="22"/>
                  </a:cubicBezTo>
                  <a:cubicBezTo>
                    <a:pt x="265" y="22"/>
                    <a:pt x="265" y="21"/>
                    <a:pt x="266" y="21"/>
                  </a:cubicBezTo>
                  <a:cubicBezTo>
                    <a:pt x="266" y="21"/>
                    <a:pt x="266" y="21"/>
                    <a:pt x="266" y="21"/>
                  </a:cubicBezTo>
                  <a:cubicBezTo>
                    <a:pt x="266" y="21"/>
                    <a:pt x="266" y="21"/>
                    <a:pt x="267" y="21"/>
                  </a:cubicBezTo>
                  <a:cubicBezTo>
                    <a:pt x="267" y="21"/>
                    <a:pt x="267" y="21"/>
                    <a:pt x="267" y="21"/>
                  </a:cubicBezTo>
                  <a:cubicBezTo>
                    <a:pt x="267" y="21"/>
                    <a:pt x="267" y="21"/>
                    <a:pt x="267" y="21"/>
                  </a:cubicBezTo>
                  <a:cubicBezTo>
                    <a:pt x="267" y="21"/>
                    <a:pt x="267" y="20"/>
                    <a:pt x="267" y="20"/>
                  </a:cubicBezTo>
                  <a:cubicBezTo>
                    <a:pt x="268" y="20"/>
                    <a:pt x="269" y="20"/>
                    <a:pt x="270" y="20"/>
                  </a:cubicBezTo>
                  <a:cubicBezTo>
                    <a:pt x="270" y="19"/>
                    <a:pt x="270" y="19"/>
                    <a:pt x="270" y="19"/>
                  </a:cubicBezTo>
                  <a:cubicBezTo>
                    <a:pt x="270" y="19"/>
                    <a:pt x="270" y="19"/>
                    <a:pt x="271" y="19"/>
                  </a:cubicBezTo>
                  <a:cubicBezTo>
                    <a:pt x="271" y="19"/>
                    <a:pt x="271" y="19"/>
                    <a:pt x="271" y="19"/>
                  </a:cubicBezTo>
                  <a:cubicBezTo>
                    <a:pt x="271" y="19"/>
                    <a:pt x="271" y="19"/>
                    <a:pt x="271" y="19"/>
                  </a:cubicBezTo>
                  <a:cubicBezTo>
                    <a:pt x="271" y="19"/>
                    <a:pt x="271" y="19"/>
                    <a:pt x="271" y="19"/>
                  </a:cubicBezTo>
                  <a:cubicBezTo>
                    <a:pt x="272" y="18"/>
                    <a:pt x="272" y="18"/>
                    <a:pt x="273" y="18"/>
                  </a:cubicBezTo>
                  <a:cubicBezTo>
                    <a:pt x="273" y="18"/>
                    <a:pt x="273" y="18"/>
                    <a:pt x="273" y="18"/>
                  </a:cubicBezTo>
                  <a:cubicBezTo>
                    <a:pt x="273" y="18"/>
                    <a:pt x="273" y="18"/>
                    <a:pt x="274" y="18"/>
                  </a:cubicBezTo>
                  <a:cubicBezTo>
                    <a:pt x="274" y="18"/>
                    <a:pt x="274" y="18"/>
                    <a:pt x="274" y="18"/>
                  </a:cubicBezTo>
                  <a:cubicBezTo>
                    <a:pt x="274" y="18"/>
                    <a:pt x="274" y="18"/>
                    <a:pt x="274" y="18"/>
                  </a:cubicBezTo>
                  <a:cubicBezTo>
                    <a:pt x="274" y="17"/>
                    <a:pt x="274" y="17"/>
                    <a:pt x="274" y="17"/>
                  </a:cubicBezTo>
                  <a:cubicBezTo>
                    <a:pt x="275" y="17"/>
                    <a:pt x="276" y="17"/>
                    <a:pt x="277" y="16"/>
                  </a:cubicBezTo>
                  <a:cubicBezTo>
                    <a:pt x="277" y="16"/>
                    <a:pt x="277" y="16"/>
                    <a:pt x="277" y="16"/>
                  </a:cubicBezTo>
                  <a:cubicBezTo>
                    <a:pt x="277" y="16"/>
                    <a:pt x="277" y="16"/>
                    <a:pt x="278" y="16"/>
                  </a:cubicBezTo>
                  <a:cubicBezTo>
                    <a:pt x="278" y="16"/>
                    <a:pt x="278" y="16"/>
                    <a:pt x="278" y="16"/>
                  </a:cubicBezTo>
                  <a:cubicBezTo>
                    <a:pt x="278" y="16"/>
                    <a:pt x="278" y="16"/>
                    <a:pt x="278" y="16"/>
                  </a:cubicBezTo>
                  <a:cubicBezTo>
                    <a:pt x="278" y="16"/>
                    <a:pt x="278" y="16"/>
                    <a:pt x="278" y="15"/>
                  </a:cubicBezTo>
                  <a:cubicBezTo>
                    <a:pt x="279" y="15"/>
                    <a:pt x="279" y="15"/>
                    <a:pt x="279" y="15"/>
                  </a:cubicBezTo>
                  <a:cubicBezTo>
                    <a:pt x="279" y="15"/>
                    <a:pt x="279" y="15"/>
                    <a:pt x="280" y="14"/>
                  </a:cubicBezTo>
                  <a:cubicBezTo>
                    <a:pt x="280" y="14"/>
                    <a:pt x="280" y="14"/>
                    <a:pt x="280" y="14"/>
                  </a:cubicBezTo>
                  <a:cubicBezTo>
                    <a:pt x="281" y="14"/>
                    <a:pt x="282" y="13"/>
                    <a:pt x="282" y="12"/>
                  </a:cubicBezTo>
                  <a:cubicBezTo>
                    <a:pt x="282" y="12"/>
                    <a:pt x="283" y="12"/>
                    <a:pt x="283" y="12"/>
                  </a:cubicBezTo>
                  <a:cubicBezTo>
                    <a:pt x="284" y="11"/>
                    <a:pt x="284" y="11"/>
                    <a:pt x="285" y="10"/>
                  </a:cubicBezTo>
                  <a:cubicBezTo>
                    <a:pt x="285" y="10"/>
                    <a:pt x="285" y="10"/>
                    <a:pt x="286" y="10"/>
                  </a:cubicBezTo>
                  <a:cubicBezTo>
                    <a:pt x="286" y="9"/>
                    <a:pt x="287" y="8"/>
                    <a:pt x="287" y="8"/>
                  </a:cubicBezTo>
                  <a:cubicBezTo>
                    <a:pt x="288" y="8"/>
                    <a:pt x="288" y="8"/>
                    <a:pt x="288" y="8"/>
                  </a:cubicBezTo>
                  <a:cubicBezTo>
                    <a:pt x="289" y="7"/>
                    <a:pt x="289" y="6"/>
                    <a:pt x="290" y="5"/>
                  </a:cubicBezTo>
                  <a:cubicBezTo>
                    <a:pt x="290" y="5"/>
                    <a:pt x="291" y="5"/>
                    <a:pt x="291" y="5"/>
                  </a:cubicBezTo>
                  <a:cubicBezTo>
                    <a:pt x="291" y="5"/>
                    <a:pt x="292" y="4"/>
                    <a:pt x="293" y="3"/>
                  </a:cubicBezTo>
                  <a:cubicBezTo>
                    <a:pt x="293" y="3"/>
                    <a:pt x="293" y="3"/>
                    <a:pt x="293" y="3"/>
                  </a:cubicBezTo>
                  <a:cubicBezTo>
                    <a:pt x="293" y="3"/>
                    <a:pt x="294" y="3"/>
                    <a:pt x="294" y="2"/>
                  </a:cubicBezTo>
                  <a:cubicBezTo>
                    <a:pt x="295" y="2"/>
                    <a:pt x="296" y="0"/>
                    <a:pt x="298" y="0"/>
                  </a:cubicBezTo>
                  <a:cubicBezTo>
                    <a:pt x="299" y="0"/>
                    <a:pt x="300" y="0"/>
                    <a:pt x="302" y="0"/>
                  </a:cubicBezTo>
                  <a:cubicBezTo>
                    <a:pt x="302" y="0"/>
                    <a:pt x="302" y="1"/>
                    <a:pt x="302" y="1"/>
                  </a:cubicBezTo>
                  <a:cubicBezTo>
                    <a:pt x="302" y="1"/>
                    <a:pt x="303" y="1"/>
                    <a:pt x="304" y="1"/>
                  </a:cubicBezTo>
                  <a:cubicBezTo>
                    <a:pt x="309" y="2"/>
                    <a:pt x="315" y="2"/>
                    <a:pt x="320" y="4"/>
                  </a:cubicBezTo>
                  <a:cubicBezTo>
                    <a:pt x="320" y="4"/>
                    <a:pt x="321" y="4"/>
                    <a:pt x="321" y="4"/>
                  </a:cubicBezTo>
                  <a:cubicBezTo>
                    <a:pt x="321" y="4"/>
                    <a:pt x="321" y="4"/>
                    <a:pt x="321" y="4"/>
                  </a:cubicBezTo>
                  <a:cubicBezTo>
                    <a:pt x="323" y="4"/>
                    <a:pt x="325" y="5"/>
                    <a:pt x="327" y="5"/>
                  </a:cubicBezTo>
                  <a:cubicBezTo>
                    <a:pt x="327" y="5"/>
                    <a:pt x="327" y="5"/>
                    <a:pt x="327" y="5"/>
                  </a:cubicBezTo>
                  <a:cubicBezTo>
                    <a:pt x="327" y="6"/>
                    <a:pt x="327" y="7"/>
                    <a:pt x="328" y="8"/>
                  </a:cubicBezTo>
                  <a:cubicBezTo>
                    <a:pt x="328" y="8"/>
                    <a:pt x="328" y="8"/>
                    <a:pt x="328" y="8"/>
                  </a:cubicBezTo>
                  <a:cubicBezTo>
                    <a:pt x="328" y="8"/>
                    <a:pt x="328" y="9"/>
                    <a:pt x="328" y="9"/>
                  </a:cubicBezTo>
                  <a:cubicBezTo>
                    <a:pt x="328" y="9"/>
                    <a:pt x="329" y="9"/>
                    <a:pt x="329" y="9"/>
                  </a:cubicBezTo>
                  <a:cubicBezTo>
                    <a:pt x="329" y="9"/>
                    <a:pt x="329" y="9"/>
                    <a:pt x="329" y="9"/>
                  </a:cubicBezTo>
                  <a:cubicBezTo>
                    <a:pt x="329" y="10"/>
                    <a:pt x="329" y="10"/>
                    <a:pt x="329" y="10"/>
                  </a:cubicBezTo>
                  <a:cubicBezTo>
                    <a:pt x="329" y="10"/>
                    <a:pt x="329" y="10"/>
                    <a:pt x="329" y="11"/>
                  </a:cubicBezTo>
                  <a:cubicBezTo>
                    <a:pt x="329" y="11"/>
                    <a:pt x="330" y="11"/>
                    <a:pt x="330" y="11"/>
                  </a:cubicBezTo>
                  <a:cubicBezTo>
                    <a:pt x="330" y="11"/>
                    <a:pt x="330" y="11"/>
                    <a:pt x="330" y="11"/>
                  </a:cubicBezTo>
                  <a:cubicBezTo>
                    <a:pt x="330" y="11"/>
                    <a:pt x="330" y="11"/>
                    <a:pt x="330" y="11"/>
                  </a:cubicBezTo>
                  <a:cubicBezTo>
                    <a:pt x="330" y="11"/>
                    <a:pt x="330" y="12"/>
                    <a:pt x="330" y="12"/>
                  </a:cubicBezTo>
                  <a:cubicBezTo>
                    <a:pt x="330" y="12"/>
                    <a:pt x="330" y="12"/>
                    <a:pt x="330" y="12"/>
                  </a:cubicBezTo>
                  <a:cubicBezTo>
                    <a:pt x="330" y="12"/>
                    <a:pt x="330" y="12"/>
                    <a:pt x="330" y="13"/>
                  </a:cubicBezTo>
                  <a:cubicBezTo>
                    <a:pt x="330" y="13"/>
                    <a:pt x="331" y="13"/>
                    <a:pt x="331" y="13"/>
                  </a:cubicBezTo>
                  <a:cubicBezTo>
                    <a:pt x="331" y="13"/>
                    <a:pt x="331" y="13"/>
                    <a:pt x="331" y="13"/>
                  </a:cubicBezTo>
                  <a:cubicBezTo>
                    <a:pt x="331" y="13"/>
                    <a:pt x="331" y="13"/>
                    <a:pt x="331" y="13"/>
                  </a:cubicBezTo>
                  <a:cubicBezTo>
                    <a:pt x="331" y="14"/>
                    <a:pt x="331" y="14"/>
                    <a:pt x="331" y="14"/>
                  </a:cubicBezTo>
                  <a:cubicBezTo>
                    <a:pt x="331" y="14"/>
                    <a:pt x="331" y="14"/>
                    <a:pt x="331" y="14"/>
                  </a:cubicBezTo>
                  <a:cubicBezTo>
                    <a:pt x="331" y="14"/>
                    <a:pt x="331" y="14"/>
                    <a:pt x="331" y="15"/>
                  </a:cubicBezTo>
                  <a:cubicBezTo>
                    <a:pt x="332" y="15"/>
                    <a:pt x="332" y="15"/>
                    <a:pt x="332" y="15"/>
                  </a:cubicBezTo>
                  <a:cubicBezTo>
                    <a:pt x="332" y="15"/>
                    <a:pt x="332" y="15"/>
                    <a:pt x="332" y="15"/>
                  </a:cubicBezTo>
                  <a:cubicBezTo>
                    <a:pt x="332" y="15"/>
                    <a:pt x="332" y="15"/>
                    <a:pt x="332" y="15"/>
                  </a:cubicBezTo>
                  <a:cubicBezTo>
                    <a:pt x="332" y="16"/>
                    <a:pt x="332" y="16"/>
                    <a:pt x="332" y="16"/>
                  </a:cubicBezTo>
                  <a:cubicBezTo>
                    <a:pt x="332" y="16"/>
                    <a:pt x="332" y="16"/>
                    <a:pt x="332" y="16"/>
                  </a:cubicBezTo>
                  <a:cubicBezTo>
                    <a:pt x="333" y="17"/>
                    <a:pt x="333" y="17"/>
                    <a:pt x="333" y="18"/>
                  </a:cubicBezTo>
                  <a:cubicBezTo>
                    <a:pt x="333" y="18"/>
                    <a:pt x="333" y="18"/>
                    <a:pt x="334" y="18"/>
                  </a:cubicBezTo>
                  <a:cubicBezTo>
                    <a:pt x="334" y="18"/>
                    <a:pt x="334" y="19"/>
                    <a:pt x="334" y="19"/>
                  </a:cubicBezTo>
                  <a:cubicBezTo>
                    <a:pt x="334" y="19"/>
                    <a:pt x="334" y="19"/>
                    <a:pt x="334" y="19"/>
                  </a:cubicBezTo>
                  <a:cubicBezTo>
                    <a:pt x="334" y="19"/>
                    <a:pt x="334" y="20"/>
                    <a:pt x="334" y="20"/>
                  </a:cubicBezTo>
                  <a:cubicBezTo>
                    <a:pt x="334" y="20"/>
                    <a:pt x="334" y="20"/>
                    <a:pt x="335" y="20"/>
                  </a:cubicBezTo>
                  <a:cubicBezTo>
                    <a:pt x="335" y="20"/>
                    <a:pt x="335" y="20"/>
                    <a:pt x="335" y="21"/>
                  </a:cubicBezTo>
                  <a:cubicBezTo>
                    <a:pt x="335" y="21"/>
                    <a:pt x="335" y="21"/>
                    <a:pt x="335" y="21"/>
                  </a:cubicBezTo>
                  <a:cubicBezTo>
                    <a:pt x="335" y="21"/>
                    <a:pt x="335" y="21"/>
                    <a:pt x="335" y="21"/>
                  </a:cubicBezTo>
                  <a:cubicBezTo>
                    <a:pt x="335" y="21"/>
                    <a:pt x="335" y="21"/>
                    <a:pt x="335" y="21"/>
                  </a:cubicBezTo>
                  <a:cubicBezTo>
                    <a:pt x="335" y="22"/>
                    <a:pt x="335" y="22"/>
                    <a:pt x="335" y="22"/>
                  </a:cubicBezTo>
                  <a:cubicBezTo>
                    <a:pt x="335" y="22"/>
                    <a:pt x="336" y="22"/>
                    <a:pt x="336" y="22"/>
                  </a:cubicBezTo>
                  <a:cubicBezTo>
                    <a:pt x="336" y="23"/>
                    <a:pt x="336" y="23"/>
                    <a:pt x="336" y="23"/>
                  </a:cubicBezTo>
                  <a:cubicBezTo>
                    <a:pt x="336" y="23"/>
                    <a:pt x="336" y="23"/>
                    <a:pt x="336" y="23"/>
                  </a:cubicBezTo>
                  <a:cubicBezTo>
                    <a:pt x="336" y="24"/>
                    <a:pt x="337" y="24"/>
                    <a:pt x="337" y="25"/>
                  </a:cubicBezTo>
                  <a:cubicBezTo>
                    <a:pt x="337" y="26"/>
                    <a:pt x="339" y="27"/>
                    <a:pt x="339" y="29"/>
                  </a:cubicBezTo>
                  <a:cubicBezTo>
                    <a:pt x="343" y="30"/>
                    <a:pt x="347" y="31"/>
                    <a:pt x="351" y="32"/>
                  </a:cubicBezTo>
                  <a:cubicBezTo>
                    <a:pt x="351" y="32"/>
                    <a:pt x="351" y="32"/>
                    <a:pt x="351" y="32"/>
                  </a:cubicBezTo>
                  <a:cubicBezTo>
                    <a:pt x="353" y="33"/>
                    <a:pt x="355" y="33"/>
                    <a:pt x="358" y="33"/>
                  </a:cubicBezTo>
                  <a:cubicBezTo>
                    <a:pt x="358" y="33"/>
                    <a:pt x="358" y="33"/>
                    <a:pt x="358" y="34"/>
                  </a:cubicBezTo>
                  <a:cubicBezTo>
                    <a:pt x="359" y="34"/>
                    <a:pt x="360" y="34"/>
                    <a:pt x="361" y="34"/>
                  </a:cubicBezTo>
                  <a:cubicBezTo>
                    <a:pt x="361" y="34"/>
                    <a:pt x="361" y="34"/>
                    <a:pt x="361" y="34"/>
                  </a:cubicBezTo>
                  <a:cubicBezTo>
                    <a:pt x="361" y="34"/>
                    <a:pt x="362" y="34"/>
                    <a:pt x="362" y="34"/>
                  </a:cubicBezTo>
                  <a:cubicBezTo>
                    <a:pt x="362" y="34"/>
                    <a:pt x="362" y="35"/>
                    <a:pt x="362" y="35"/>
                  </a:cubicBezTo>
                  <a:cubicBezTo>
                    <a:pt x="363" y="35"/>
                    <a:pt x="363" y="35"/>
                    <a:pt x="364" y="35"/>
                  </a:cubicBezTo>
                  <a:cubicBezTo>
                    <a:pt x="364" y="35"/>
                    <a:pt x="364" y="35"/>
                    <a:pt x="364" y="35"/>
                  </a:cubicBezTo>
                  <a:cubicBezTo>
                    <a:pt x="364" y="35"/>
                    <a:pt x="364" y="35"/>
                    <a:pt x="364" y="35"/>
                  </a:cubicBezTo>
                  <a:cubicBezTo>
                    <a:pt x="364" y="35"/>
                    <a:pt x="364" y="35"/>
                    <a:pt x="364" y="35"/>
                  </a:cubicBezTo>
                  <a:cubicBezTo>
                    <a:pt x="366" y="34"/>
                    <a:pt x="369" y="35"/>
                    <a:pt x="371" y="34"/>
                  </a:cubicBezTo>
                  <a:cubicBezTo>
                    <a:pt x="375" y="34"/>
                    <a:pt x="380" y="34"/>
                    <a:pt x="384" y="34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</a:ln>
            <a:effectLst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64800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4000" b="1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0000"/>
                </a:solidFill>
                <a:latin typeface="UKIJ Qolyazma" pitchFamily="18" charset="0"/>
                <a:cs typeface="UKIJ Qolyazma" pitchFamily="18" charset="0"/>
              </a:endParaRPr>
            </a:p>
          </p:txBody>
        </p:sp>
        <p:sp>
          <p:nvSpPr>
            <p:cNvPr id="121" name="Freeform 32">
              <a:extLst>
                <a:ext uri="{FF2B5EF4-FFF2-40B4-BE49-F238E27FC236}">
                  <a16:creationId xmlns:a16="http://schemas.microsoft.com/office/drawing/2014/main" id="{D6A178F6-6323-CA15-0B6A-C7C646FDC7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21114" y="2719217"/>
              <a:ext cx="846115" cy="661864"/>
            </a:xfrm>
            <a:custGeom>
              <a:avLst/>
              <a:gdLst>
                <a:gd name="T0" fmla="*/ 206 w 389"/>
                <a:gd name="T1" fmla="*/ 12 h 304"/>
                <a:gd name="T2" fmla="*/ 223 w 389"/>
                <a:gd name="T3" fmla="*/ 20 h 304"/>
                <a:gd name="T4" fmla="*/ 229 w 389"/>
                <a:gd name="T5" fmla="*/ 10 h 304"/>
                <a:gd name="T6" fmla="*/ 237 w 389"/>
                <a:gd name="T7" fmla="*/ 11 h 304"/>
                <a:gd name="T8" fmla="*/ 273 w 389"/>
                <a:gd name="T9" fmla="*/ 30 h 304"/>
                <a:gd name="T10" fmla="*/ 282 w 389"/>
                <a:gd name="T11" fmla="*/ 36 h 304"/>
                <a:gd name="T12" fmla="*/ 292 w 389"/>
                <a:gd name="T13" fmla="*/ 42 h 304"/>
                <a:gd name="T14" fmla="*/ 303 w 389"/>
                <a:gd name="T15" fmla="*/ 33 h 304"/>
                <a:gd name="T16" fmla="*/ 317 w 389"/>
                <a:gd name="T17" fmla="*/ 5 h 304"/>
                <a:gd name="T18" fmla="*/ 342 w 389"/>
                <a:gd name="T19" fmla="*/ 10 h 304"/>
                <a:gd name="T20" fmla="*/ 350 w 389"/>
                <a:gd name="T21" fmla="*/ 23 h 304"/>
                <a:gd name="T22" fmla="*/ 356 w 389"/>
                <a:gd name="T23" fmla="*/ 33 h 304"/>
                <a:gd name="T24" fmla="*/ 353 w 389"/>
                <a:gd name="T25" fmla="*/ 44 h 304"/>
                <a:gd name="T26" fmla="*/ 352 w 389"/>
                <a:gd name="T27" fmla="*/ 59 h 304"/>
                <a:gd name="T28" fmla="*/ 366 w 389"/>
                <a:gd name="T29" fmla="*/ 66 h 304"/>
                <a:gd name="T30" fmla="*/ 382 w 389"/>
                <a:gd name="T31" fmla="*/ 68 h 304"/>
                <a:gd name="T32" fmla="*/ 386 w 389"/>
                <a:gd name="T33" fmla="*/ 78 h 304"/>
                <a:gd name="T34" fmla="*/ 378 w 389"/>
                <a:gd name="T35" fmla="*/ 88 h 304"/>
                <a:gd name="T36" fmla="*/ 366 w 389"/>
                <a:gd name="T37" fmla="*/ 105 h 304"/>
                <a:gd name="T38" fmla="*/ 379 w 389"/>
                <a:gd name="T39" fmla="*/ 142 h 304"/>
                <a:gd name="T40" fmla="*/ 375 w 389"/>
                <a:gd name="T41" fmla="*/ 150 h 304"/>
                <a:gd name="T42" fmla="*/ 369 w 389"/>
                <a:gd name="T43" fmla="*/ 157 h 304"/>
                <a:gd name="T44" fmla="*/ 336 w 389"/>
                <a:gd name="T45" fmla="*/ 170 h 304"/>
                <a:gd name="T46" fmla="*/ 331 w 389"/>
                <a:gd name="T47" fmla="*/ 180 h 304"/>
                <a:gd name="T48" fmla="*/ 317 w 389"/>
                <a:gd name="T49" fmla="*/ 193 h 304"/>
                <a:gd name="T50" fmla="*/ 306 w 389"/>
                <a:gd name="T51" fmla="*/ 197 h 304"/>
                <a:gd name="T52" fmla="*/ 290 w 389"/>
                <a:gd name="T53" fmla="*/ 194 h 304"/>
                <a:gd name="T54" fmla="*/ 252 w 389"/>
                <a:gd name="T55" fmla="*/ 183 h 304"/>
                <a:gd name="T56" fmla="*/ 192 w 389"/>
                <a:gd name="T57" fmla="*/ 195 h 304"/>
                <a:gd name="T58" fmla="*/ 185 w 389"/>
                <a:gd name="T59" fmla="*/ 206 h 304"/>
                <a:gd name="T60" fmla="*/ 178 w 389"/>
                <a:gd name="T61" fmla="*/ 218 h 304"/>
                <a:gd name="T62" fmla="*/ 180 w 389"/>
                <a:gd name="T63" fmla="*/ 237 h 304"/>
                <a:gd name="T64" fmla="*/ 182 w 389"/>
                <a:gd name="T65" fmla="*/ 255 h 304"/>
                <a:gd name="T66" fmla="*/ 186 w 389"/>
                <a:gd name="T67" fmla="*/ 287 h 304"/>
                <a:gd name="T68" fmla="*/ 165 w 389"/>
                <a:gd name="T69" fmla="*/ 300 h 304"/>
                <a:gd name="T70" fmla="*/ 147 w 389"/>
                <a:gd name="T71" fmla="*/ 287 h 304"/>
                <a:gd name="T72" fmla="*/ 129 w 389"/>
                <a:gd name="T73" fmla="*/ 296 h 304"/>
                <a:gd name="T74" fmla="*/ 122 w 389"/>
                <a:gd name="T75" fmla="*/ 285 h 304"/>
                <a:gd name="T76" fmla="*/ 113 w 389"/>
                <a:gd name="T77" fmla="*/ 276 h 304"/>
                <a:gd name="T78" fmla="*/ 69 w 389"/>
                <a:gd name="T79" fmla="*/ 266 h 304"/>
                <a:gd name="T80" fmla="*/ 58 w 389"/>
                <a:gd name="T81" fmla="*/ 258 h 304"/>
                <a:gd name="T82" fmla="*/ 48 w 389"/>
                <a:gd name="T83" fmla="*/ 245 h 304"/>
                <a:gd name="T84" fmla="*/ 38 w 389"/>
                <a:gd name="T85" fmla="*/ 237 h 304"/>
                <a:gd name="T86" fmla="*/ 35 w 389"/>
                <a:gd name="T87" fmla="*/ 223 h 304"/>
                <a:gd name="T88" fmla="*/ 31 w 389"/>
                <a:gd name="T89" fmla="*/ 215 h 304"/>
                <a:gd name="T90" fmla="*/ 27 w 389"/>
                <a:gd name="T91" fmla="*/ 204 h 304"/>
                <a:gd name="T92" fmla="*/ 24 w 389"/>
                <a:gd name="T93" fmla="*/ 195 h 304"/>
                <a:gd name="T94" fmla="*/ 20 w 389"/>
                <a:gd name="T95" fmla="*/ 188 h 304"/>
                <a:gd name="T96" fmla="*/ 16 w 389"/>
                <a:gd name="T97" fmla="*/ 179 h 304"/>
                <a:gd name="T98" fmla="*/ 12 w 389"/>
                <a:gd name="T99" fmla="*/ 171 h 304"/>
                <a:gd name="T100" fmla="*/ 7 w 389"/>
                <a:gd name="T101" fmla="*/ 160 h 304"/>
                <a:gd name="T102" fmla="*/ 1 w 389"/>
                <a:gd name="T103" fmla="*/ 138 h 304"/>
                <a:gd name="T104" fmla="*/ 16 w 389"/>
                <a:gd name="T105" fmla="*/ 122 h 304"/>
                <a:gd name="T106" fmla="*/ 24 w 389"/>
                <a:gd name="T107" fmla="*/ 118 h 304"/>
                <a:gd name="T108" fmla="*/ 32 w 389"/>
                <a:gd name="T109" fmla="*/ 114 h 304"/>
                <a:gd name="T110" fmla="*/ 43 w 389"/>
                <a:gd name="T111" fmla="*/ 106 h 304"/>
                <a:gd name="T112" fmla="*/ 51 w 389"/>
                <a:gd name="T113" fmla="*/ 95 h 304"/>
                <a:gd name="T114" fmla="*/ 76 w 389"/>
                <a:gd name="T115" fmla="*/ 91 h 304"/>
                <a:gd name="T116" fmla="*/ 83 w 389"/>
                <a:gd name="T117" fmla="*/ 87 h 304"/>
                <a:gd name="T118" fmla="*/ 117 w 389"/>
                <a:gd name="T119" fmla="*/ 60 h 304"/>
                <a:gd name="T120" fmla="*/ 151 w 389"/>
                <a:gd name="T121" fmla="*/ 54 h 304"/>
                <a:gd name="T122" fmla="*/ 151 w 389"/>
                <a:gd name="T123" fmla="*/ 5 h 304"/>
                <a:gd name="T124" fmla="*/ 161 w 389"/>
                <a:gd name="T125" fmla="*/ 1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89" h="304">
                  <a:moveTo>
                    <a:pt x="197" y="0"/>
                  </a:moveTo>
                  <a:cubicBezTo>
                    <a:pt x="197" y="0"/>
                    <a:pt x="197" y="0"/>
                    <a:pt x="197" y="0"/>
                  </a:cubicBezTo>
                  <a:cubicBezTo>
                    <a:pt x="199" y="1"/>
                    <a:pt x="199" y="3"/>
                    <a:pt x="200" y="4"/>
                  </a:cubicBezTo>
                  <a:cubicBezTo>
                    <a:pt x="200" y="4"/>
                    <a:pt x="201" y="4"/>
                    <a:pt x="201" y="5"/>
                  </a:cubicBezTo>
                  <a:cubicBezTo>
                    <a:pt x="201" y="5"/>
                    <a:pt x="201" y="5"/>
                    <a:pt x="201" y="5"/>
                  </a:cubicBezTo>
                  <a:cubicBezTo>
                    <a:pt x="201" y="5"/>
                    <a:pt x="201" y="5"/>
                    <a:pt x="202" y="6"/>
                  </a:cubicBezTo>
                  <a:cubicBezTo>
                    <a:pt x="202" y="6"/>
                    <a:pt x="202" y="6"/>
                    <a:pt x="202" y="6"/>
                  </a:cubicBezTo>
                  <a:cubicBezTo>
                    <a:pt x="202" y="6"/>
                    <a:pt x="202" y="7"/>
                    <a:pt x="202" y="7"/>
                  </a:cubicBezTo>
                  <a:cubicBezTo>
                    <a:pt x="202" y="7"/>
                    <a:pt x="202" y="7"/>
                    <a:pt x="202" y="7"/>
                  </a:cubicBezTo>
                  <a:cubicBezTo>
                    <a:pt x="203" y="8"/>
                    <a:pt x="203" y="8"/>
                    <a:pt x="203" y="8"/>
                  </a:cubicBezTo>
                  <a:cubicBezTo>
                    <a:pt x="203" y="8"/>
                    <a:pt x="203" y="8"/>
                    <a:pt x="203" y="9"/>
                  </a:cubicBezTo>
                  <a:cubicBezTo>
                    <a:pt x="204" y="9"/>
                    <a:pt x="204" y="9"/>
                    <a:pt x="204" y="9"/>
                  </a:cubicBezTo>
                  <a:cubicBezTo>
                    <a:pt x="204" y="9"/>
                    <a:pt x="204" y="9"/>
                    <a:pt x="204" y="10"/>
                  </a:cubicBezTo>
                  <a:cubicBezTo>
                    <a:pt x="204" y="10"/>
                    <a:pt x="205" y="10"/>
                    <a:pt x="205" y="10"/>
                  </a:cubicBezTo>
                  <a:cubicBezTo>
                    <a:pt x="205" y="10"/>
                    <a:pt x="205" y="11"/>
                    <a:pt x="205" y="11"/>
                  </a:cubicBezTo>
                  <a:cubicBezTo>
                    <a:pt x="205" y="11"/>
                    <a:pt x="206" y="11"/>
                    <a:pt x="206" y="12"/>
                  </a:cubicBezTo>
                  <a:cubicBezTo>
                    <a:pt x="206" y="12"/>
                    <a:pt x="206" y="12"/>
                    <a:pt x="206" y="12"/>
                  </a:cubicBezTo>
                  <a:cubicBezTo>
                    <a:pt x="206" y="12"/>
                    <a:pt x="206" y="12"/>
                    <a:pt x="206" y="12"/>
                  </a:cubicBezTo>
                  <a:cubicBezTo>
                    <a:pt x="206" y="13"/>
                    <a:pt x="206" y="13"/>
                    <a:pt x="207" y="13"/>
                  </a:cubicBezTo>
                  <a:cubicBezTo>
                    <a:pt x="207" y="13"/>
                    <a:pt x="207" y="14"/>
                    <a:pt x="207" y="14"/>
                  </a:cubicBezTo>
                  <a:cubicBezTo>
                    <a:pt x="207" y="14"/>
                    <a:pt x="207" y="14"/>
                    <a:pt x="207" y="14"/>
                  </a:cubicBezTo>
                  <a:cubicBezTo>
                    <a:pt x="208" y="15"/>
                    <a:pt x="208" y="15"/>
                    <a:pt x="208" y="15"/>
                  </a:cubicBezTo>
                  <a:cubicBezTo>
                    <a:pt x="208" y="15"/>
                    <a:pt x="208" y="15"/>
                    <a:pt x="208" y="16"/>
                  </a:cubicBezTo>
                  <a:cubicBezTo>
                    <a:pt x="209" y="16"/>
                    <a:pt x="209" y="16"/>
                    <a:pt x="209" y="16"/>
                  </a:cubicBezTo>
                  <a:cubicBezTo>
                    <a:pt x="209" y="16"/>
                    <a:pt x="209" y="17"/>
                    <a:pt x="209" y="17"/>
                  </a:cubicBezTo>
                  <a:cubicBezTo>
                    <a:pt x="209" y="17"/>
                    <a:pt x="209" y="17"/>
                    <a:pt x="210" y="17"/>
                  </a:cubicBezTo>
                  <a:cubicBezTo>
                    <a:pt x="210" y="17"/>
                    <a:pt x="210" y="18"/>
                    <a:pt x="210" y="18"/>
                  </a:cubicBezTo>
                  <a:cubicBezTo>
                    <a:pt x="210" y="18"/>
                    <a:pt x="210" y="18"/>
                    <a:pt x="210" y="18"/>
                  </a:cubicBezTo>
                  <a:cubicBezTo>
                    <a:pt x="210" y="18"/>
                    <a:pt x="211" y="18"/>
                    <a:pt x="211" y="19"/>
                  </a:cubicBezTo>
                  <a:cubicBezTo>
                    <a:pt x="214" y="20"/>
                    <a:pt x="218" y="21"/>
                    <a:pt x="221" y="22"/>
                  </a:cubicBezTo>
                  <a:cubicBezTo>
                    <a:pt x="221" y="21"/>
                    <a:pt x="222" y="21"/>
                    <a:pt x="222" y="20"/>
                  </a:cubicBezTo>
                  <a:cubicBezTo>
                    <a:pt x="223" y="20"/>
                    <a:pt x="223" y="20"/>
                    <a:pt x="223" y="20"/>
                  </a:cubicBezTo>
                  <a:cubicBezTo>
                    <a:pt x="223" y="19"/>
                    <a:pt x="223" y="19"/>
                    <a:pt x="223" y="18"/>
                  </a:cubicBezTo>
                  <a:cubicBezTo>
                    <a:pt x="224" y="18"/>
                    <a:pt x="224" y="18"/>
                    <a:pt x="224" y="18"/>
                  </a:cubicBezTo>
                  <a:cubicBezTo>
                    <a:pt x="224" y="17"/>
                    <a:pt x="224" y="17"/>
                    <a:pt x="224" y="16"/>
                  </a:cubicBezTo>
                  <a:cubicBezTo>
                    <a:pt x="225" y="16"/>
                    <a:pt x="225" y="16"/>
                    <a:pt x="225" y="16"/>
                  </a:cubicBezTo>
                  <a:cubicBezTo>
                    <a:pt x="225" y="16"/>
                    <a:pt x="225" y="16"/>
                    <a:pt x="225" y="15"/>
                  </a:cubicBezTo>
                  <a:cubicBezTo>
                    <a:pt x="225" y="15"/>
                    <a:pt x="225" y="15"/>
                    <a:pt x="225" y="15"/>
                  </a:cubicBezTo>
                  <a:cubicBezTo>
                    <a:pt x="225" y="15"/>
                    <a:pt x="225" y="15"/>
                    <a:pt x="225" y="15"/>
                  </a:cubicBezTo>
                  <a:cubicBezTo>
                    <a:pt x="226" y="15"/>
                    <a:pt x="226" y="15"/>
                    <a:pt x="226" y="15"/>
                  </a:cubicBezTo>
                  <a:cubicBezTo>
                    <a:pt x="226" y="14"/>
                    <a:pt x="226" y="14"/>
                    <a:pt x="226" y="14"/>
                  </a:cubicBezTo>
                  <a:cubicBezTo>
                    <a:pt x="226" y="14"/>
                    <a:pt x="227" y="13"/>
                    <a:pt x="227" y="13"/>
                  </a:cubicBezTo>
                  <a:cubicBezTo>
                    <a:pt x="227" y="13"/>
                    <a:pt x="227" y="13"/>
                    <a:pt x="227" y="13"/>
                  </a:cubicBezTo>
                  <a:cubicBezTo>
                    <a:pt x="227" y="13"/>
                    <a:pt x="227" y="13"/>
                    <a:pt x="227" y="13"/>
                  </a:cubicBezTo>
                  <a:cubicBezTo>
                    <a:pt x="227" y="12"/>
                    <a:pt x="227" y="12"/>
                    <a:pt x="227" y="12"/>
                  </a:cubicBezTo>
                  <a:cubicBezTo>
                    <a:pt x="227" y="12"/>
                    <a:pt x="228" y="12"/>
                    <a:pt x="228" y="12"/>
                  </a:cubicBezTo>
                  <a:cubicBezTo>
                    <a:pt x="228" y="11"/>
                    <a:pt x="228" y="11"/>
                    <a:pt x="228" y="10"/>
                  </a:cubicBezTo>
                  <a:cubicBezTo>
                    <a:pt x="228" y="10"/>
                    <a:pt x="229" y="10"/>
                    <a:pt x="229" y="10"/>
                  </a:cubicBezTo>
                  <a:cubicBezTo>
                    <a:pt x="229" y="9"/>
                    <a:pt x="229" y="9"/>
                    <a:pt x="229" y="8"/>
                  </a:cubicBezTo>
                  <a:cubicBezTo>
                    <a:pt x="230" y="8"/>
                    <a:pt x="230" y="8"/>
                    <a:pt x="230" y="8"/>
                  </a:cubicBezTo>
                  <a:cubicBezTo>
                    <a:pt x="230" y="8"/>
                    <a:pt x="230" y="8"/>
                    <a:pt x="230" y="7"/>
                  </a:cubicBezTo>
                  <a:cubicBezTo>
                    <a:pt x="230" y="7"/>
                    <a:pt x="230" y="7"/>
                    <a:pt x="231" y="7"/>
                  </a:cubicBezTo>
                  <a:cubicBezTo>
                    <a:pt x="231" y="7"/>
                    <a:pt x="231" y="7"/>
                    <a:pt x="231" y="6"/>
                  </a:cubicBezTo>
                  <a:cubicBezTo>
                    <a:pt x="231" y="6"/>
                    <a:pt x="231" y="6"/>
                    <a:pt x="231" y="6"/>
                  </a:cubicBezTo>
                  <a:cubicBezTo>
                    <a:pt x="231" y="6"/>
                    <a:pt x="231" y="6"/>
                    <a:pt x="231" y="6"/>
                  </a:cubicBezTo>
                  <a:cubicBezTo>
                    <a:pt x="231" y="5"/>
                    <a:pt x="232" y="5"/>
                    <a:pt x="232" y="5"/>
                  </a:cubicBezTo>
                  <a:cubicBezTo>
                    <a:pt x="232" y="5"/>
                    <a:pt x="232" y="5"/>
                    <a:pt x="232" y="5"/>
                  </a:cubicBezTo>
                  <a:cubicBezTo>
                    <a:pt x="232" y="6"/>
                    <a:pt x="233" y="7"/>
                    <a:pt x="234" y="8"/>
                  </a:cubicBezTo>
                  <a:cubicBezTo>
                    <a:pt x="234" y="8"/>
                    <a:pt x="234" y="8"/>
                    <a:pt x="235" y="8"/>
                  </a:cubicBezTo>
                  <a:cubicBezTo>
                    <a:pt x="235" y="8"/>
                    <a:pt x="235" y="8"/>
                    <a:pt x="235" y="8"/>
                  </a:cubicBezTo>
                  <a:cubicBezTo>
                    <a:pt x="235" y="8"/>
                    <a:pt x="235" y="8"/>
                    <a:pt x="235" y="8"/>
                  </a:cubicBezTo>
                  <a:cubicBezTo>
                    <a:pt x="235" y="9"/>
                    <a:pt x="236" y="9"/>
                    <a:pt x="236" y="10"/>
                  </a:cubicBezTo>
                  <a:cubicBezTo>
                    <a:pt x="236" y="10"/>
                    <a:pt x="237" y="10"/>
                    <a:pt x="237" y="10"/>
                  </a:cubicBezTo>
                  <a:cubicBezTo>
                    <a:pt x="237" y="11"/>
                    <a:pt x="237" y="11"/>
                    <a:pt x="237" y="11"/>
                  </a:cubicBezTo>
                  <a:cubicBezTo>
                    <a:pt x="238" y="12"/>
                    <a:pt x="239" y="13"/>
                    <a:pt x="239" y="13"/>
                  </a:cubicBezTo>
                  <a:cubicBezTo>
                    <a:pt x="239" y="14"/>
                    <a:pt x="239" y="14"/>
                    <a:pt x="239" y="14"/>
                  </a:cubicBezTo>
                  <a:cubicBezTo>
                    <a:pt x="240" y="15"/>
                    <a:pt x="241" y="15"/>
                    <a:pt x="242" y="16"/>
                  </a:cubicBezTo>
                  <a:cubicBezTo>
                    <a:pt x="242" y="16"/>
                    <a:pt x="242" y="17"/>
                    <a:pt x="242" y="17"/>
                  </a:cubicBezTo>
                  <a:cubicBezTo>
                    <a:pt x="243" y="17"/>
                    <a:pt x="244" y="18"/>
                    <a:pt x="244" y="19"/>
                  </a:cubicBezTo>
                  <a:cubicBezTo>
                    <a:pt x="244" y="19"/>
                    <a:pt x="244" y="19"/>
                    <a:pt x="244" y="20"/>
                  </a:cubicBezTo>
                  <a:cubicBezTo>
                    <a:pt x="245" y="20"/>
                    <a:pt x="245" y="20"/>
                    <a:pt x="245" y="20"/>
                  </a:cubicBezTo>
                  <a:cubicBezTo>
                    <a:pt x="245" y="20"/>
                    <a:pt x="245" y="20"/>
                    <a:pt x="245" y="20"/>
                  </a:cubicBezTo>
                  <a:cubicBezTo>
                    <a:pt x="247" y="21"/>
                    <a:pt x="249" y="21"/>
                    <a:pt x="251" y="22"/>
                  </a:cubicBezTo>
                  <a:cubicBezTo>
                    <a:pt x="256" y="24"/>
                    <a:pt x="262" y="26"/>
                    <a:pt x="267" y="28"/>
                  </a:cubicBezTo>
                  <a:cubicBezTo>
                    <a:pt x="268" y="28"/>
                    <a:pt x="269" y="29"/>
                    <a:pt x="270" y="29"/>
                  </a:cubicBezTo>
                  <a:cubicBezTo>
                    <a:pt x="270" y="29"/>
                    <a:pt x="270" y="29"/>
                    <a:pt x="270" y="29"/>
                  </a:cubicBezTo>
                  <a:cubicBezTo>
                    <a:pt x="271" y="29"/>
                    <a:pt x="272" y="29"/>
                    <a:pt x="273" y="30"/>
                  </a:cubicBezTo>
                  <a:cubicBezTo>
                    <a:pt x="273" y="30"/>
                    <a:pt x="273" y="30"/>
                    <a:pt x="273" y="30"/>
                  </a:cubicBezTo>
                  <a:cubicBezTo>
                    <a:pt x="273" y="30"/>
                    <a:pt x="273" y="30"/>
                    <a:pt x="273" y="30"/>
                  </a:cubicBezTo>
                  <a:cubicBezTo>
                    <a:pt x="273" y="30"/>
                    <a:pt x="273" y="30"/>
                    <a:pt x="273" y="30"/>
                  </a:cubicBezTo>
                  <a:cubicBezTo>
                    <a:pt x="274" y="30"/>
                    <a:pt x="274" y="30"/>
                    <a:pt x="274" y="30"/>
                  </a:cubicBezTo>
                  <a:cubicBezTo>
                    <a:pt x="274" y="31"/>
                    <a:pt x="274" y="31"/>
                    <a:pt x="274" y="31"/>
                  </a:cubicBezTo>
                  <a:cubicBezTo>
                    <a:pt x="275" y="31"/>
                    <a:pt x="275" y="31"/>
                    <a:pt x="275" y="31"/>
                  </a:cubicBezTo>
                  <a:cubicBezTo>
                    <a:pt x="275" y="31"/>
                    <a:pt x="275" y="31"/>
                    <a:pt x="275" y="31"/>
                  </a:cubicBezTo>
                  <a:cubicBezTo>
                    <a:pt x="276" y="31"/>
                    <a:pt x="276" y="31"/>
                    <a:pt x="276" y="31"/>
                  </a:cubicBezTo>
                  <a:cubicBezTo>
                    <a:pt x="276" y="31"/>
                    <a:pt x="276" y="32"/>
                    <a:pt x="277" y="32"/>
                  </a:cubicBezTo>
                  <a:cubicBezTo>
                    <a:pt x="277" y="32"/>
                    <a:pt x="277" y="32"/>
                    <a:pt x="277" y="32"/>
                  </a:cubicBezTo>
                  <a:cubicBezTo>
                    <a:pt x="277" y="32"/>
                    <a:pt x="277" y="32"/>
                    <a:pt x="278" y="33"/>
                  </a:cubicBezTo>
                  <a:cubicBezTo>
                    <a:pt x="278" y="33"/>
                    <a:pt x="278" y="33"/>
                    <a:pt x="278" y="33"/>
                  </a:cubicBezTo>
                  <a:cubicBezTo>
                    <a:pt x="278" y="33"/>
                    <a:pt x="279" y="33"/>
                    <a:pt x="279" y="33"/>
                  </a:cubicBezTo>
                  <a:cubicBezTo>
                    <a:pt x="279" y="33"/>
                    <a:pt x="279" y="33"/>
                    <a:pt x="279" y="33"/>
                  </a:cubicBezTo>
                  <a:cubicBezTo>
                    <a:pt x="279" y="33"/>
                    <a:pt x="280" y="34"/>
                    <a:pt x="280" y="34"/>
                  </a:cubicBezTo>
                  <a:cubicBezTo>
                    <a:pt x="280" y="34"/>
                    <a:pt x="281" y="34"/>
                    <a:pt x="281" y="34"/>
                  </a:cubicBezTo>
                  <a:cubicBezTo>
                    <a:pt x="281" y="34"/>
                    <a:pt x="281" y="35"/>
                    <a:pt x="281" y="35"/>
                  </a:cubicBezTo>
                  <a:cubicBezTo>
                    <a:pt x="282" y="35"/>
                    <a:pt x="282" y="35"/>
                    <a:pt x="282" y="35"/>
                  </a:cubicBezTo>
                  <a:cubicBezTo>
                    <a:pt x="282" y="35"/>
                    <a:pt x="282" y="35"/>
                    <a:pt x="282" y="36"/>
                  </a:cubicBezTo>
                  <a:cubicBezTo>
                    <a:pt x="283" y="36"/>
                    <a:pt x="283" y="36"/>
                    <a:pt x="283" y="36"/>
                  </a:cubicBezTo>
                  <a:cubicBezTo>
                    <a:pt x="283" y="36"/>
                    <a:pt x="283" y="36"/>
                    <a:pt x="284" y="36"/>
                  </a:cubicBezTo>
                  <a:cubicBezTo>
                    <a:pt x="284" y="36"/>
                    <a:pt x="284" y="36"/>
                    <a:pt x="284" y="36"/>
                  </a:cubicBezTo>
                  <a:cubicBezTo>
                    <a:pt x="284" y="37"/>
                    <a:pt x="284" y="37"/>
                    <a:pt x="285" y="37"/>
                  </a:cubicBezTo>
                  <a:cubicBezTo>
                    <a:pt x="285" y="37"/>
                    <a:pt x="285" y="37"/>
                    <a:pt x="285" y="37"/>
                  </a:cubicBezTo>
                  <a:cubicBezTo>
                    <a:pt x="285" y="37"/>
                    <a:pt x="285" y="38"/>
                    <a:pt x="286" y="38"/>
                  </a:cubicBezTo>
                  <a:cubicBezTo>
                    <a:pt x="286" y="38"/>
                    <a:pt x="286" y="38"/>
                    <a:pt x="286" y="38"/>
                  </a:cubicBezTo>
                  <a:cubicBezTo>
                    <a:pt x="286" y="38"/>
                    <a:pt x="287" y="38"/>
                    <a:pt x="287" y="38"/>
                  </a:cubicBezTo>
                  <a:cubicBezTo>
                    <a:pt x="287" y="39"/>
                    <a:pt x="287" y="39"/>
                    <a:pt x="288" y="39"/>
                  </a:cubicBezTo>
                  <a:cubicBezTo>
                    <a:pt x="288" y="39"/>
                    <a:pt x="288" y="39"/>
                    <a:pt x="288" y="39"/>
                  </a:cubicBezTo>
                  <a:cubicBezTo>
                    <a:pt x="288" y="39"/>
                    <a:pt x="289" y="39"/>
                    <a:pt x="289" y="40"/>
                  </a:cubicBezTo>
                  <a:cubicBezTo>
                    <a:pt x="289" y="40"/>
                    <a:pt x="289" y="40"/>
                    <a:pt x="289" y="40"/>
                  </a:cubicBezTo>
                  <a:cubicBezTo>
                    <a:pt x="290" y="40"/>
                    <a:pt x="290" y="40"/>
                    <a:pt x="290" y="40"/>
                  </a:cubicBezTo>
                  <a:cubicBezTo>
                    <a:pt x="290" y="40"/>
                    <a:pt x="290" y="41"/>
                    <a:pt x="291" y="41"/>
                  </a:cubicBezTo>
                  <a:cubicBezTo>
                    <a:pt x="291" y="41"/>
                    <a:pt x="291" y="41"/>
                    <a:pt x="291" y="41"/>
                  </a:cubicBezTo>
                  <a:cubicBezTo>
                    <a:pt x="291" y="41"/>
                    <a:pt x="291" y="41"/>
                    <a:pt x="292" y="42"/>
                  </a:cubicBezTo>
                  <a:cubicBezTo>
                    <a:pt x="292" y="42"/>
                    <a:pt x="292" y="42"/>
                    <a:pt x="292" y="42"/>
                  </a:cubicBezTo>
                  <a:cubicBezTo>
                    <a:pt x="292" y="42"/>
                    <a:pt x="292" y="42"/>
                    <a:pt x="293" y="42"/>
                  </a:cubicBezTo>
                  <a:cubicBezTo>
                    <a:pt x="293" y="42"/>
                    <a:pt x="293" y="42"/>
                    <a:pt x="293" y="42"/>
                  </a:cubicBezTo>
                  <a:cubicBezTo>
                    <a:pt x="293" y="43"/>
                    <a:pt x="294" y="43"/>
                    <a:pt x="294" y="43"/>
                  </a:cubicBezTo>
                  <a:cubicBezTo>
                    <a:pt x="294" y="43"/>
                    <a:pt x="294" y="43"/>
                    <a:pt x="294" y="43"/>
                  </a:cubicBezTo>
                  <a:cubicBezTo>
                    <a:pt x="294" y="43"/>
                    <a:pt x="295" y="43"/>
                    <a:pt x="295" y="44"/>
                  </a:cubicBezTo>
                  <a:cubicBezTo>
                    <a:pt x="295" y="44"/>
                    <a:pt x="295" y="44"/>
                    <a:pt x="295" y="44"/>
                  </a:cubicBezTo>
                  <a:cubicBezTo>
                    <a:pt x="296" y="44"/>
                    <a:pt x="296" y="44"/>
                    <a:pt x="296" y="44"/>
                  </a:cubicBezTo>
                  <a:cubicBezTo>
                    <a:pt x="296" y="45"/>
                    <a:pt x="297" y="45"/>
                    <a:pt x="297" y="45"/>
                  </a:cubicBezTo>
                  <a:cubicBezTo>
                    <a:pt x="297" y="45"/>
                    <a:pt x="297" y="45"/>
                    <a:pt x="298" y="45"/>
                  </a:cubicBezTo>
                  <a:cubicBezTo>
                    <a:pt x="298" y="46"/>
                    <a:pt x="298" y="46"/>
                    <a:pt x="299" y="46"/>
                  </a:cubicBezTo>
                  <a:cubicBezTo>
                    <a:pt x="299" y="43"/>
                    <a:pt x="300" y="40"/>
                    <a:pt x="301" y="37"/>
                  </a:cubicBezTo>
                  <a:cubicBezTo>
                    <a:pt x="301" y="37"/>
                    <a:pt x="302" y="37"/>
                    <a:pt x="302" y="37"/>
                  </a:cubicBezTo>
                  <a:cubicBezTo>
                    <a:pt x="302" y="36"/>
                    <a:pt x="302" y="35"/>
                    <a:pt x="302" y="34"/>
                  </a:cubicBezTo>
                  <a:cubicBezTo>
                    <a:pt x="303" y="34"/>
                    <a:pt x="303" y="34"/>
                    <a:pt x="303" y="34"/>
                  </a:cubicBezTo>
                  <a:cubicBezTo>
                    <a:pt x="303" y="33"/>
                    <a:pt x="303" y="33"/>
                    <a:pt x="303" y="33"/>
                  </a:cubicBezTo>
                  <a:cubicBezTo>
                    <a:pt x="303" y="33"/>
                    <a:pt x="303" y="33"/>
                    <a:pt x="303" y="33"/>
                  </a:cubicBezTo>
                  <a:cubicBezTo>
                    <a:pt x="303" y="32"/>
                    <a:pt x="303" y="32"/>
                    <a:pt x="303" y="31"/>
                  </a:cubicBezTo>
                  <a:cubicBezTo>
                    <a:pt x="303" y="31"/>
                    <a:pt x="303" y="31"/>
                    <a:pt x="303" y="31"/>
                  </a:cubicBezTo>
                  <a:cubicBezTo>
                    <a:pt x="303" y="31"/>
                    <a:pt x="303" y="31"/>
                    <a:pt x="303" y="30"/>
                  </a:cubicBezTo>
                  <a:cubicBezTo>
                    <a:pt x="304" y="30"/>
                    <a:pt x="304" y="30"/>
                    <a:pt x="304" y="30"/>
                  </a:cubicBezTo>
                  <a:cubicBezTo>
                    <a:pt x="304" y="30"/>
                    <a:pt x="304" y="30"/>
                    <a:pt x="304" y="29"/>
                  </a:cubicBezTo>
                  <a:cubicBezTo>
                    <a:pt x="304" y="29"/>
                    <a:pt x="304" y="29"/>
                    <a:pt x="304" y="29"/>
                  </a:cubicBezTo>
                  <a:cubicBezTo>
                    <a:pt x="304" y="29"/>
                    <a:pt x="304" y="29"/>
                    <a:pt x="304" y="28"/>
                  </a:cubicBezTo>
                  <a:cubicBezTo>
                    <a:pt x="304" y="28"/>
                    <a:pt x="304" y="28"/>
                    <a:pt x="304" y="28"/>
                  </a:cubicBezTo>
                  <a:cubicBezTo>
                    <a:pt x="304" y="28"/>
                    <a:pt x="304" y="28"/>
                    <a:pt x="304" y="27"/>
                  </a:cubicBezTo>
                  <a:cubicBezTo>
                    <a:pt x="305" y="27"/>
                    <a:pt x="305" y="27"/>
                    <a:pt x="305" y="27"/>
                  </a:cubicBezTo>
                  <a:cubicBezTo>
                    <a:pt x="305" y="27"/>
                    <a:pt x="305" y="26"/>
                    <a:pt x="305" y="25"/>
                  </a:cubicBezTo>
                  <a:cubicBezTo>
                    <a:pt x="305" y="25"/>
                    <a:pt x="305" y="25"/>
                    <a:pt x="306" y="25"/>
                  </a:cubicBezTo>
                  <a:cubicBezTo>
                    <a:pt x="306" y="24"/>
                    <a:pt x="306" y="23"/>
                    <a:pt x="306" y="22"/>
                  </a:cubicBezTo>
                  <a:cubicBezTo>
                    <a:pt x="310" y="16"/>
                    <a:pt x="313" y="10"/>
                    <a:pt x="317" y="5"/>
                  </a:cubicBezTo>
                  <a:cubicBezTo>
                    <a:pt x="317" y="5"/>
                    <a:pt x="317" y="5"/>
                    <a:pt x="317" y="5"/>
                  </a:cubicBezTo>
                  <a:cubicBezTo>
                    <a:pt x="317" y="5"/>
                    <a:pt x="317" y="5"/>
                    <a:pt x="317" y="5"/>
                  </a:cubicBezTo>
                  <a:cubicBezTo>
                    <a:pt x="318" y="5"/>
                    <a:pt x="319" y="5"/>
                    <a:pt x="320" y="5"/>
                  </a:cubicBezTo>
                  <a:cubicBezTo>
                    <a:pt x="320" y="5"/>
                    <a:pt x="320" y="5"/>
                    <a:pt x="320" y="5"/>
                  </a:cubicBezTo>
                  <a:cubicBezTo>
                    <a:pt x="321" y="5"/>
                    <a:pt x="321" y="5"/>
                    <a:pt x="322" y="5"/>
                  </a:cubicBezTo>
                  <a:cubicBezTo>
                    <a:pt x="322" y="5"/>
                    <a:pt x="322" y="5"/>
                    <a:pt x="322" y="6"/>
                  </a:cubicBezTo>
                  <a:cubicBezTo>
                    <a:pt x="323" y="6"/>
                    <a:pt x="323" y="6"/>
                    <a:pt x="324" y="6"/>
                  </a:cubicBezTo>
                  <a:cubicBezTo>
                    <a:pt x="324" y="6"/>
                    <a:pt x="324" y="6"/>
                    <a:pt x="324" y="6"/>
                  </a:cubicBezTo>
                  <a:cubicBezTo>
                    <a:pt x="325" y="6"/>
                    <a:pt x="325" y="6"/>
                    <a:pt x="326" y="6"/>
                  </a:cubicBezTo>
                  <a:cubicBezTo>
                    <a:pt x="326" y="6"/>
                    <a:pt x="326" y="6"/>
                    <a:pt x="326" y="6"/>
                  </a:cubicBezTo>
                  <a:cubicBezTo>
                    <a:pt x="327" y="6"/>
                    <a:pt x="328" y="6"/>
                    <a:pt x="329" y="6"/>
                  </a:cubicBezTo>
                  <a:cubicBezTo>
                    <a:pt x="330" y="7"/>
                    <a:pt x="333" y="7"/>
                    <a:pt x="335" y="8"/>
                  </a:cubicBezTo>
                  <a:cubicBezTo>
                    <a:pt x="336" y="8"/>
                    <a:pt x="337" y="8"/>
                    <a:pt x="337" y="8"/>
                  </a:cubicBezTo>
                  <a:cubicBezTo>
                    <a:pt x="339" y="8"/>
                    <a:pt x="340" y="8"/>
                    <a:pt x="341" y="8"/>
                  </a:cubicBezTo>
                  <a:cubicBezTo>
                    <a:pt x="341" y="9"/>
                    <a:pt x="341" y="9"/>
                    <a:pt x="342" y="9"/>
                  </a:cubicBezTo>
                  <a:cubicBezTo>
                    <a:pt x="342" y="9"/>
                    <a:pt x="342" y="9"/>
                    <a:pt x="342" y="9"/>
                  </a:cubicBezTo>
                  <a:cubicBezTo>
                    <a:pt x="342" y="10"/>
                    <a:pt x="342" y="10"/>
                    <a:pt x="342" y="10"/>
                  </a:cubicBezTo>
                  <a:cubicBezTo>
                    <a:pt x="342" y="10"/>
                    <a:pt x="342" y="10"/>
                    <a:pt x="343" y="10"/>
                  </a:cubicBezTo>
                  <a:cubicBezTo>
                    <a:pt x="343" y="11"/>
                    <a:pt x="343" y="11"/>
                    <a:pt x="343" y="12"/>
                  </a:cubicBezTo>
                  <a:cubicBezTo>
                    <a:pt x="343" y="12"/>
                    <a:pt x="343" y="12"/>
                    <a:pt x="344" y="12"/>
                  </a:cubicBezTo>
                  <a:cubicBezTo>
                    <a:pt x="344" y="13"/>
                    <a:pt x="344" y="13"/>
                    <a:pt x="344" y="14"/>
                  </a:cubicBezTo>
                  <a:cubicBezTo>
                    <a:pt x="344" y="14"/>
                    <a:pt x="344" y="14"/>
                    <a:pt x="345" y="14"/>
                  </a:cubicBezTo>
                  <a:cubicBezTo>
                    <a:pt x="345" y="14"/>
                    <a:pt x="345" y="14"/>
                    <a:pt x="345" y="15"/>
                  </a:cubicBezTo>
                  <a:cubicBezTo>
                    <a:pt x="345" y="15"/>
                    <a:pt x="345" y="15"/>
                    <a:pt x="345" y="15"/>
                  </a:cubicBezTo>
                  <a:cubicBezTo>
                    <a:pt x="346" y="15"/>
                    <a:pt x="346" y="16"/>
                    <a:pt x="346" y="16"/>
                  </a:cubicBezTo>
                  <a:cubicBezTo>
                    <a:pt x="346" y="17"/>
                    <a:pt x="346" y="17"/>
                    <a:pt x="346" y="17"/>
                  </a:cubicBezTo>
                  <a:cubicBezTo>
                    <a:pt x="347" y="17"/>
                    <a:pt x="347" y="18"/>
                    <a:pt x="347" y="18"/>
                  </a:cubicBezTo>
                  <a:cubicBezTo>
                    <a:pt x="347" y="18"/>
                    <a:pt x="347" y="18"/>
                    <a:pt x="348" y="19"/>
                  </a:cubicBezTo>
                  <a:cubicBezTo>
                    <a:pt x="348" y="19"/>
                    <a:pt x="348" y="19"/>
                    <a:pt x="348" y="19"/>
                  </a:cubicBezTo>
                  <a:cubicBezTo>
                    <a:pt x="348" y="19"/>
                    <a:pt x="348" y="19"/>
                    <a:pt x="348" y="20"/>
                  </a:cubicBezTo>
                  <a:cubicBezTo>
                    <a:pt x="348" y="20"/>
                    <a:pt x="348" y="21"/>
                    <a:pt x="349" y="21"/>
                  </a:cubicBezTo>
                  <a:cubicBezTo>
                    <a:pt x="349" y="21"/>
                    <a:pt x="349" y="21"/>
                    <a:pt x="349" y="21"/>
                  </a:cubicBezTo>
                  <a:cubicBezTo>
                    <a:pt x="349" y="22"/>
                    <a:pt x="349" y="22"/>
                    <a:pt x="350" y="23"/>
                  </a:cubicBezTo>
                  <a:cubicBezTo>
                    <a:pt x="350" y="23"/>
                    <a:pt x="350" y="23"/>
                    <a:pt x="350" y="23"/>
                  </a:cubicBezTo>
                  <a:cubicBezTo>
                    <a:pt x="350" y="23"/>
                    <a:pt x="350" y="23"/>
                    <a:pt x="350" y="24"/>
                  </a:cubicBezTo>
                  <a:cubicBezTo>
                    <a:pt x="351" y="24"/>
                    <a:pt x="351" y="24"/>
                    <a:pt x="351" y="24"/>
                  </a:cubicBezTo>
                  <a:cubicBezTo>
                    <a:pt x="351" y="24"/>
                    <a:pt x="351" y="25"/>
                    <a:pt x="351" y="25"/>
                  </a:cubicBezTo>
                  <a:cubicBezTo>
                    <a:pt x="351" y="25"/>
                    <a:pt x="351" y="25"/>
                    <a:pt x="351" y="25"/>
                  </a:cubicBezTo>
                  <a:cubicBezTo>
                    <a:pt x="351" y="25"/>
                    <a:pt x="351" y="25"/>
                    <a:pt x="351" y="26"/>
                  </a:cubicBezTo>
                  <a:cubicBezTo>
                    <a:pt x="352" y="26"/>
                    <a:pt x="352" y="26"/>
                    <a:pt x="352" y="26"/>
                  </a:cubicBezTo>
                  <a:cubicBezTo>
                    <a:pt x="352" y="26"/>
                    <a:pt x="352" y="27"/>
                    <a:pt x="352" y="27"/>
                  </a:cubicBezTo>
                  <a:cubicBezTo>
                    <a:pt x="353" y="27"/>
                    <a:pt x="353" y="27"/>
                    <a:pt x="353" y="28"/>
                  </a:cubicBezTo>
                  <a:cubicBezTo>
                    <a:pt x="353" y="28"/>
                    <a:pt x="353" y="28"/>
                    <a:pt x="353" y="28"/>
                  </a:cubicBezTo>
                  <a:cubicBezTo>
                    <a:pt x="353" y="28"/>
                    <a:pt x="354" y="29"/>
                    <a:pt x="354" y="29"/>
                  </a:cubicBezTo>
                  <a:cubicBezTo>
                    <a:pt x="354" y="29"/>
                    <a:pt x="354" y="30"/>
                    <a:pt x="354" y="30"/>
                  </a:cubicBezTo>
                  <a:cubicBezTo>
                    <a:pt x="354" y="30"/>
                    <a:pt x="355" y="30"/>
                    <a:pt x="355" y="30"/>
                  </a:cubicBezTo>
                  <a:cubicBezTo>
                    <a:pt x="355" y="31"/>
                    <a:pt x="355" y="31"/>
                    <a:pt x="355" y="32"/>
                  </a:cubicBezTo>
                  <a:cubicBezTo>
                    <a:pt x="355" y="32"/>
                    <a:pt x="356" y="32"/>
                    <a:pt x="356" y="32"/>
                  </a:cubicBezTo>
                  <a:cubicBezTo>
                    <a:pt x="356" y="32"/>
                    <a:pt x="356" y="33"/>
                    <a:pt x="356" y="33"/>
                  </a:cubicBezTo>
                  <a:cubicBezTo>
                    <a:pt x="356" y="33"/>
                    <a:pt x="356" y="33"/>
                    <a:pt x="356" y="33"/>
                  </a:cubicBezTo>
                  <a:cubicBezTo>
                    <a:pt x="357" y="33"/>
                    <a:pt x="356" y="33"/>
                    <a:pt x="357" y="34"/>
                  </a:cubicBezTo>
                  <a:cubicBezTo>
                    <a:pt x="356" y="34"/>
                    <a:pt x="356" y="34"/>
                    <a:pt x="356" y="34"/>
                  </a:cubicBezTo>
                  <a:cubicBezTo>
                    <a:pt x="356" y="35"/>
                    <a:pt x="356" y="36"/>
                    <a:pt x="356" y="36"/>
                  </a:cubicBezTo>
                  <a:cubicBezTo>
                    <a:pt x="356" y="36"/>
                    <a:pt x="356" y="36"/>
                    <a:pt x="356" y="36"/>
                  </a:cubicBezTo>
                  <a:cubicBezTo>
                    <a:pt x="356" y="37"/>
                    <a:pt x="356" y="37"/>
                    <a:pt x="356" y="37"/>
                  </a:cubicBezTo>
                  <a:cubicBezTo>
                    <a:pt x="355" y="37"/>
                    <a:pt x="355" y="37"/>
                    <a:pt x="355" y="37"/>
                  </a:cubicBezTo>
                  <a:cubicBezTo>
                    <a:pt x="355" y="37"/>
                    <a:pt x="355" y="38"/>
                    <a:pt x="355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8"/>
                    <a:pt x="355" y="39"/>
                    <a:pt x="355" y="39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55" y="40"/>
                    <a:pt x="355" y="40"/>
                    <a:pt x="355" y="40"/>
                  </a:cubicBezTo>
                  <a:cubicBezTo>
                    <a:pt x="354" y="40"/>
                    <a:pt x="354" y="40"/>
                    <a:pt x="354" y="40"/>
                  </a:cubicBezTo>
                  <a:cubicBezTo>
                    <a:pt x="354" y="40"/>
                    <a:pt x="354" y="41"/>
                    <a:pt x="354" y="41"/>
                  </a:cubicBezTo>
                  <a:cubicBezTo>
                    <a:pt x="354" y="41"/>
                    <a:pt x="354" y="41"/>
                    <a:pt x="354" y="41"/>
                  </a:cubicBezTo>
                  <a:cubicBezTo>
                    <a:pt x="354" y="42"/>
                    <a:pt x="353" y="43"/>
                    <a:pt x="353" y="44"/>
                  </a:cubicBezTo>
                  <a:cubicBezTo>
                    <a:pt x="353" y="44"/>
                    <a:pt x="353" y="44"/>
                    <a:pt x="353" y="44"/>
                  </a:cubicBezTo>
                  <a:cubicBezTo>
                    <a:pt x="353" y="44"/>
                    <a:pt x="353" y="45"/>
                    <a:pt x="353" y="45"/>
                  </a:cubicBezTo>
                  <a:cubicBezTo>
                    <a:pt x="353" y="45"/>
                    <a:pt x="353" y="45"/>
                    <a:pt x="352" y="45"/>
                  </a:cubicBezTo>
                  <a:cubicBezTo>
                    <a:pt x="352" y="46"/>
                    <a:pt x="352" y="47"/>
                    <a:pt x="352" y="48"/>
                  </a:cubicBezTo>
                  <a:cubicBezTo>
                    <a:pt x="352" y="48"/>
                    <a:pt x="351" y="48"/>
                    <a:pt x="351" y="48"/>
                  </a:cubicBezTo>
                  <a:cubicBezTo>
                    <a:pt x="351" y="48"/>
                    <a:pt x="351" y="48"/>
                    <a:pt x="351" y="49"/>
                  </a:cubicBezTo>
                  <a:cubicBezTo>
                    <a:pt x="351" y="49"/>
                    <a:pt x="351" y="49"/>
                    <a:pt x="351" y="49"/>
                  </a:cubicBezTo>
                  <a:cubicBezTo>
                    <a:pt x="351" y="50"/>
                    <a:pt x="351" y="51"/>
                    <a:pt x="350" y="52"/>
                  </a:cubicBezTo>
                  <a:cubicBezTo>
                    <a:pt x="350" y="52"/>
                    <a:pt x="350" y="52"/>
                    <a:pt x="350" y="52"/>
                  </a:cubicBezTo>
                  <a:cubicBezTo>
                    <a:pt x="350" y="52"/>
                    <a:pt x="350" y="52"/>
                    <a:pt x="350" y="52"/>
                  </a:cubicBezTo>
                  <a:cubicBezTo>
                    <a:pt x="350" y="52"/>
                    <a:pt x="350" y="52"/>
                    <a:pt x="350" y="52"/>
                  </a:cubicBezTo>
                  <a:cubicBezTo>
                    <a:pt x="349" y="53"/>
                    <a:pt x="349" y="55"/>
                    <a:pt x="349" y="56"/>
                  </a:cubicBezTo>
                  <a:cubicBezTo>
                    <a:pt x="349" y="56"/>
                    <a:pt x="350" y="56"/>
                    <a:pt x="350" y="56"/>
                  </a:cubicBezTo>
                  <a:cubicBezTo>
                    <a:pt x="350" y="57"/>
                    <a:pt x="350" y="57"/>
                    <a:pt x="350" y="57"/>
                  </a:cubicBezTo>
                  <a:cubicBezTo>
                    <a:pt x="351" y="58"/>
                    <a:pt x="351" y="58"/>
                    <a:pt x="352" y="59"/>
                  </a:cubicBezTo>
                  <a:cubicBezTo>
                    <a:pt x="352" y="59"/>
                    <a:pt x="352" y="59"/>
                    <a:pt x="352" y="59"/>
                  </a:cubicBezTo>
                  <a:cubicBezTo>
                    <a:pt x="353" y="60"/>
                    <a:pt x="353" y="60"/>
                    <a:pt x="354" y="61"/>
                  </a:cubicBezTo>
                  <a:cubicBezTo>
                    <a:pt x="354" y="61"/>
                    <a:pt x="354" y="61"/>
                    <a:pt x="354" y="62"/>
                  </a:cubicBezTo>
                  <a:cubicBezTo>
                    <a:pt x="355" y="62"/>
                    <a:pt x="355" y="63"/>
                    <a:pt x="356" y="63"/>
                  </a:cubicBezTo>
                  <a:cubicBezTo>
                    <a:pt x="356" y="64"/>
                    <a:pt x="356" y="64"/>
                    <a:pt x="356" y="64"/>
                  </a:cubicBezTo>
                  <a:cubicBezTo>
                    <a:pt x="356" y="64"/>
                    <a:pt x="357" y="65"/>
                    <a:pt x="358" y="65"/>
                  </a:cubicBezTo>
                  <a:cubicBezTo>
                    <a:pt x="358" y="66"/>
                    <a:pt x="358" y="66"/>
                    <a:pt x="358" y="66"/>
                  </a:cubicBezTo>
                  <a:cubicBezTo>
                    <a:pt x="358" y="67"/>
                    <a:pt x="359" y="67"/>
                    <a:pt x="360" y="68"/>
                  </a:cubicBezTo>
                  <a:cubicBezTo>
                    <a:pt x="360" y="68"/>
                    <a:pt x="360" y="68"/>
                    <a:pt x="360" y="68"/>
                  </a:cubicBezTo>
                  <a:cubicBezTo>
                    <a:pt x="360" y="68"/>
                    <a:pt x="360" y="68"/>
                    <a:pt x="360" y="68"/>
                  </a:cubicBezTo>
                  <a:cubicBezTo>
                    <a:pt x="360" y="68"/>
                    <a:pt x="360" y="68"/>
                    <a:pt x="360" y="68"/>
                  </a:cubicBezTo>
                  <a:cubicBezTo>
                    <a:pt x="362" y="68"/>
                    <a:pt x="363" y="67"/>
                    <a:pt x="364" y="67"/>
                  </a:cubicBezTo>
                  <a:cubicBezTo>
                    <a:pt x="364" y="67"/>
                    <a:pt x="364" y="67"/>
                    <a:pt x="364" y="67"/>
                  </a:cubicBezTo>
                  <a:cubicBezTo>
                    <a:pt x="364" y="67"/>
                    <a:pt x="365" y="67"/>
                    <a:pt x="365" y="67"/>
                  </a:cubicBezTo>
                  <a:cubicBezTo>
                    <a:pt x="365" y="67"/>
                    <a:pt x="365" y="67"/>
                    <a:pt x="365" y="66"/>
                  </a:cubicBezTo>
                  <a:cubicBezTo>
                    <a:pt x="366" y="66"/>
                    <a:pt x="366" y="66"/>
                    <a:pt x="366" y="66"/>
                  </a:cubicBezTo>
                  <a:cubicBezTo>
                    <a:pt x="366" y="66"/>
                    <a:pt x="366" y="66"/>
                    <a:pt x="366" y="66"/>
                  </a:cubicBezTo>
                  <a:cubicBezTo>
                    <a:pt x="367" y="66"/>
                    <a:pt x="367" y="66"/>
                    <a:pt x="367" y="66"/>
                  </a:cubicBezTo>
                  <a:cubicBezTo>
                    <a:pt x="367" y="66"/>
                    <a:pt x="367" y="66"/>
                    <a:pt x="367" y="66"/>
                  </a:cubicBezTo>
                  <a:cubicBezTo>
                    <a:pt x="369" y="66"/>
                    <a:pt x="370" y="65"/>
                    <a:pt x="371" y="65"/>
                  </a:cubicBezTo>
                  <a:cubicBezTo>
                    <a:pt x="371" y="65"/>
                    <a:pt x="371" y="65"/>
                    <a:pt x="371" y="65"/>
                  </a:cubicBezTo>
                  <a:cubicBezTo>
                    <a:pt x="372" y="64"/>
                    <a:pt x="373" y="64"/>
                    <a:pt x="374" y="64"/>
                  </a:cubicBezTo>
                  <a:cubicBezTo>
                    <a:pt x="374" y="64"/>
                    <a:pt x="374" y="64"/>
                    <a:pt x="374" y="64"/>
                  </a:cubicBezTo>
                  <a:cubicBezTo>
                    <a:pt x="375" y="64"/>
                    <a:pt x="375" y="64"/>
                    <a:pt x="376" y="64"/>
                  </a:cubicBezTo>
                  <a:cubicBezTo>
                    <a:pt x="377" y="63"/>
                    <a:pt x="378" y="63"/>
                    <a:pt x="379" y="63"/>
                  </a:cubicBezTo>
                  <a:cubicBezTo>
                    <a:pt x="379" y="63"/>
                    <a:pt x="380" y="63"/>
                    <a:pt x="380" y="64"/>
                  </a:cubicBezTo>
                  <a:cubicBezTo>
                    <a:pt x="380" y="64"/>
                    <a:pt x="380" y="64"/>
                    <a:pt x="380" y="64"/>
                  </a:cubicBezTo>
                  <a:cubicBezTo>
                    <a:pt x="380" y="64"/>
                    <a:pt x="380" y="64"/>
                    <a:pt x="380" y="64"/>
                  </a:cubicBezTo>
                  <a:cubicBezTo>
                    <a:pt x="380" y="64"/>
                    <a:pt x="380" y="64"/>
                    <a:pt x="380" y="64"/>
                  </a:cubicBezTo>
                  <a:cubicBezTo>
                    <a:pt x="380" y="65"/>
                    <a:pt x="380" y="65"/>
                    <a:pt x="380" y="65"/>
                  </a:cubicBezTo>
                  <a:cubicBezTo>
                    <a:pt x="381" y="65"/>
                    <a:pt x="381" y="65"/>
                    <a:pt x="381" y="65"/>
                  </a:cubicBezTo>
                  <a:cubicBezTo>
                    <a:pt x="381" y="66"/>
                    <a:pt x="381" y="67"/>
                    <a:pt x="382" y="68"/>
                  </a:cubicBezTo>
                  <a:cubicBezTo>
                    <a:pt x="382" y="68"/>
                    <a:pt x="382" y="68"/>
                    <a:pt x="382" y="68"/>
                  </a:cubicBezTo>
                  <a:cubicBezTo>
                    <a:pt x="382" y="68"/>
                    <a:pt x="382" y="69"/>
                    <a:pt x="382" y="69"/>
                  </a:cubicBezTo>
                  <a:cubicBezTo>
                    <a:pt x="382" y="69"/>
                    <a:pt x="382" y="69"/>
                    <a:pt x="382" y="69"/>
                  </a:cubicBezTo>
                  <a:cubicBezTo>
                    <a:pt x="382" y="69"/>
                    <a:pt x="382" y="70"/>
                    <a:pt x="382" y="70"/>
                  </a:cubicBezTo>
                  <a:cubicBezTo>
                    <a:pt x="383" y="70"/>
                    <a:pt x="383" y="70"/>
                    <a:pt x="383" y="70"/>
                  </a:cubicBezTo>
                  <a:cubicBezTo>
                    <a:pt x="383" y="70"/>
                    <a:pt x="383" y="70"/>
                    <a:pt x="383" y="71"/>
                  </a:cubicBezTo>
                  <a:cubicBezTo>
                    <a:pt x="383" y="71"/>
                    <a:pt x="383" y="71"/>
                    <a:pt x="383" y="71"/>
                  </a:cubicBezTo>
                  <a:cubicBezTo>
                    <a:pt x="383" y="71"/>
                    <a:pt x="384" y="72"/>
                    <a:pt x="384" y="73"/>
                  </a:cubicBezTo>
                  <a:cubicBezTo>
                    <a:pt x="384" y="73"/>
                    <a:pt x="384" y="73"/>
                    <a:pt x="384" y="73"/>
                  </a:cubicBezTo>
                  <a:cubicBezTo>
                    <a:pt x="384" y="73"/>
                    <a:pt x="384" y="73"/>
                    <a:pt x="384" y="74"/>
                  </a:cubicBezTo>
                  <a:cubicBezTo>
                    <a:pt x="384" y="74"/>
                    <a:pt x="384" y="74"/>
                    <a:pt x="385" y="74"/>
                  </a:cubicBezTo>
                  <a:cubicBezTo>
                    <a:pt x="385" y="74"/>
                    <a:pt x="385" y="74"/>
                    <a:pt x="385" y="74"/>
                  </a:cubicBezTo>
                  <a:cubicBezTo>
                    <a:pt x="385" y="74"/>
                    <a:pt x="385" y="74"/>
                    <a:pt x="385" y="74"/>
                  </a:cubicBezTo>
                  <a:cubicBezTo>
                    <a:pt x="385" y="75"/>
                    <a:pt x="385" y="76"/>
                    <a:pt x="386" y="77"/>
                  </a:cubicBezTo>
                  <a:cubicBezTo>
                    <a:pt x="386" y="77"/>
                    <a:pt x="386" y="77"/>
                    <a:pt x="386" y="77"/>
                  </a:cubicBezTo>
                  <a:cubicBezTo>
                    <a:pt x="386" y="77"/>
                    <a:pt x="386" y="77"/>
                    <a:pt x="386" y="78"/>
                  </a:cubicBezTo>
                  <a:cubicBezTo>
                    <a:pt x="386" y="78"/>
                    <a:pt x="386" y="78"/>
                    <a:pt x="386" y="78"/>
                  </a:cubicBezTo>
                  <a:cubicBezTo>
                    <a:pt x="387" y="80"/>
                    <a:pt x="388" y="82"/>
                    <a:pt x="389" y="84"/>
                  </a:cubicBezTo>
                  <a:cubicBezTo>
                    <a:pt x="387" y="84"/>
                    <a:pt x="386" y="85"/>
                    <a:pt x="385" y="85"/>
                  </a:cubicBezTo>
                  <a:cubicBezTo>
                    <a:pt x="385" y="85"/>
                    <a:pt x="385" y="85"/>
                    <a:pt x="385" y="85"/>
                  </a:cubicBezTo>
                  <a:cubicBezTo>
                    <a:pt x="385" y="85"/>
                    <a:pt x="385" y="86"/>
                    <a:pt x="385" y="86"/>
                  </a:cubicBezTo>
                  <a:cubicBezTo>
                    <a:pt x="384" y="86"/>
                    <a:pt x="384" y="86"/>
                    <a:pt x="384" y="86"/>
                  </a:cubicBezTo>
                  <a:cubicBezTo>
                    <a:pt x="384" y="86"/>
                    <a:pt x="384" y="86"/>
                    <a:pt x="384" y="86"/>
                  </a:cubicBezTo>
                  <a:cubicBezTo>
                    <a:pt x="383" y="86"/>
                    <a:pt x="383" y="86"/>
                    <a:pt x="383" y="86"/>
                  </a:cubicBezTo>
                  <a:cubicBezTo>
                    <a:pt x="383" y="86"/>
                    <a:pt x="383" y="86"/>
                    <a:pt x="383" y="86"/>
                  </a:cubicBezTo>
                  <a:cubicBezTo>
                    <a:pt x="383" y="86"/>
                    <a:pt x="382" y="86"/>
                    <a:pt x="382" y="86"/>
                  </a:cubicBezTo>
                  <a:cubicBezTo>
                    <a:pt x="382" y="86"/>
                    <a:pt x="382" y="87"/>
                    <a:pt x="382" y="87"/>
                  </a:cubicBezTo>
                  <a:cubicBezTo>
                    <a:pt x="382" y="87"/>
                    <a:pt x="382" y="87"/>
                    <a:pt x="381" y="87"/>
                  </a:cubicBezTo>
                  <a:cubicBezTo>
                    <a:pt x="381" y="87"/>
                    <a:pt x="381" y="87"/>
                    <a:pt x="381" y="87"/>
                  </a:cubicBezTo>
                  <a:cubicBezTo>
                    <a:pt x="381" y="87"/>
                    <a:pt x="380" y="88"/>
                    <a:pt x="379" y="88"/>
                  </a:cubicBezTo>
                  <a:cubicBezTo>
                    <a:pt x="379" y="88"/>
                    <a:pt x="379" y="88"/>
                    <a:pt x="379" y="88"/>
                  </a:cubicBezTo>
                  <a:cubicBezTo>
                    <a:pt x="379" y="88"/>
                    <a:pt x="379" y="88"/>
                    <a:pt x="378" y="88"/>
                  </a:cubicBezTo>
                  <a:cubicBezTo>
                    <a:pt x="378" y="88"/>
                    <a:pt x="378" y="88"/>
                    <a:pt x="378" y="88"/>
                  </a:cubicBezTo>
                  <a:cubicBezTo>
                    <a:pt x="378" y="88"/>
                    <a:pt x="378" y="88"/>
                    <a:pt x="378" y="88"/>
                  </a:cubicBezTo>
                  <a:cubicBezTo>
                    <a:pt x="378" y="89"/>
                    <a:pt x="378" y="89"/>
                    <a:pt x="378" y="89"/>
                  </a:cubicBezTo>
                  <a:cubicBezTo>
                    <a:pt x="377" y="89"/>
                    <a:pt x="377" y="89"/>
                    <a:pt x="377" y="89"/>
                  </a:cubicBezTo>
                  <a:cubicBezTo>
                    <a:pt x="377" y="89"/>
                    <a:pt x="377" y="89"/>
                    <a:pt x="377" y="89"/>
                  </a:cubicBezTo>
                  <a:cubicBezTo>
                    <a:pt x="376" y="89"/>
                    <a:pt x="375" y="90"/>
                    <a:pt x="375" y="90"/>
                  </a:cubicBezTo>
                  <a:cubicBezTo>
                    <a:pt x="375" y="90"/>
                    <a:pt x="375" y="90"/>
                    <a:pt x="375" y="90"/>
                  </a:cubicBezTo>
                  <a:cubicBezTo>
                    <a:pt x="371" y="90"/>
                    <a:pt x="367" y="90"/>
                    <a:pt x="364" y="90"/>
                  </a:cubicBezTo>
                  <a:cubicBezTo>
                    <a:pt x="364" y="92"/>
                    <a:pt x="364" y="94"/>
                    <a:pt x="365" y="96"/>
                  </a:cubicBezTo>
                  <a:cubicBezTo>
                    <a:pt x="365" y="97"/>
                    <a:pt x="365" y="98"/>
                    <a:pt x="365" y="98"/>
                  </a:cubicBezTo>
                  <a:cubicBezTo>
                    <a:pt x="365" y="98"/>
                    <a:pt x="365" y="98"/>
                    <a:pt x="365" y="98"/>
                  </a:cubicBezTo>
                  <a:cubicBezTo>
                    <a:pt x="365" y="99"/>
                    <a:pt x="365" y="100"/>
                    <a:pt x="365" y="100"/>
                  </a:cubicBezTo>
                  <a:cubicBezTo>
                    <a:pt x="365" y="100"/>
                    <a:pt x="365" y="100"/>
                    <a:pt x="365" y="100"/>
                  </a:cubicBezTo>
                  <a:cubicBezTo>
                    <a:pt x="365" y="101"/>
                    <a:pt x="365" y="102"/>
                    <a:pt x="365" y="102"/>
                  </a:cubicBezTo>
                  <a:cubicBezTo>
                    <a:pt x="365" y="102"/>
                    <a:pt x="366" y="102"/>
                    <a:pt x="366" y="102"/>
                  </a:cubicBezTo>
                  <a:cubicBezTo>
                    <a:pt x="366" y="103"/>
                    <a:pt x="366" y="104"/>
                    <a:pt x="366" y="105"/>
                  </a:cubicBezTo>
                  <a:cubicBezTo>
                    <a:pt x="366" y="105"/>
                    <a:pt x="366" y="105"/>
                    <a:pt x="366" y="105"/>
                  </a:cubicBezTo>
                  <a:cubicBezTo>
                    <a:pt x="366" y="106"/>
                    <a:pt x="366" y="108"/>
                    <a:pt x="367" y="109"/>
                  </a:cubicBezTo>
                  <a:cubicBezTo>
                    <a:pt x="368" y="110"/>
                    <a:pt x="369" y="110"/>
                    <a:pt x="370" y="111"/>
                  </a:cubicBezTo>
                  <a:cubicBezTo>
                    <a:pt x="371" y="113"/>
                    <a:pt x="373" y="115"/>
                    <a:pt x="375" y="117"/>
                  </a:cubicBezTo>
                  <a:cubicBezTo>
                    <a:pt x="376" y="118"/>
                    <a:pt x="377" y="118"/>
                    <a:pt x="378" y="120"/>
                  </a:cubicBezTo>
                  <a:cubicBezTo>
                    <a:pt x="379" y="125"/>
                    <a:pt x="381" y="130"/>
                    <a:pt x="382" y="136"/>
                  </a:cubicBezTo>
                  <a:cubicBezTo>
                    <a:pt x="382" y="136"/>
                    <a:pt x="382" y="136"/>
                    <a:pt x="382" y="136"/>
                  </a:cubicBezTo>
                  <a:cubicBezTo>
                    <a:pt x="382" y="136"/>
                    <a:pt x="381" y="137"/>
                    <a:pt x="381" y="138"/>
                  </a:cubicBezTo>
                  <a:cubicBezTo>
                    <a:pt x="381" y="138"/>
                    <a:pt x="381" y="138"/>
                    <a:pt x="381" y="138"/>
                  </a:cubicBezTo>
                  <a:cubicBezTo>
                    <a:pt x="381" y="138"/>
                    <a:pt x="381" y="138"/>
                    <a:pt x="381" y="138"/>
                  </a:cubicBezTo>
                  <a:cubicBezTo>
                    <a:pt x="381" y="138"/>
                    <a:pt x="381" y="138"/>
                    <a:pt x="380" y="138"/>
                  </a:cubicBezTo>
                  <a:cubicBezTo>
                    <a:pt x="380" y="139"/>
                    <a:pt x="380" y="139"/>
                    <a:pt x="380" y="139"/>
                  </a:cubicBezTo>
                  <a:cubicBezTo>
                    <a:pt x="380" y="139"/>
                    <a:pt x="380" y="139"/>
                    <a:pt x="380" y="139"/>
                  </a:cubicBezTo>
                  <a:cubicBezTo>
                    <a:pt x="380" y="140"/>
                    <a:pt x="380" y="140"/>
                    <a:pt x="380" y="140"/>
                  </a:cubicBezTo>
                  <a:cubicBezTo>
                    <a:pt x="380" y="140"/>
                    <a:pt x="380" y="140"/>
                    <a:pt x="380" y="140"/>
                  </a:cubicBezTo>
                  <a:cubicBezTo>
                    <a:pt x="379" y="141"/>
                    <a:pt x="379" y="142"/>
                    <a:pt x="379" y="142"/>
                  </a:cubicBezTo>
                  <a:cubicBezTo>
                    <a:pt x="379" y="142"/>
                    <a:pt x="379" y="142"/>
                    <a:pt x="379" y="142"/>
                  </a:cubicBezTo>
                  <a:cubicBezTo>
                    <a:pt x="379" y="143"/>
                    <a:pt x="379" y="143"/>
                    <a:pt x="379" y="143"/>
                  </a:cubicBezTo>
                  <a:cubicBezTo>
                    <a:pt x="379" y="143"/>
                    <a:pt x="378" y="143"/>
                    <a:pt x="378" y="143"/>
                  </a:cubicBezTo>
                  <a:cubicBezTo>
                    <a:pt x="378" y="143"/>
                    <a:pt x="378" y="143"/>
                    <a:pt x="378" y="144"/>
                  </a:cubicBezTo>
                  <a:cubicBezTo>
                    <a:pt x="378" y="144"/>
                    <a:pt x="378" y="144"/>
                    <a:pt x="378" y="144"/>
                  </a:cubicBezTo>
                  <a:cubicBezTo>
                    <a:pt x="378" y="144"/>
                    <a:pt x="378" y="145"/>
                    <a:pt x="378" y="145"/>
                  </a:cubicBezTo>
                  <a:cubicBezTo>
                    <a:pt x="377" y="145"/>
                    <a:pt x="377" y="145"/>
                    <a:pt x="377" y="145"/>
                  </a:cubicBezTo>
                  <a:cubicBezTo>
                    <a:pt x="377" y="146"/>
                    <a:pt x="377" y="146"/>
                    <a:pt x="377" y="147"/>
                  </a:cubicBezTo>
                  <a:cubicBezTo>
                    <a:pt x="377" y="147"/>
                    <a:pt x="377" y="147"/>
                    <a:pt x="377" y="147"/>
                  </a:cubicBezTo>
                  <a:cubicBezTo>
                    <a:pt x="377" y="147"/>
                    <a:pt x="377" y="147"/>
                    <a:pt x="377" y="148"/>
                  </a:cubicBezTo>
                  <a:cubicBezTo>
                    <a:pt x="376" y="148"/>
                    <a:pt x="376" y="148"/>
                    <a:pt x="376" y="148"/>
                  </a:cubicBezTo>
                  <a:cubicBezTo>
                    <a:pt x="376" y="148"/>
                    <a:pt x="376" y="148"/>
                    <a:pt x="376" y="148"/>
                  </a:cubicBezTo>
                  <a:cubicBezTo>
                    <a:pt x="376" y="148"/>
                    <a:pt x="376" y="148"/>
                    <a:pt x="376" y="148"/>
                  </a:cubicBezTo>
                  <a:cubicBezTo>
                    <a:pt x="376" y="149"/>
                    <a:pt x="376" y="149"/>
                    <a:pt x="375" y="150"/>
                  </a:cubicBezTo>
                  <a:cubicBezTo>
                    <a:pt x="375" y="150"/>
                    <a:pt x="375" y="150"/>
                    <a:pt x="375" y="150"/>
                  </a:cubicBezTo>
                  <a:cubicBezTo>
                    <a:pt x="375" y="150"/>
                    <a:pt x="375" y="150"/>
                    <a:pt x="375" y="150"/>
                  </a:cubicBezTo>
                  <a:cubicBezTo>
                    <a:pt x="375" y="150"/>
                    <a:pt x="375" y="150"/>
                    <a:pt x="375" y="150"/>
                  </a:cubicBezTo>
                  <a:cubicBezTo>
                    <a:pt x="375" y="151"/>
                    <a:pt x="375" y="151"/>
                    <a:pt x="375" y="151"/>
                  </a:cubicBezTo>
                  <a:cubicBezTo>
                    <a:pt x="375" y="151"/>
                    <a:pt x="375" y="151"/>
                    <a:pt x="374" y="151"/>
                  </a:cubicBezTo>
                  <a:cubicBezTo>
                    <a:pt x="374" y="151"/>
                    <a:pt x="374" y="152"/>
                    <a:pt x="374" y="152"/>
                  </a:cubicBezTo>
                  <a:cubicBezTo>
                    <a:pt x="374" y="152"/>
                    <a:pt x="374" y="152"/>
                    <a:pt x="374" y="152"/>
                  </a:cubicBezTo>
                  <a:cubicBezTo>
                    <a:pt x="374" y="152"/>
                    <a:pt x="374" y="152"/>
                    <a:pt x="374" y="152"/>
                  </a:cubicBezTo>
                  <a:cubicBezTo>
                    <a:pt x="374" y="152"/>
                    <a:pt x="374" y="152"/>
                    <a:pt x="374" y="152"/>
                  </a:cubicBezTo>
                  <a:cubicBezTo>
                    <a:pt x="374" y="153"/>
                    <a:pt x="374" y="153"/>
                    <a:pt x="374" y="153"/>
                  </a:cubicBezTo>
                  <a:cubicBezTo>
                    <a:pt x="374" y="153"/>
                    <a:pt x="374" y="153"/>
                    <a:pt x="373" y="153"/>
                  </a:cubicBezTo>
                  <a:cubicBezTo>
                    <a:pt x="373" y="154"/>
                    <a:pt x="373" y="155"/>
                    <a:pt x="373" y="156"/>
                  </a:cubicBezTo>
                  <a:cubicBezTo>
                    <a:pt x="372" y="156"/>
                    <a:pt x="372" y="156"/>
                    <a:pt x="372" y="156"/>
                  </a:cubicBezTo>
                  <a:cubicBezTo>
                    <a:pt x="372" y="156"/>
                    <a:pt x="371" y="156"/>
                    <a:pt x="371" y="157"/>
                  </a:cubicBezTo>
                  <a:cubicBezTo>
                    <a:pt x="371" y="157"/>
                    <a:pt x="371" y="157"/>
                    <a:pt x="371" y="157"/>
                  </a:cubicBezTo>
                  <a:cubicBezTo>
                    <a:pt x="371" y="157"/>
                    <a:pt x="371" y="157"/>
                    <a:pt x="371" y="157"/>
                  </a:cubicBezTo>
                  <a:cubicBezTo>
                    <a:pt x="370" y="157"/>
                    <a:pt x="370" y="157"/>
                    <a:pt x="370" y="157"/>
                  </a:cubicBezTo>
                  <a:cubicBezTo>
                    <a:pt x="370" y="157"/>
                    <a:pt x="370" y="157"/>
                    <a:pt x="370" y="157"/>
                  </a:cubicBezTo>
                  <a:cubicBezTo>
                    <a:pt x="370" y="157"/>
                    <a:pt x="369" y="157"/>
                    <a:pt x="369" y="157"/>
                  </a:cubicBezTo>
                  <a:cubicBezTo>
                    <a:pt x="369" y="158"/>
                    <a:pt x="369" y="158"/>
                    <a:pt x="369" y="158"/>
                  </a:cubicBezTo>
                  <a:cubicBezTo>
                    <a:pt x="368" y="158"/>
                    <a:pt x="367" y="159"/>
                    <a:pt x="367" y="159"/>
                  </a:cubicBezTo>
                  <a:cubicBezTo>
                    <a:pt x="367" y="159"/>
                    <a:pt x="367" y="159"/>
                    <a:pt x="366" y="159"/>
                  </a:cubicBezTo>
                  <a:cubicBezTo>
                    <a:pt x="366" y="160"/>
                    <a:pt x="365" y="160"/>
                    <a:pt x="364" y="160"/>
                  </a:cubicBezTo>
                  <a:cubicBezTo>
                    <a:pt x="364" y="160"/>
                    <a:pt x="364" y="161"/>
                    <a:pt x="364" y="161"/>
                  </a:cubicBezTo>
                  <a:cubicBezTo>
                    <a:pt x="356" y="161"/>
                    <a:pt x="348" y="161"/>
                    <a:pt x="340" y="161"/>
                  </a:cubicBezTo>
                  <a:cubicBezTo>
                    <a:pt x="340" y="162"/>
                    <a:pt x="339" y="163"/>
                    <a:pt x="339" y="163"/>
                  </a:cubicBezTo>
                  <a:cubicBezTo>
                    <a:pt x="339" y="164"/>
                    <a:pt x="339" y="164"/>
                    <a:pt x="339" y="164"/>
                  </a:cubicBezTo>
                  <a:cubicBezTo>
                    <a:pt x="339" y="164"/>
                    <a:pt x="339" y="164"/>
                    <a:pt x="338" y="164"/>
                  </a:cubicBezTo>
                  <a:cubicBezTo>
                    <a:pt x="338" y="165"/>
                    <a:pt x="338" y="166"/>
                    <a:pt x="337" y="167"/>
                  </a:cubicBezTo>
                  <a:cubicBezTo>
                    <a:pt x="337" y="167"/>
                    <a:pt x="337" y="167"/>
                    <a:pt x="337" y="167"/>
                  </a:cubicBezTo>
                  <a:cubicBezTo>
                    <a:pt x="337" y="167"/>
                    <a:pt x="337" y="168"/>
                    <a:pt x="337" y="168"/>
                  </a:cubicBezTo>
                  <a:cubicBezTo>
                    <a:pt x="337" y="168"/>
                    <a:pt x="337" y="168"/>
                    <a:pt x="337" y="168"/>
                  </a:cubicBezTo>
                  <a:cubicBezTo>
                    <a:pt x="337" y="168"/>
                    <a:pt x="337" y="169"/>
                    <a:pt x="337" y="169"/>
                  </a:cubicBezTo>
                  <a:cubicBezTo>
                    <a:pt x="337" y="169"/>
                    <a:pt x="336" y="169"/>
                    <a:pt x="336" y="169"/>
                  </a:cubicBezTo>
                  <a:cubicBezTo>
                    <a:pt x="336" y="169"/>
                    <a:pt x="336" y="169"/>
                    <a:pt x="336" y="170"/>
                  </a:cubicBezTo>
                  <a:cubicBezTo>
                    <a:pt x="336" y="170"/>
                    <a:pt x="336" y="170"/>
                    <a:pt x="336" y="170"/>
                  </a:cubicBezTo>
                  <a:cubicBezTo>
                    <a:pt x="336" y="170"/>
                    <a:pt x="336" y="171"/>
                    <a:pt x="335" y="172"/>
                  </a:cubicBezTo>
                  <a:cubicBezTo>
                    <a:pt x="335" y="172"/>
                    <a:pt x="335" y="172"/>
                    <a:pt x="335" y="172"/>
                  </a:cubicBezTo>
                  <a:cubicBezTo>
                    <a:pt x="335" y="172"/>
                    <a:pt x="335" y="172"/>
                    <a:pt x="335" y="173"/>
                  </a:cubicBezTo>
                  <a:cubicBezTo>
                    <a:pt x="335" y="173"/>
                    <a:pt x="335" y="173"/>
                    <a:pt x="335" y="173"/>
                  </a:cubicBezTo>
                  <a:cubicBezTo>
                    <a:pt x="335" y="173"/>
                    <a:pt x="335" y="173"/>
                    <a:pt x="335" y="173"/>
                  </a:cubicBezTo>
                  <a:cubicBezTo>
                    <a:pt x="334" y="173"/>
                    <a:pt x="334" y="173"/>
                    <a:pt x="334" y="173"/>
                  </a:cubicBezTo>
                  <a:cubicBezTo>
                    <a:pt x="334" y="174"/>
                    <a:pt x="334" y="175"/>
                    <a:pt x="334" y="176"/>
                  </a:cubicBezTo>
                  <a:cubicBezTo>
                    <a:pt x="333" y="176"/>
                    <a:pt x="333" y="176"/>
                    <a:pt x="333" y="176"/>
                  </a:cubicBezTo>
                  <a:cubicBezTo>
                    <a:pt x="333" y="176"/>
                    <a:pt x="333" y="176"/>
                    <a:pt x="333" y="177"/>
                  </a:cubicBezTo>
                  <a:cubicBezTo>
                    <a:pt x="333" y="177"/>
                    <a:pt x="333" y="177"/>
                    <a:pt x="333" y="177"/>
                  </a:cubicBezTo>
                  <a:cubicBezTo>
                    <a:pt x="333" y="177"/>
                    <a:pt x="333" y="177"/>
                    <a:pt x="333" y="177"/>
                  </a:cubicBezTo>
                  <a:cubicBezTo>
                    <a:pt x="333" y="177"/>
                    <a:pt x="333" y="177"/>
                    <a:pt x="332" y="177"/>
                  </a:cubicBezTo>
                  <a:cubicBezTo>
                    <a:pt x="332" y="178"/>
                    <a:pt x="332" y="179"/>
                    <a:pt x="332" y="179"/>
                  </a:cubicBezTo>
                  <a:cubicBezTo>
                    <a:pt x="332" y="179"/>
                    <a:pt x="332" y="179"/>
                    <a:pt x="331" y="179"/>
                  </a:cubicBezTo>
                  <a:cubicBezTo>
                    <a:pt x="331" y="180"/>
                    <a:pt x="331" y="180"/>
                    <a:pt x="331" y="180"/>
                  </a:cubicBezTo>
                  <a:cubicBezTo>
                    <a:pt x="331" y="180"/>
                    <a:pt x="331" y="180"/>
                    <a:pt x="331" y="180"/>
                  </a:cubicBezTo>
                  <a:cubicBezTo>
                    <a:pt x="331" y="181"/>
                    <a:pt x="331" y="181"/>
                    <a:pt x="331" y="181"/>
                  </a:cubicBezTo>
                  <a:cubicBezTo>
                    <a:pt x="331" y="181"/>
                    <a:pt x="331" y="181"/>
                    <a:pt x="331" y="181"/>
                  </a:cubicBezTo>
                  <a:cubicBezTo>
                    <a:pt x="330" y="184"/>
                    <a:pt x="328" y="187"/>
                    <a:pt x="327" y="190"/>
                  </a:cubicBezTo>
                  <a:cubicBezTo>
                    <a:pt x="326" y="190"/>
                    <a:pt x="325" y="190"/>
                    <a:pt x="324" y="191"/>
                  </a:cubicBezTo>
                  <a:cubicBezTo>
                    <a:pt x="324" y="191"/>
                    <a:pt x="324" y="191"/>
                    <a:pt x="323" y="191"/>
                  </a:cubicBezTo>
                  <a:cubicBezTo>
                    <a:pt x="323" y="191"/>
                    <a:pt x="323" y="191"/>
                    <a:pt x="323" y="191"/>
                  </a:cubicBezTo>
                  <a:cubicBezTo>
                    <a:pt x="323" y="191"/>
                    <a:pt x="323" y="191"/>
                    <a:pt x="323" y="191"/>
                  </a:cubicBezTo>
                  <a:cubicBezTo>
                    <a:pt x="323" y="191"/>
                    <a:pt x="323" y="191"/>
                    <a:pt x="323" y="191"/>
                  </a:cubicBezTo>
                  <a:cubicBezTo>
                    <a:pt x="322" y="191"/>
                    <a:pt x="321" y="192"/>
                    <a:pt x="321" y="192"/>
                  </a:cubicBezTo>
                  <a:cubicBezTo>
                    <a:pt x="321" y="192"/>
                    <a:pt x="321" y="192"/>
                    <a:pt x="321" y="192"/>
                  </a:cubicBezTo>
                  <a:cubicBezTo>
                    <a:pt x="320" y="192"/>
                    <a:pt x="320" y="192"/>
                    <a:pt x="320" y="192"/>
                  </a:cubicBezTo>
                  <a:cubicBezTo>
                    <a:pt x="320" y="192"/>
                    <a:pt x="320" y="192"/>
                    <a:pt x="320" y="192"/>
                  </a:cubicBezTo>
                  <a:cubicBezTo>
                    <a:pt x="319" y="192"/>
                    <a:pt x="318" y="193"/>
                    <a:pt x="318" y="193"/>
                  </a:cubicBezTo>
                  <a:cubicBezTo>
                    <a:pt x="318" y="193"/>
                    <a:pt x="318" y="193"/>
                    <a:pt x="318" y="193"/>
                  </a:cubicBezTo>
                  <a:cubicBezTo>
                    <a:pt x="318" y="193"/>
                    <a:pt x="317" y="193"/>
                    <a:pt x="317" y="193"/>
                  </a:cubicBezTo>
                  <a:cubicBezTo>
                    <a:pt x="317" y="193"/>
                    <a:pt x="317" y="193"/>
                    <a:pt x="317" y="193"/>
                  </a:cubicBezTo>
                  <a:cubicBezTo>
                    <a:pt x="316" y="194"/>
                    <a:pt x="316" y="194"/>
                    <a:pt x="315" y="194"/>
                  </a:cubicBezTo>
                  <a:cubicBezTo>
                    <a:pt x="315" y="194"/>
                    <a:pt x="315" y="194"/>
                    <a:pt x="315" y="194"/>
                  </a:cubicBezTo>
                  <a:cubicBezTo>
                    <a:pt x="315" y="194"/>
                    <a:pt x="315" y="194"/>
                    <a:pt x="314" y="194"/>
                  </a:cubicBezTo>
                  <a:cubicBezTo>
                    <a:pt x="314" y="194"/>
                    <a:pt x="314" y="194"/>
                    <a:pt x="314" y="194"/>
                  </a:cubicBezTo>
                  <a:cubicBezTo>
                    <a:pt x="314" y="195"/>
                    <a:pt x="313" y="195"/>
                    <a:pt x="312" y="195"/>
                  </a:cubicBezTo>
                  <a:cubicBezTo>
                    <a:pt x="312" y="195"/>
                    <a:pt x="312" y="195"/>
                    <a:pt x="312" y="195"/>
                  </a:cubicBezTo>
                  <a:cubicBezTo>
                    <a:pt x="312" y="195"/>
                    <a:pt x="312" y="195"/>
                    <a:pt x="311" y="195"/>
                  </a:cubicBezTo>
                  <a:cubicBezTo>
                    <a:pt x="311" y="195"/>
                    <a:pt x="311" y="195"/>
                    <a:pt x="311" y="195"/>
                  </a:cubicBezTo>
                  <a:cubicBezTo>
                    <a:pt x="311" y="196"/>
                    <a:pt x="310" y="196"/>
                    <a:pt x="309" y="196"/>
                  </a:cubicBezTo>
                  <a:cubicBezTo>
                    <a:pt x="309" y="196"/>
                    <a:pt x="309" y="196"/>
                    <a:pt x="309" y="196"/>
                  </a:cubicBezTo>
                  <a:cubicBezTo>
                    <a:pt x="309" y="196"/>
                    <a:pt x="309" y="196"/>
                    <a:pt x="309" y="196"/>
                  </a:cubicBezTo>
                  <a:cubicBezTo>
                    <a:pt x="309" y="196"/>
                    <a:pt x="309" y="196"/>
                    <a:pt x="309" y="197"/>
                  </a:cubicBezTo>
                  <a:cubicBezTo>
                    <a:pt x="308" y="197"/>
                    <a:pt x="307" y="197"/>
                    <a:pt x="307" y="197"/>
                  </a:cubicBezTo>
                  <a:cubicBezTo>
                    <a:pt x="307" y="197"/>
                    <a:pt x="307" y="197"/>
                    <a:pt x="307" y="197"/>
                  </a:cubicBezTo>
                  <a:cubicBezTo>
                    <a:pt x="306" y="197"/>
                    <a:pt x="306" y="197"/>
                    <a:pt x="306" y="197"/>
                  </a:cubicBezTo>
                  <a:cubicBezTo>
                    <a:pt x="306" y="197"/>
                    <a:pt x="306" y="197"/>
                    <a:pt x="306" y="197"/>
                  </a:cubicBezTo>
                  <a:cubicBezTo>
                    <a:pt x="306" y="197"/>
                    <a:pt x="305" y="197"/>
                    <a:pt x="304" y="197"/>
                  </a:cubicBezTo>
                  <a:cubicBezTo>
                    <a:pt x="304" y="197"/>
                    <a:pt x="304" y="197"/>
                    <a:pt x="304" y="197"/>
                  </a:cubicBezTo>
                  <a:cubicBezTo>
                    <a:pt x="303" y="197"/>
                    <a:pt x="303" y="197"/>
                    <a:pt x="302" y="197"/>
                  </a:cubicBezTo>
                  <a:cubicBezTo>
                    <a:pt x="302" y="196"/>
                    <a:pt x="302" y="196"/>
                    <a:pt x="302" y="196"/>
                  </a:cubicBezTo>
                  <a:cubicBezTo>
                    <a:pt x="301" y="196"/>
                    <a:pt x="301" y="196"/>
                    <a:pt x="300" y="196"/>
                  </a:cubicBezTo>
                  <a:cubicBezTo>
                    <a:pt x="300" y="196"/>
                    <a:pt x="300" y="196"/>
                    <a:pt x="300" y="196"/>
                  </a:cubicBezTo>
                  <a:cubicBezTo>
                    <a:pt x="300" y="196"/>
                    <a:pt x="299" y="196"/>
                    <a:pt x="298" y="196"/>
                  </a:cubicBezTo>
                  <a:cubicBezTo>
                    <a:pt x="298" y="196"/>
                    <a:pt x="298" y="196"/>
                    <a:pt x="298" y="195"/>
                  </a:cubicBezTo>
                  <a:cubicBezTo>
                    <a:pt x="298" y="195"/>
                    <a:pt x="297" y="195"/>
                    <a:pt x="296" y="195"/>
                  </a:cubicBezTo>
                  <a:cubicBezTo>
                    <a:pt x="296" y="195"/>
                    <a:pt x="296" y="195"/>
                    <a:pt x="296" y="195"/>
                  </a:cubicBezTo>
                  <a:cubicBezTo>
                    <a:pt x="295" y="195"/>
                    <a:pt x="295" y="195"/>
                    <a:pt x="294" y="195"/>
                  </a:cubicBezTo>
                  <a:cubicBezTo>
                    <a:pt x="294" y="195"/>
                    <a:pt x="294" y="195"/>
                    <a:pt x="294" y="195"/>
                  </a:cubicBezTo>
                  <a:cubicBezTo>
                    <a:pt x="293" y="195"/>
                    <a:pt x="293" y="195"/>
                    <a:pt x="292" y="195"/>
                  </a:cubicBezTo>
                  <a:cubicBezTo>
                    <a:pt x="292" y="195"/>
                    <a:pt x="292" y="195"/>
                    <a:pt x="292" y="194"/>
                  </a:cubicBezTo>
                  <a:cubicBezTo>
                    <a:pt x="291" y="194"/>
                    <a:pt x="291" y="194"/>
                    <a:pt x="290" y="194"/>
                  </a:cubicBezTo>
                  <a:cubicBezTo>
                    <a:pt x="290" y="194"/>
                    <a:pt x="290" y="194"/>
                    <a:pt x="290" y="194"/>
                  </a:cubicBezTo>
                  <a:cubicBezTo>
                    <a:pt x="289" y="194"/>
                    <a:pt x="289" y="194"/>
                    <a:pt x="288" y="194"/>
                  </a:cubicBezTo>
                  <a:cubicBezTo>
                    <a:pt x="286" y="194"/>
                    <a:pt x="284" y="193"/>
                    <a:pt x="282" y="193"/>
                  </a:cubicBezTo>
                  <a:cubicBezTo>
                    <a:pt x="280" y="193"/>
                    <a:pt x="279" y="193"/>
                    <a:pt x="278" y="193"/>
                  </a:cubicBezTo>
                  <a:cubicBezTo>
                    <a:pt x="278" y="193"/>
                    <a:pt x="278" y="192"/>
                    <a:pt x="278" y="192"/>
                  </a:cubicBezTo>
                  <a:cubicBezTo>
                    <a:pt x="276" y="192"/>
                    <a:pt x="275" y="192"/>
                    <a:pt x="273" y="192"/>
                  </a:cubicBezTo>
                  <a:cubicBezTo>
                    <a:pt x="273" y="192"/>
                    <a:pt x="273" y="192"/>
                    <a:pt x="272" y="192"/>
                  </a:cubicBezTo>
                  <a:cubicBezTo>
                    <a:pt x="271" y="192"/>
                    <a:pt x="270" y="192"/>
                    <a:pt x="268" y="192"/>
                  </a:cubicBezTo>
                  <a:cubicBezTo>
                    <a:pt x="268" y="192"/>
                    <a:pt x="268" y="192"/>
                    <a:pt x="268" y="192"/>
                  </a:cubicBezTo>
                  <a:cubicBezTo>
                    <a:pt x="265" y="192"/>
                    <a:pt x="262" y="191"/>
                    <a:pt x="259" y="191"/>
                  </a:cubicBezTo>
                  <a:cubicBezTo>
                    <a:pt x="259" y="190"/>
                    <a:pt x="258" y="189"/>
                    <a:pt x="257" y="188"/>
                  </a:cubicBezTo>
                  <a:cubicBezTo>
                    <a:pt x="257" y="188"/>
                    <a:pt x="257" y="188"/>
                    <a:pt x="257" y="188"/>
                  </a:cubicBezTo>
                  <a:cubicBezTo>
                    <a:pt x="257" y="188"/>
                    <a:pt x="257" y="188"/>
                    <a:pt x="257" y="187"/>
                  </a:cubicBezTo>
                  <a:cubicBezTo>
                    <a:pt x="256" y="187"/>
                    <a:pt x="255" y="186"/>
                    <a:pt x="254" y="186"/>
                  </a:cubicBezTo>
                  <a:cubicBezTo>
                    <a:pt x="254" y="185"/>
                    <a:pt x="254" y="185"/>
                    <a:pt x="254" y="185"/>
                  </a:cubicBezTo>
                  <a:cubicBezTo>
                    <a:pt x="254" y="184"/>
                    <a:pt x="253" y="184"/>
                    <a:pt x="252" y="183"/>
                  </a:cubicBezTo>
                  <a:cubicBezTo>
                    <a:pt x="252" y="183"/>
                    <a:pt x="252" y="183"/>
                    <a:pt x="252" y="183"/>
                  </a:cubicBezTo>
                  <a:cubicBezTo>
                    <a:pt x="252" y="182"/>
                    <a:pt x="251" y="181"/>
                    <a:pt x="250" y="181"/>
                  </a:cubicBezTo>
                  <a:cubicBezTo>
                    <a:pt x="250" y="181"/>
                    <a:pt x="250" y="180"/>
                    <a:pt x="250" y="180"/>
                  </a:cubicBezTo>
                  <a:cubicBezTo>
                    <a:pt x="250" y="180"/>
                    <a:pt x="249" y="179"/>
                    <a:pt x="248" y="178"/>
                  </a:cubicBezTo>
                  <a:cubicBezTo>
                    <a:pt x="248" y="178"/>
                    <a:pt x="248" y="178"/>
                    <a:pt x="248" y="178"/>
                  </a:cubicBezTo>
                  <a:cubicBezTo>
                    <a:pt x="247" y="177"/>
                    <a:pt x="247" y="176"/>
                    <a:pt x="246" y="176"/>
                  </a:cubicBezTo>
                  <a:cubicBezTo>
                    <a:pt x="246" y="176"/>
                    <a:pt x="246" y="175"/>
                    <a:pt x="246" y="175"/>
                  </a:cubicBezTo>
                  <a:cubicBezTo>
                    <a:pt x="246" y="175"/>
                    <a:pt x="246" y="175"/>
                    <a:pt x="246" y="175"/>
                  </a:cubicBezTo>
                  <a:cubicBezTo>
                    <a:pt x="245" y="175"/>
                    <a:pt x="245" y="174"/>
                    <a:pt x="244" y="173"/>
                  </a:cubicBezTo>
                  <a:cubicBezTo>
                    <a:pt x="243" y="173"/>
                    <a:pt x="243" y="173"/>
                    <a:pt x="242" y="173"/>
                  </a:cubicBezTo>
                  <a:cubicBezTo>
                    <a:pt x="241" y="174"/>
                    <a:pt x="239" y="173"/>
                    <a:pt x="238" y="174"/>
                  </a:cubicBezTo>
                  <a:cubicBezTo>
                    <a:pt x="234" y="175"/>
                    <a:pt x="230" y="175"/>
                    <a:pt x="227" y="176"/>
                  </a:cubicBezTo>
                  <a:cubicBezTo>
                    <a:pt x="225" y="176"/>
                    <a:pt x="224" y="176"/>
                    <a:pt x="222" y="176"/>
                  </a:cubicBezTo>
                  <a:cubicBezTo>
                    <a:pt x="212" y="182"/>
                    <a:pt x="202" y="188"/>
                    <a:pt x="192" y="194"/>
                  </a:cubicBezTo>
                  <a:cubicBezTo>
                    <a:pt x="192" y="194"/>
                    <a:pt x="192" y="195"/>
                    <a:pt x="192" y="195"/>
                  </a:cubicBezTo>
                  <a:cubicBezTo>
                    <a:pt x="192" y="195"/>
                    <a:pt x="192" y="195"/>
                    <a:pt x="192" y="195"/>
                  </a:cubicBezTo>
                  <a:cubicBezTo>
                    <a:pt x="191" y="196"/>
                    <a:pt x="191" y="196"/>
                    <a:pt x="191" y="197"/>
                  </a:cubicBezTo>
                  <a:cubicBezTo>
                    <a:pt x="191" y="197"/>
                    <a:pt x="191" y="197"/>
                    <a:pt x="190" y="197"/>
                  </a:cubicBezTo>
                  <a:cubicBezTo>
                    <a:pt x="190" y="197"/>
                    <a:pt x="190" y="197"/>
                    <a:pt x="190" y="198"/>
                  </a:cubicBezTo>
                  <a:cubicBezTo>
                    <a:pt x="190" y="198"/>
                    <a:pt x="190" y="198"/>
                    <a:pt x="190" y="198"/>
                  </a:cubicBezTo>
                  <a:cubicBezTo>
                    <a:pt x="190" y="198"/>
                    <a:pt x="190" y="199"/>
                    <a:pt x="189" y="199"/>
                  </a:cubicBezTo>
                  <a:cubicBezTo>
                    <a:pt x="189" y="199"/>
                    <a:pt x="189" y="200"/>
                    <a:pt x="189" y="200"/>
                  </a:cubicBezTo>
                  <a:cubicBezTo>
                    <a:pt x="189" y="200"/>
                    <a:pt x="189" y="200"/>
                    <a:pt x="189" y="200"/>
                  </a:cubicBezTo>
                  <a:cubicBezTo>
                    <a:pt x="189" y="200"/>
                    <a:pt x="188" y="201"/>
                    <a:pt x="188" y="201"/>
                  </a:cubicBezTo>
                  <a:cubicBezTo>
                    <a:pt x="188" y="201"/>
                    <a:pt x="188" y="202"/>
                    <a:pt x="188" y="202"/>
                  </a:cubicBezTo>
                  <a:cubicBezTo>
                    <a:pt x="188" y="202"/>
                    <a:pt x="187" y="202"/>
                    <a:pt x="187" y="202"/>
                  </a:cubicBezTo>
                  <a:cubicBezTo>
                    <a:pt x="187" y="202"/>
                    <a:pt x="187" y="203"/>
                    <a:pt x="187" y="203"/>
                  </a:cubicBezTo>
                  <a:cubicBezTo>
                    <a:pt x="187" y="203"/>
                    <a:pt x="187" y="203"/>
                    <a:pt x="186" y="204"/>
                  </a:cubicBezTo>
                  <a:cubicBezTo>
                    <a:pt x="186" y="204"/>
                    <a:pt x="186" y="204"/>
                    <a:pt x="186" y="205"/>
                  </a:cubicBezTo>
                  <a:cubicBezTo>
                    <a:pt x="186" y="205"/>
                    <a:pt x="186" y="205"/>
                    <a:pt x="186" y="205"/>
                  </a:cubicBezTo>
                  <a:cubicBezTo>
                    <a:pt x="185" y="205"/>
                    <a:pt x="185" y="206"/>
                    <a:pt x="185" y="206"/>
                  </a:cubicBezTo>
                  <a:cubicBezTo>
                    <a:pt x="185" y="206"/>
                    <a:pt x="185" y="206"/>
                    <a:pt x="185" y="206"/>
                  </a:cubicBezTo>
                  <a:cubicBezTo>
                    <a:pt x="184" y="207"/>
                    <a:pt x="184" y="207"/>
                    <a:pt x="184" y="208"/>
                  </a:cubicBezTo>
                  <a:cubicBezTo>
                    <a:pt x="184" y="208"/>
                    <a:pt x="184" y="208"/>
                    <a:pt x="183" y="208"/>
                  </a:cubicBezTo>
                  <a:cubicBezTo>
                    <a:pt x="183" y="208"/>
                    <a:pt x="183" y="209"/>
                    <a:pt x="183" y="209"/>
                  </a:cubicBezTo>
                  <a:cubicBezTo>
                    <a:pt x="183" y="209"/>
                    <a:pt x="183" y="209"/>
                    <a:pt x="183" y="209"/>
                  </a:cubicBezTo>
                  <a:cubicBezTo>
                    <a:pt x="183" y="210"/>
                    <a:pt x="183" y="210"/>
                    <a:pt x="182" y="211"/>
                  </a:cubicBezTo>
                  <a:cubicBezTo>
                    <a:pt x="182" y="211"/>
                    <a:pt x="182" y="211"/>
                    <a:pt x="182" y="211"/>
                  </a:cubicBezTo>
                  <a:cubicBezTo>
                    <a:pt x="182" y="211"/>
                    <a:pt x="182" y="211"/>
                    <a:pt x="182" y="212"/>
                  </a:cubicBezTo>
                  <a:cubicBezTo>
                    <a:pt x="182" y="212"/>
                    <a:pt x="181" y="212"/>
                    <a:pt x="181" y="212"/>
                  </a:cubicBezTo>
                  <a:cubicBezTo>
                    <a:pt x="181" y="212"/>
                    <a:pt x="181" y="213"/>
                    <a:pt x="181" y="213"/>
                  </a:cubicBezTo>
                  <a:cubicBezTo>
                    <a:pt x="180" y="213"/>
                    <a:pt x="180" y="214"/>
                    <a:pt x="180" y="214"/>
                  </a:cubicBezTo>
                  <a:cubicBezTo>
                    <a:pt x="180" y="214"/>
                    <a:pt x="180" y="214"/>
                    <a:pt x="180" y="214"/>
                  </a:cubicBezTo>
                  <a:cubicBezTo>
                    <a:pt x="180" y="214"/>
                    <a:pt x="180" y="215"/>
                    <a:pt x="179" y="215"/>
                  </a:cubicBezTo>
                  <a:cubicBezTo>
                    <a:pt x="179" y="215"/>
                    <a:pt x="179" y="216"/>
                    <a:pt x="179" y="216"/>
                  </a:cubicBezTo>
                  <a:cubicBezTo>
                    <a:pt x="179" y="216"/>
                    <a:pt x="178" y="216"/>
                    <a:pt x="178" y="216"/>
                  </a:cubicBezTo>
                  <a:cubicBezTo>
                    <a:pt x="178" y="217"/>
                    <a:pt x="178" y="217"/>
                    <a:pt x="178" y="217"/>
                  </a:cubicBezTo>
                  <a:cubicBezTo>
                    <a:pt x="178" y="217"/>
                    <a:pt x="178" y="217"/>
                    <a:pt x="178" y="218"/>
                  </a:cubicBezTo>
                  <a:cubicBezTo>
                    <a:pt x="177" y="218"/>
                    <a:pt x="177" y="218"/>
                    <a:pt x="177" y="219"/>
                  </a:cubicBezTo>
                  <a:cubicBezTo>
                    <a:pt x="177" y="219"/>
                    <a:pt x="177" y="219"/>
                    <a:pt x="176" y="219"/>
                  </a:cubicBezTo>
                  <a:cubicBezTo>
                    <a:pt x="176" y="220"/>
                    <a:pt x="176" y="221"/>
                    <a:pt x="175" y="222"/>
                  </a:cubicBezTo>
                  <a:cubicBezTo>
                    <a:pt x="176" y="222"/>
                    <a:pt x="176" y="222"/>
                    <a:pt x="176" y="222"/>
                  </a:cubicBezTo>
                  <a:cubicBezTo>
                    <a:pt x="176" y="224"/>
                    <a:pt x="176" y="225"/>
                    <a:pt x="176" y="226"/>
                  </a:cubicBezTo>
                  <a:cubicBezTo>
                    <a:pt x="177" y="226"/>
                    <a:pt x="177" y="226"/>
                    <a:pt x="177" y="226"/>
                  </a:cubicBezTo>
                  <a:cubicBezTo>
                    <a:pt x="177" y="226"/>
                    <a:pt x="177" y="227"/>
                    <a:pt x="177" y="227"/>
                  </a:cubicBezTo>
                  <a:cubicBezTo>
                    <a:pt x="177" y="227"/>
                    <a:pt x="177" y="227"/>
                    <a:pt x="177" y="227"/>
                  </a:cubicBezTo>
                  <a:cubicBezTo>
                    <a:pt x="177" y="227"/>
                    <a:pt x="177" y="228"/>
                    <a:pt x="177" y="228"/>
                  </a:cubicBezTo>
                  <a:cubicBezTo>
                    <a:pt x="177" y="228"/>
                    <a:pt x="177" y="228"/>
                    <a:pt x="178" y="228"/>
                  </a:cubicBezTo>
                  <a:cubicBezTo>
                    <a:pt x="178" y="228"/>
                    <a:pt x="178" y="229"/>
                    <a:pt x="178" y="229"/>
                  </a:cubicBezTo>
                  <a:cubicBezTo>
                    <a:pt x="178" y="229"/>
                    <a:pt x="178" y="229"/>
                    <a:pt x="178" y="229"/>
                  </a:cubicBezTo>
                  <a:cubicBezTo>
                    <a:pt x="178" y="231"/>
                    <a:pt x="178" y="232"/>
                    <a:pt x="179" y="233"/>
                  </a:cubicBezTo>
                  <a:cubicBezTo>
                    <a:pt x="179" y="233"/>
                    <a:pt x="179" y="233"/>
                    <a:pt x="179" y="233"/>
                  </a:cubicBezTo>
                  <a:cubicBezTo>
                    <a:pt x="179" y="234"/>
                    <a:pt x="180" y="236"/>
                    <a:pt x="180" y="237"/>
                  </a:cubicBezTo>
                  <a:cubicBezTo>
                    <a:pt x="180" y="237"/>
                    <a:pt x="180" y="237"/>
                    <a:pt x="180" y="237"/>
                  </a:cubicBezTo>
                  <a:cubicBezTo>
                    <a:pt x="180" y="238"/>
                    <a:pt x="180" y="238"/>
                    <a:pt x="180" y="239"/>
                  </a:cubicBezTo>
                  <a:cubicBezTo>
                    <a:pt x="180" y="239"/>
                    <a:pt x="181" y="239"/>
                    <a:pt x="181" y="239"/>
                  </a:cubicBezTo>
                  <a:cubicBezTo>
                    <a:pt x="181" y="239"/>
                    <a:pt x="181" y="239"/>
                    <a:pt x="181" y="240"/>
                  </a:cubicBezTo>
                  <a:cubicBezTo>
                    <a:pt x="181" y="240"/>
                    <a:pt x="181" y="240"/>
                    <a:pt x="181" y="240"/>
                  </a:cubicBezTo>
                  <a:cubicBezTo>
                    <a:pt x="181" y="240"/>
                    <a:pt x="181" y="240"/>
                    <a:pt x="181" y="241"/>
                  </a:cubicBezTo>
                  <a:cubicBezTo>
                    <a:pt x="181" y="241"/>
                    <a:pt x="181" y="241"/>
                    <a:pt x="181" y="241"/>
                  </a:cubicBezTo>
                  <a:cubicBezTo>
                    <a:pt x="182" y="242"/>
                    <a:pt x="182" y="243"/>
                    <a:pt x="182" y="244"/>
                  </a:cubicBezTo>
                  <a:cubicBezTo>
                    <a:pt x="182" y="244"/>
                    <a:pt x="182" y="244"/>
                    <a:pt x="182" y="244"/>
                  </a:cubicBezTo>
                  <a:cubicBezTo>
                    <a:pt x="182" y="245"/>
                    <a:pt x="182" y="245"/>
                    <a:pt x="182" y="245"/>
                  </a:cubicBezTo>
                  <a:cubicBezTo>
                    <a:pt x="183" y="245"/>
                    <a:pt x="183" y="245"/>
                    <a:pt x="183" y="245"/>
                  </a:cubicBezTo>
                  <a:cubicBezTo>
                    <a:pt x="183" y="247"/>
                    <a:pt x="183" y="249"/>
                    <a:pt x="184" y="250"/>
                  </a:cubicBezTo>
                  <a:cubicBezTo>
                    <a:pt x="184" y="250"/>
                    <a:pt x="184" y="250"/>
                    <a:pt x="184" y="250"/>
                  </a:cubicBezTo>
                  <a:cubicBezTo>
                    <a:pt x="184" y="251"/>
                    <a:pt x="184" y="251"/>
                    <a:pt x="185" y="252"/>
                  </a:cubicBezTo>
                  <a:cubicBezTo>
                    <a:pt x="185" y="252"/>
                    <a:pt x="185" y="252"/>
                    <a:pt x="185" y="252"/>
                  </a:cubicBezTo>
                  <a:cubicBezTo>
                    <a:pt x="185" y="253"/>
                    <a:pt x="185" y="252"/>
                    <a:pt x="185" y="252"/>
                  </a:cubicBezTo>
                  <a:cubicBezTo>
                    <a:pt x="184" y="253"/>
                    <a:pt x="183" y="254"/>
                    <a:pt x="182" y="255"/>
                  </a:cubicBezTo>
                  <a:cubicBezTo>
                    <a:pt x="182" y="255"/>
                    <a:pt x="182" y="255"/>
                    <a:pt x="182" y="255"/>
                  </a:cubicBezTo>
                  <a:cubicBezTo>
                    <a:pt x="180" y="256"/>
                    <a:pt x="179" y="258"/>
                    <a:pt x="178" y="259"/>
                  </a:cubicBezTo>
                  <a:cubicBezTo>
                    <a:pt x="177" y="259"/>
                    <a:pt x="177" y="259"/>
                    <a:pt x="177" y="259"/>
                  </a:cubicBezTo>
                  <a:cubicBezTo>
                    <a:pt x="177" y="260"/>
                    <a:pt x="177" y="260"/>
                    <a:pt x="176" y="260"/>
                  </a:cubicBezTo>
                  <a:cubicBezTo>
                    <a:pt x="175" y="261"/>
                    <a:pt x="174" y="263"/>
                    <a:pt x="173" y="264"/>
                  </a:cubicBezTo>
                  <a:cubicBezTo>
                    <a:pt x="173" y="264"/>
                    <a:pt x="173" y="264"/>
                    <a:pt x="173" y="264"/>
                  </a:cubicBezTo>
                  <a:cubicBezTo>
                    <a:pt x="173" y="264"/>
                    <a:pt x="173" y="264"/>
                    <a:pt x="173" y="264"/>
                  </a:cubicBezTo>
                  <a:cubicBezTo>
                    <a:pt x="174" y="265"/>
                    <a:pt x="175" y="266"/>
                    <a:pt x="176" y="268"/>
                  </a:cubicBezTo>
                  <a:cubicBezTo>
                    <a:pt x="176" y="268"/>
                    <a:pt x="177" y="268"/>
                    <a:pt x="177" y="268"/>
                  </a:cubicBezTo>
                  <a:cubicBezTo>
                    <a:pt x="177" y="268"/>
                    <a:pt x="177" y="268"/>
                    <a:pt x="177" y="269"/>
                  </a:cubicBezTo>
                  <a:cubicBezTo>
                    <a:pt x="179" y="271"/>
                    <a:pt x="181" y="273"/>
                    <a:pt x="183" y="275"/>
                  </a:cubicBezTo>
                  <a:cubicBezTo>
                    <a:pt x="183" y="275"/>
                    <a:pt x="183" y="275"/>
                    <a:pt x="183" y="276"/>
                  </a:cubicBezTo>
                  <a:cubicBezTo>
                    <a:pt x="185" y="277"/>
                    <a:pt x="188" y="279"/>
                    <a:pt x="188" y="281"/>
                  </a:cubicBezTo>
                  <a:cubicBezTo>
                    <a:pt x="187" y="282"/>
                    <a:pt x="187" y="285"/>
                    <a:pt x="186" y="286"/>
                  </a:cubicBezTo>
                  <a:cubicBezTo>
                    <a:pt x="186" y="286"/>
                    <a:pt x="186" y="286"/>
                    <a:pt x="186" y="286"/>
                  </a:cubicBezTo>
                  <a:cubicBezTo>
                    <a:pt x="186" y="287"/>
                    <a:pt x="186" y="287"/>
                    <a:pt x="186" y="287"/>
                  </a:cubicBezTo>
                  <a:cubicBezTo>
                    <a:pt x="186" y="287"/>
                    <a:pt x="186" y="287"/>
                    <a:pt x="186" y="287"/>
                  </a:cubicBezTo>
                  <a:cubicBezTo>
                    <a:pt x="186" y="288"/>
                    <a:pt x="186" y="288"/>
                    <a:pt x="186" y="289"/>
                  </a:cubicBezTo>
                  <a:cubicBezTo>
                    <a:pt x="185" y="289"/>
                    <a:pt x="185" y="289"/>
                    <a:pt x="185" y="289"/>
                  </a:cubicBezTo>
                  <a:cubicBezTo>
                    <a:pt x="185" y="289"/>
                    <a:pt x="185" y="289"/>
                    <a:pt x="185" y="289"/>
                  </a:cubicBezTo>
                  <a:cubicBezTo>
                    <a:pt x="185" y="289"/>
                    <a:pt x="185" y="289"/>
                    <a:pt x="185" y="289"/>
                  </a:cubicBezTo>
                  <a:cubicBezTo>
                    <a:pt x="185" y="290"/>
                    <a:pt x="185" y="291"/>
                    <a:pt x="185" y="291"/>
                  </a:cubicBezTo>
                  <a:cubicBezTo>
                    <a:pt x="184" y="291"/>
                    <a:pt x="184" y="291"/>
                    <a:pt x="184" y="291"/>
                  </a:cubicBezTo>
                  <a:cubicBezTo>
                    <a:pt x="184" y="292"/>
                    <a:pt x="184" y="293"/>
                    <a:pt x="183" y="294"/>
                  </a:cubicBezTo>
                  <a:cubicBezTo>
                    <a:pt x="183" y="294"/>
                    <a:pt x="183" y="294"/>
                    <a:pt x="183" y="294"/>
                  </a:cubicBezTo>
                  <a:cubicBezTo>
                    <a:pt x="183" y="296"/>
                    <a:pt x="183" y="297"/>
                    <a:pt x="182" y="298"/>
                  </a:cubicBezTo>
                  <a:cubicBezTo>
                    <a:pt x="182" y="298"/>
                    <a:pt x="182" y="298"/>
                    <a:pt x="182" y="298"/>
                  </a:cubicBezTo>
                  <a:cubicBezTo>
                    <a:pt x="182" y="298"/>
                    <a:pt x="182" y="298"/>
                    <a:pt x="182" y="298"/>
                  </a:cubicBezTo>
                  <a:cubicBezTo>
                    <a:pt x="182" y="298"/>
                    <a:pt x="182" y="298"/>
                    <a:pt x="182" y="298"/>
                  </a:cubicBezTo>
                  <a:cubicBezTo>
                    <a:pt x="182" y="299"/>
                    <a:pt x="181" y="300"/>
                    <a:pt x="181" y="301"/>
                  </a:cubicBezTo>
                  <a:cubicBezTo>
                    <a:pt x="176" y="301"/>
                    <a:pt x="170" y="301"/>
                    <a:pt x="165" y="301"/>
                  </a:cubicBezTo>
                  <a:cubicBezTo>
                    <a:pt x="165" y="301"/>
                    <a:pt x="165" y="301"/>
                    <a:pt x="165" y="300"/>
                  </a:cubicBezTo>
                  <a:cubicBezTo>
                    <a:pt x="164" y="300"/>
                    <a:pt x="164" y="300"/>
                    <a:pt x="164" y="300"/>
                  </a:cubicBezTo>
                  <a:cubicBezTo>
                    <a:pt x="164" y="300"/>
                    <a:pt x="164" y="299"/>
                    <a:pt x="164" y="299"/>
                  </a:cubicBezTo>
                  <a:cubicBezTo>
                    <a:pt x="163" y="299"/>
                    <a:pt x="163" y="298"/>
                    <a:pt x="163" y="298"/>
                  </a:cubicBezTo>
                  <a:cubicBezTo>
                    <a:pt x="163" y="298"/>
                    <a:pt x="163" y="298"/>
                    <a:pt x="163" y="298"/>
                  </a:cubicBezTo>
                  <a:cubicBezTo>
                    <a:pt x="163" y="297"/>
                    <a:pt x="162" y="297"/>
                    <a:pt x="162" y="297"/>
                  </a:cubicBezTo>
                  <a:cubicBezTo>
                    <a:pt x="162" y="297"/>
                    <a:pt x="162" y="297"/>
                    <a:pt x="162" y="297"/>
                  </a:cubicBezTo>
                  <a:cubicBezTo>
                    <a:pt x="162" y="297"/>
                    <a:pt x="162" y="297"/>
                    <a:pt x="162" y="297"/>
                  </a:cubicBezTo>
                  <a:cubicBezTo>
                    <a:pt x="162" y="296"/>
                    <a:pt x="162" y="296"/>
                    <a:pt x="162" y="296"/>
                  </a:cubicBezTo>
                  <a:cubicBezTo>
                    <a:pt x="162" y="296"/>
                    <a:pt x="161" y="296"/>
                    <a:pt x="161" y="296"/>
                  </a:cubicBezTo>
                  <a:cubicBezTo>
                    <a:pt x="161" y="295"/>
                    <a:pt x="161" y="295"/>
                    <a:pt x="161" y="294"/>
                  </a:cubicBezTo>
                  <a:cubicBezTo>
                    <a:pt x="161" y="294"/>
                    <a:pt x="160" y="294"/>
                    <a:pt x="160" y="294"/>
                  </a:cubicBezTo>
                  <a:cubicBezTo>
                    <a:pt x="160" y="294"/>
                    <a:pt x="160" y="293"/>
                    <a:pt x="160" y="293"/>
                  </a:cubicBezTo>
                  <a:cubicBezTo>
                    <a:pt x="160" y="293"/>
                    <a:pt x="160" y="293"/>
                    <a:pt x="159" y="293"/>
                  </a:cubicBezTo>
                  <a:cubicBezTo>
                    <a:pt x="159" y="292"/>
                    <a:pt x="159" y="292"/>
                    <a:pt x="159" y="292"/>
                  </a:cubicBezTo>
                  <a:cubicBezTo>
                    <a:pt x="159" y="291"/>
                    <a:pt x="158" y="291"/>
                    <a:pt x="158" y="290"/>
                  </a:cubicBezTo>
                  <a:cubicBezTo>
                    <a:pt x="154" y="289"/>
                    <a:pt x="151" y="288"/>
                    <a:pt x="147" y="287"/>
                  </a:cubicBezTo>
                  <a:cubicBezTo>
                    <a:pt x="147" y="292"/>
                    <a:pt x="148" y="298"/>
                    <a:pt x="148" y="303"/>
                  </a:cubicBezTo>
                  <a:cubicBezTo>
                    <a:pt x="144" y="304"/>
                    <a:pt x="140" y="304"/>
                    <a:pt x="136" y="304"/>
                  </a:cubicBezTo>
                  <a:cubicBezTo>
                    <a:pt x="135" y="304"/>
                    <a:pt x="135" y="304"/>
                    <a:pt x="135" y="303"/>
                  </a:cubicBezTo>
                  <a:cubicBezTo>
                    <a:pt x="135" y="303"/>
                    <a:pt x="135" y="303"/>
                    <a:pt x="135" y="303"/>
                  </a:cubicBezTo>
                  <a:cubicBezTo>
                    <a:pt x="135" y="303"/>
                    <a:pt x="135" y="303"/>
                    <a:pt x="135" y="303"/>
                  </a:cubicBezTo>
                  <a:cubicBezTo>
                    <a:pt x="134" y="302"/>
                    <a:pt x="134" y="302"/>
                    <a:pt x="134" y="302"/>
                  </a:cubicBezTo>
                  <a:cubicBezTo>
                    <a:pt x="134" y="302"/>
                    <a:pt x="134" y="302"/>
                    <a:pt x="134" y="301"/>
                  </a:cubicBezTo>
                  <a:cubicBezTo>
                    <a:pt x="133" y="301"/>
                    <a:pt x="133" y="301"/>
                    <a:pt x="133" y="301"/>
                  </a:cubicBezTo>
                  <a:cubicBezTo>
                    <a:pt x="133" y="301"/>
                    <a:pt x="133" y="300"/>
                    <a:pt x="133" y="300"/>
                  </a:cubicBezTo>
                  <a:cubicBezTo>
                    <a:pt x="132" y="300"/>
                    <a:pt x="132" y="300"/>
                    <a:pt x="132" y="299"/>
                  </a:cubicBezTo>
                  <a:cubicBezTo>
                    <a:pt x="132" y="299"/>
                    <a:pt x="132" y="299"/>
                    <a:pt x="132" y="299"/>
                  </a:cubicBezTo>
                  <a:cubicBezTo>
                    <a:pt x="131" y="298"/>
                    <a:pt x="131" y="298"/>
                    <a:pt x="131" y="298"/>
                  </a:cubicBezTo>
                  <a:cubicBezTo>
                    <a:pt x="131" y="298"/>
                    <a:pt x="131" y="297"/>
                    <a:pt x="131" y="297"/>
                  </a:cubicBezTo>
                  <a:cubicBezTo>
                    <a:pt x="130" y="297"/>
                    <a:pt x="130" y="297"/>
                    <a:pt x="130" y="297"/>
                  </a:cubicBezTo>
                  <a:cubicBezTo>
                    <a:pt x="130" y="297"/>
                    <a:pt x="130" y="296"/>
                    <a:pt x="130" y="296"/>
                  </a:cubicBezTo>
                  <a:cubicBezTo>
                    <a:pt x="130" y="296"/>
                    <a:pt x="129" y="296"/>
                    <a:pt x="129" y="296"/>
                  </a:cubicBezTo>
                  <a:cubicBezTo>
                    <a:pt x="129" y="295"/>
                    <a:pt x="129" y="295"/>
                    <a:pt x="129" y="295"/>
                  </a:cubicBezTo>
                  <a:cubicBezTo>
                    <a:pt x="129" y="295"/>
                    <a:pt x="128" y="294"/>
                    <a:pt x="128" y="294"/>
                  </a:cubicBezTo>
                  <a:cubicBezTo>
                    <a:pt x="128" y="294"/>
                    <a:pt x="128" y="294"/>
                    <a:pt x="128" y="293"/>
                  </a:cubicBezTo>
                  <a:cubicBezTo>
                    <a:pt x="128" y="293"/>
                    <a:pt x="127" y="293"/>
                    <a:pt x="127" y="293"/>
                  </a:cubicBezTo>
                  <a:cubicBezTo>
                    <a:pt x="127" y="292"/>
                    <a:pt x="127" y="292"/>
                    <a:pt x="127" y="292"/>
                  </a:cubicBezTo>
                  <a:cubicBezTo>
                    <a:pt x="127" y="292"/>
                    <a:pt x="126" y="292"/>
                    <a:pt x="126" y="292"/>
                  </a:cubicBezTo>
                  <a:cubicBezTo>
                    <a:pt x="126" y="291"/>
                    <a:pt x="126" y="291"/>
                    <a:pt x="126" y="291"/>
                  </a:cubicBezTo>
                  <a:cubicBezTo>
                    <a:pt x="126" y="291"/>
                    <a:pt x="125" y="290"/>
                    <a:pt x="125" y="290"/>
                  </a:cubicBezTo>
                  <a:cubicBezTo>
                    <a:pt x="125" y="290"/>
                    <a:pt x="125" y="290"/>
                    <a:pt x="125" y="290"/>
                  </a:cubicBezTo>
                  <a:cubicBezTo>
                    <a:pt x="125" y="289"/>
                    <a:pt x="124" y="289"/>
                    <a:pt x="124" y="289"/>
                  </a:cubicBezTo>
                  <a:cubicBezTo>
                    <a:pt x="124" y="289"/>
                    <a:pt x="124" y="288"/>
                    <a:pt x="124" y="288"/>
                  </a:cubicBezTo>
                  <a:cubicBezTo>
                    <a:pt x="124" y="288"/>
                    <a:pt x="123" y="288"/>
                    <a:pt x="123" y="287"/>
                  </a:cubicBezTo>
                  <a:cubicBezTo>
                    <a:pt x="123" y="287"/>
                    <a:pt x="123" y="287"/>
                    <a:pt x="123" y="287"/>
                  </a:cubicBezTo>
                  <a:cubicBezTo>
                    <a:pt x="123" y="287"/>
                    <a:pt x="123" y="287"/>
                    <a:pt x="122" y="286"/>
                  </a:cubicBezTo>
                  <a:cubicBezTo>
                    <a:pt x="122" y="286"/>
                    <a:pt x="122" y="286"/>
                    <a:pt x="122" y="286"/>
                  </a:cubicBezTo>
                  <a:cubicBezTo>
                    <a:pt x="122" y="286"/>
                    <a:pt x="122" y="285"/>
                    <a:pt x="122" y="285"/>
                  </a:cubicBezTo>
                  <a:cubicBezTo>
                    <a:pt x="121" y="285"/>
                    <a:pt x="121" y="285"/>
                    <a:pt x="121" y="284"/>
                  </a:cubicBezTo>
                  <a:cubicBezTo>
                    <a:pt x="121" y="284"/>
                    <a:pt x="121" y="284"/>
                    <a:pt x="120" y="284"/>
                  </a:cubicBezTo>
                  <a:cubicBezTo>
                    <a:pt x="120" y="283"/>
                    <a:pt x="120" y="283"/>
                    <a:pt x="120" y="283"/>
                  </a:cubicBezTo>
                  <a:cubicBezTo>
                    <a:pt x="120" y="283"/>
                    <a:pt x="119" y="282"/>
                    <a:pt x="119" y="282"/>
                  </a:cubicBezTo>
                  <a:cubicBezTo>
                    <a:pt x="119" y="282"/>
                    <a:pt x="119" y="282"/>
                    <a:pt x="119" y="282"/>
                  </a:cubicBezTo>
                  <a:cubicBezTo>
                    <a:pt x="119" y="281"/>
                    <a:pt x="119" y="281"/>
                    <a:pt x="118" y="281"/>
                  </a:cubicBezTo>
                  <a:cubicBezTo>
                    <a:pt x="118" y="281"/>
                    <a:pt x="118" y="281"/>
                    <a:pt x="118" y="280"/>
                  </a:cubicBezTo>
                  <a:cubicBezTo>
                    <a:pt x="118" y="280"/>
                    <a:pt x="118" y="280"/>
                    <a:pt x="117" y="280"/>
                  </a:cubicBezTo>
                  <a:cubicBezTo>
                    <a:pt x="117" y="280"/>
                    <a:pt x="117" y="279"/>
                    <a:pt x="117" y="279"/>
                  </a:cubicBezTo>
                  <a:cubicBezTo>
                    <a:pt x="117" y="279"/>
                    <a:pt x="117" y="279"/>
                    <a:pt x="116" y="278"/>
                  </a:cubicBezTo>
                  <a:cubicBezTo>
                    <a:pt x="116" y="278"/>
                    <a:pt x="116" y="278"/>
                    <a:pt x="116" y="278"/>
                  </a:cubicBezTo>
                  <a:cubicBezTo>
                    <a:pt x="116" y="278"/>
                    <a:pt x="116" y="278"/>
                    <a:pt x="116" y="278"/>
                  </a:cubicBezTo>
                  <a:cubicBezTo>
                    <a:pt x="116" y="277"/>
                    <a:pt x="116" y="277"/>
                    <a:pt x="115" y="277"/>
                  </a:cubicBezTo>
                  <a:cubicBezTo>
                    <a:pt x="115" y="277"/>
                    <a:pt x="115" y="277"/>
                    <a:pt x="115" y="277"/>
                  </a:cubicBezTo>
                  <a:cubicBezTo>
                    <a:pt x="115" y="277"/>
                    <a:pt x="115" y="276"/>
                    <a:pt x="115" y="276"/>
                  </a:cubicBezTo>
                  <a:cubicBezTo>
                    <a:pt x="114" y="276"/>
                    <a:pt x="113" y="276"/>
                    <a:pt x="113" y="276"/>
                  </a:cubicBezTo>
                  <a:cubicBezTo>
                    <a:pt x="113" y="276"/>
                    <a:pt x="113" y="276"/>
                    <a:pt x="113" y="276"/>
                  </a:cubicBezTo>
                  <a:cubicBezTo>
                    <a:pt x="112" y="276"/>
                    <a:pt x="111" y="276"/>
                    <a:pt x="110" y="276"/>
                  </a:cubicBezTo>
                  <a:cubicBezTo>
                    <a:pt x="110" y="275"/>
                    <a:pt x="110" y="275"/>
                    <a:pt x="110" y="275"/>
                  </a:cubicBezTo>
                  <a:cubicBezTo>
                    <a:pt x="109" y="275"/>
                    <a:pt x="109" y="275"/>
                    <a:pt x="108" y="275"/>
                  </a:cubicBezTo>
                  <a:cubicBezTo>
                    <a:pt x="108" y="275"/>
                    <a:pt x="108" y="275"/>
                    <a:pt x="108" y="275"/>
                  </a:cubicBezTo>
                  <a:cubicBezTo>
                    <a:pt x="107" y="275"/>
                    <a:pt x="106" y="275"/>
                    <a:pt x="105" y="275"/>
                  </a:cubicBezTo>
                  <a:cubicBezTo>
                    <a:pt x="105" y="274"/>
                    <a:pt x="105" y="274"/>
                    <a:pt x="105" y="274"/>
                  </a:cubicBezTo>
                  <a:cubicBezTo>
                    <a:pt x="105" y="274"/>
                    <a:pt x="104" y="274"/>
                    <a:pt x="103" y="274"/>
                  </a:cubicBezTo>
                  <a:cubicBezTo>
                    <a:pt x="103" y="274"/>
                    <a:pt x="103" y="274"/>
                    <a:pt x="103" y="274"/>
                  </a:cubicBezTo>
                  <a:cubicBezTo>
                    <a:pt x="101" y="273"/>
                    <a:pt x="99" y="273"/>
                    <a:pt x="97" y="273"/>
                  </a:cubicBezTo>
                  <a:cubicBezTo>
                    <a:pt x="90" y="271"/>
                    <a:pt x="82" y="269"/>
                    <a:pt x="75" y="267"/>
                  </a:cubicBezTo>
                  <a:cubicBezTo>
                    <a:pt x="74" y="267"/>
                    <a:pt x="73" y="267"/>
                    <a:pt x="72" y="267"/>
                  </a:cubicBezTo>
                  <a:cubicBezTo>
                    <a:pt x="72" y="267"/>
                    <a:pt x="72" y="267"/>
                    <a:pt x="72" y="266"/>
                  </a:cubicBezTo>
                  <a:cubicBezTo>
                    <a:pt x="71" y="266"/>
                    <a:pt x="71" y="266"/>
                    <a:pt x="71" y="266"/>
                  </a:cubicBezTo>
                  <a:cubicBezTo>
                    <a:pt x="71" y="266"/>
                    <a:pt x="71" y="266"/>
                    <a:pt x="71" y="266"/>
                  </a:cubicBezTo>
                  <a:cubicBezTo>
                    <a:pt x="70" y="266"/>
                    <a:pt x="70" y="266"/>
                    <a:pt x="69" y="266"/>
                  </a:cubicBezTo>
                  <a:cubicBezTo>
                    <a:pt x="69" y="266"/>
                    <a:pt x="69" y="266"/>
                    <a:pt x="69" y="266"/>
                  </a:cubicBezTo>
                  <a:cubicBezTo>
                    <a:pt x="69" y="266"/>
                    <a:pt x="68" y="266"/>
                    <a:pt x="68" y="266"/>
                  </a:cubicBezTo>
                  <a:cubicBezTo>
                    <a:pt x="68" y="266"/>
                    <a:pt x="68" y="266"/>
                    <a:pt x="68" y="265"/>
                  </a:cubicBezTo>
                  <a:cubicBezTo>
                    <a:pt x="67" y="265"/>
                    <a:pt x="67" y="265"/>
                    <a:pt x="66" y="265"/>
                  </a:cubicBezTo>
                  <a:cubicBezTo>
                    <a:pt x="66" y="265"/>
                    <a:pt x="66" y="265"/>
                    <a:pt x="66" y="265"/>
                  </a:cubicBezTo>
                  <a:cubicBezTo>
                    <a:pt x="66" y="265"/>
                    <a:pt x="65" y="265"/>
                    <a:pt x="64" y="265"/>
                  </a:cubicBezTo>
                  <a:cubicBezTo>
                    <a:pt x="64" y="264"/>
                    <a:pt x="63" y="264"/>
                    <a:pt x="63" y="263"/>
                  </a:cubicBezTo>
                  <a:cubicBezTo>
                    <a:pt x="63" y="263"/>
                    <a:pt x="63" y="263"/>
                    <a:pt x="62" y="263"/>
                  </a:cubicBezTo>
                  <a:cubicBezTo>
                    <a:pt x="62" y="263"/>
                    <a:pt x="62" y="263"/>
                    <a:pt x="62" y="263"/>
                  </a:cubicBezTo>
                  <a:cubicBezTo>
                    <a:pt x="62" y="262"/>
                    <a:pt x="62" y="262"/>
                    <a:pt x="61" y="262"/>
                  </a:cubicBezTo>
                  <a:cubicBezTo>
                    <a:pt x="61" y="261"/>
                    <a:pt x="61" y="261"/>
                    <a:pt x="61" y="261"/>
                  </a:cubicBezTo>
                  <a:cubicBezTo>
                    <a:pt x="61" y="261"/>
                    <a:pt x="61" y="261"/>
                    <a:pt x="60" y="261"/>
                  </a:cubicBezTo>
                  <a:cubicBezTo>
                    <a:pt x="60" y="260"/>
                    <a:pt x="60" y="260"/>
                    <a:pt x="60" y="260"/>
                  </a:cubicBezTo>
                  <a:cubicBezTo>
                    <a:pt x="60" y="260"/>
                    <a:pt x="60" y="260"/>
                    <a:pt x="60" y="260"/>
                  </a:cubicBezTo>
                  <a:cubicBezTo>
                    <a:pt x="60" y="260"/>
                    <a:pt x="60" y="259"/>
                    <a:pt x="60" y="259"/>
                  </a:cubicBezTo>
                  <a:cubicBezTo>
                    <a:pt x="59" y="259"/>
                    <a:pt x="59" y="258"/>
                    <a:pt x="58" y="258"/>
                  </a:cubicBezTo>
                  <a:cubicBezTo>
                    <a:pt x="58" y="258"/>
                    <a:pt x="58" y="258"/>
                    <a:pt x="58" y="257"/>
                  </a:cubicBezTo>
                  <a:cubicBezTo>
                    <a:pt x="58" y="257"/>
                    <a:pt x="58" y="257"/>
                    <a:pt x="57" y="257"/>
                  </a:cubicBezTo>
                  <a:cubicBezTo>
                    <a:pt x="57" y="256"/>
                    <a:pt x="57" y="256"/>
                    <a:pt x="57" y="256"/>
                  </a:cubicBezTo>
                  <a:cubicBezTo>
                    <a:pt x="57" y="256"/>
                    <a:pt x="56" y="255"/>
                    <a:pt x="56" y="255"/>
                  </a:cubicBezTo>
                  <a:cubicBezTo>
                    <a:pt x="56" y="255"/>
                    <a:pt x="56" y="254"/>
                    <a:pt x="56" y="254"/>
                  </a:cubicBezTo>
                  <a:cubicBezTo>
                    <a:pt x="55" y="254"/>
                    <a:pt x="55" y="254"/>
                    <a:pt x="54" y="253"/>
                  </a:cubicBezTo>
                  <a:cubicBezTo>
                    <a:pt x="54" y="253"/>
                    <a:pt x="54" y="253"/>
                    <a:pt x="54" y="252"/>
                  </a:cubicBezTo>
                  <a:cubicBezTo>
                    <a:pt x="54" y="252"/>
                    <a:pt x="54" y="252"/>
                    <a:pt x="53" y="251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0"/>
                    <a:pt x="52" y="250"/>
                    <a:pt x="52" y="250"/>
                  </a:cubicBezTo>
                  <a:cubicBezTo>
                    <a:pt x="52" y="249"/>
                    <a:pt x="51" y="249"/>
                    <a:pt x="51" y="249"/>
                  </a:cubicBezTo>
                  <a:cubicBezTo>
                    <a:pt x="51" y="249"/>
                    <a:pt x="51" y="248"/>
                    <a:pt x="51" y="248"/>
                  </a:cubicBezTo>
                  <a:cubicBezTo>
                    <a:pt x="51" y="248"/>
                    <a:pt x="51" y="248"/>
                    <a:pt x="51" y="248"/>
                  </a:cubicBezTo>
                  <a:cubicBezTo>
                    <a:pt x="50" y="247"/>
                    <a:pt x="50" y="247"/>
                    <a:pt x="49" y="247"/>
                  </a:cubicBezTo>
                  <a:cubicBezTo>
                    <a:pt x="49" y="246"/>
                    <a:pt x="49" y="246"/>
                    <a:pt x="49" y="246"/>
                  </a:cubicBezTo>
                  <a:cubicBezTo>
                    <a:pt x="49" y="245"/>
                    <a:pt x="48" y="245"/>
                    <a:pt x="48" y="245"/>
                  </a:cubicBezTo>
                  <a:cubicBezTo>
                    <a:pt x="47" y="243"/>
                    <a:pt x="47" y="243"/>
                    <a:pt x="45" y="243"/>
                  </a:cubicBezTo>
                  <a:cubicBezTo>
                    <a:pt x="42" y="244"/>
                    <a:pt x="39" y="245"/>
                    <a:pt x="36" y="246"/>
                  </a:cubicBezTo>
                  <a:cubicBezTo>
                    <a:pt x="36" y="245"/>
                    <a:pt x="36" y="245"/>
                    <a:pt x="36" y="245"/>
                  </a:cubicBezTo>
                  <a:cubicBezTo>
                    <a:pt x="36" y="245"/>
                    <a:pt x="36" y="245"/>
                    <a:pt x="36" y="245"/>
                  </a:cubicBezTo>
                  <a:cubicBezTo>
                    <a:pt x="36" y="244"/>
                    <a:pt x="36" y="243"/>
                    <a:pt x="36" y="243"/>
                  </a:cubicBezTo>
                  <a:cubicBezTo>
                    <a:pt x="36" y="243"/>
                    <a:pt x="36" y="243"/>
                    <a:pt x="37" y="243"/>
                  </a:cubicBezTo>
                  <a:cubicBezTo>
                    <a:pt x="37" y="242"/>
                    <a:pt x="37" y="242"/>
                    <a:pt x="37" y="242"/>
                  </a:cubicBezTo>
                  <a:cubicBezTo>
                    <a:pt x="37" y="242"/>
                    <a:pt x="37" y="242"/>
                    <a:pt x="37" y="242"/>
                  </a:cubicBezTo>
                  <a:cubicBezTo>
                    <a:pt x="37" y="241"/>
                    <a:pt x="37" y="241"/>
                    <a:pt x="37" y="241"/>
                  </a:cubicBezTo>
                  <a:cubicBezTo>
                    <a:pt x="37" y="241"/>
                    <a:pt x="37" y="241"/>
                    <a:pt x="37" y="241"/>
                  </a:cubicBezTo>
                  <a:cubicBezTo>
                    <a:pt x="37" y="240"/>
                    <a:pt x="37" y="240"/>
                    <a:pt x="37" y="239"/>
                  </a:cubicBezTo>
                  <a:cubicBezTo>
                    <a:pt x="37" y="239"/>
                    <a:pt x="38" y="239"/>
                    <a:pt x="38" y="239"/>
                  </a:cubicBezTo>
                  <a:cubicBezTo>
                    <a:pt x="38" y="239"/>
                    <a:pt x="38" y="239"/>
                    <a:pt x="38" y="238"/>
                  </a:cubicBezTo>
                  <a:cubicBezTo>
                    <a:pt x="38" y="238"/>
                    <a:pt x="38" y="238"/>
                    <a:pt x="38" y="238"/>
                  </a:cubicBezTo>
                  <a:cubicBezTo>
                    <a:pt x="38" y="238"/>
                    <a:pt x="38" y="237"/>
                    <a:pt x="38" y="237"/>
                  </a:cubicBezTo>
                  <a:cubicBezTo>
                    <a:pt x="38" y="237"/>
                    <a:pt x="38" y="237"/>
                    <a:pt x="38" y="237"/>
                  </a:cubicBezTo>
                  <a:cubicBezTo>
                    <a:pt x="38" y="237"/>
                    <a:pt x="38" y="236"/>
                    <a:pt x="38" y="236"/>
                  </a:cubicBezTo>
                  <a:cubicBezTo>
                    <a:pt x="38" y="236"/>
                    <a:pt x="39" y="236"/>
                    <a:pt x="39" y="236"/>
                  </a:cubicBezTo>
                  <a:cubicBezTo>
                    <a:pt x="39" y="235"/>
                    <a:pt x="38" y="232"/>
                    <a:pt x="37" y="232"/>
                  </a:cubicBezTo>
                  <a:cubicBezTo>
                    <a:pt x="37" y="231"/>
                    <a:pt x="37" y="231"/>
                    <a:pt x="37" y="230"/>
                  </a:cubicBezTo>
                  <a:cubicBezTo>
                    <a:pt x="37" y="230"/>
                    <a:pt x="37" y="230"/>
                    <a:pt x="37" y="230"/>
                  </a:cubicBezTo>
                  <a:cubicBezTo>
                    <a:pt x="37" y="230"/>
                    <a:pt x="37" y="230"/>
                    <a:pt x="37" y="230"/>
                  </a:cubicBezTo>
                  <a:cubicBezTo>
                    <a:pt x="37" y="230"/>
                    <a:pt x="37" y="230"/>
                    <a:pt x="37" y="230"/>
                  </a:cubicBezTo>
                  <a:cubicBezTo>
                    <a:pt x="36" y="229"/>
                    <a:pt x="36" y="229"/>
                    <a:pt x="36" y="228"/>
                  </a:cubicBezTo>
                  <a:cubicBezTo>
                    <a:pt x="36" y="228"/>
                    <a:pt x="36" y="228"/>
                    <a:pt x="36" y="228"/>
                  </a:cubicBezTo>
                  <a:cubicBezTo>
                    <a:pt x="36" y="227"/>
                    <a:pt x="36" y="227"/>
                    <a:pt x="36" y="226"/>
                  </a:cubicBezTo>
                  <a:cubicBezTo>
                    <a:pt x="35" y="226"/>
                    <a:pt x="35" y="226"/>
                    <a:pt x="35" y="226"/>
                  </a:cubicBezTo>
                  <a:cubicBezTo>
                    <a:pt x="35" y="226"/>
                    <a:pt x="35" y="225"/>
                    <a:pt x="35" y="225"/>
                  </a:cubicBezTo>
                  <a:cubicBezTo>
                    <a:pt x="35" y="225"/>
                    <a:pt x="35" y="225"/>
                    <a:pt x="35" y="225"/>
                  </a:cubicBezTo>
                  <a:cubicBezTo>
                    <a:pt x="35" y="225"/>
                    <a:pt x="35" y="225"/>
                    <a:pt x="35" y="224"/>
                  </a:cubicBezTo>
                  <a:cubicBezTo>
                    <a:pt x="35" y="224"/>
                    <a:pt x="35" y="224"/>
                    <a:pt x="35" y="224"/>
                  </a:cubicBezTo>
                  <a:cubicBezTo>
                    <a:pt x="35" y="224"/>
                    <a:pt x="35" y="223"/>
                    <a:pt x="35" y="223"/>
                  </a:cubicBezTo>
                  <a:cubicBezTo>
                    <a:pt x="34" y="223"/>
                    <a:pt x="34" y="223"/>
                    <a:pt x="34" y="223"/>
                  </a:cubicBezTo>
                  <a:cubicBezTo>
                    <a:pt x="34" y="223"/>
                    <a:pt x="34" y="223"/>
                    <a:pt x="34" y="222"/>
                  </a:cubicBezTo>
                  <a:cubicBezTo>
                    <a:pt x="34" y="222"/>
                    <a:pt x="34" y="222"/>
                    <a:pt x="34" y="222"/>
                  </a:cubicBezTo>
                  <a:cubicBezTo>
                    <a:pt x="34" y="222"/>
                    <a:pt x="34" y="222"/>
                    <a:pt x="34" y="221"/>
                  </a:cubicBezTo>
                  <a:cubicBezTo>
                    <a:pt x="34" y="221"/>
                    <a:pt x="34" y="221"/>
                    <a:pt x="33" y="221"/>
                  </a:cubicBezTo>
                  <a:cubicBezTo>
                    <a:pt x="33" y="221"/>
                    <a:pt x="33" y="221"/>
                    <a:pt x="33" y="220"/>
                  </a:cubicBezTo>
                  <a:cubicBezTo>
                    <a:pt x="33" y="220"/>
                    <a:pt x="33" y="220"/>
                    <a:pt x="33" y="220"/>
                  </a:cubicBezTo>
                  <a:cubicBezTo>
                    <a:pt x="33" y="220"/>
                    <a:pt x="33" y="220"/>
                    <a:pt x="33" y="220"/>
                  </a:cubicBezTo>
                  <a:cubicBezTo>
                    <a:pt x="33" y="220"/>
                    <a:pt x="33" y="220"/>
                    <a:pt x="33" y="220"/>
                  </a:cubicBezTo>
                  <a:cubicBezTo>
                    <a:pt x="33" y="219"/>
                    <a:pt x="33" y="218"/>
                    <a:pt x="32" y="218"/>
                  </a:cubicBezTo>
                  <a:cubicBezTo>
                    <a:pt x="32" y="218"/>
                    <a:pt x="32" y="218"/>
                    <a:pt x="32" y="218"/>
                  </a:cubicBezTo>
                  <a:cubicBezTo>
                    <a:pt x="32" y="217"/>
                    <a:pt x="32" y="217"/>
                    <a:pt x="32" y="217"/>
                  </a:cubicBezTo>
                  <a:cubicBezTo>
                    <a:pt x="32" y="217"/>
                    <a:pt x="32" y="217"/>
                    <a:pt x="32" y="217"/>
                  </a:cubicBezTo>
                  <a:cubicBezTo>
                    <a:pt x="32" y="216"/>
                    <a:pt x="32" y="216"/>
                    <a:pt x="32" y="216"/>
                  </a:cubicBezTo>
                  <a:cubicBezTo>
                    <a:pt x="32" y="216"/>
                    <a:pt x="31" y="216"/>
                    <a:pt x="31" y="216"/>
                  </a:cubicBezTo>
                  <a:cubicBezTo>
                    <a:pt x="31" y="216"/>
                    <a:pt x="31" y="215"/>
                    <a:pt x="31" y="215"/>
                  </a:cubicBezTo>
                  <a:cubicBezTo>
                    <a:pt x="31" y="215"/>
                    <a:pt x="31" y="215"/>
                    <a:pt x="31" y="215"/>
                  </a:cubicBezTo>
                  <a:cubicBezTo>
                    <a:pt x="31" y="214"/>
                    <a:pt x="31" y="214"/>
                    <a:pt x="31" y="213"/>
                  </a:cubicBezTo>
                  <a:cubicBezTo>
                    <a:pt x="31" y="213"/>
                    <a:pt x="30" y="213"/>
                    <a:pt x="30" y="213"/>
                  </a:cubicBezTo>
                  <a:cubicBezTo>
                    <a:pt x="30" y="213"/>
                    <a:pt x="30" y="213"/>
                    <a:pt x="30" y="212"/>
                  </a:cubicBezTo>
                  <a:cubicBezTo>
                    <a:pt x="30" y="212"/>
                    <a:pt x="30" y="212"/>
                    <a:pt x="30" y="212"/>
                  </a:cubicBezTo>
                  <a:cubicBezTo>
                    <a:pt x="30" y="212"/>
                    <a:pt x="30" y="211"/>
                    <a:pt x="30" y="210"/>
                  </a:cubicBezTo>
                  <a:cubicBezTo>
                    <a:pt x="29" y="210"/>
                    <a:pt x="29" y="210"/>
                    <a:pt x="29" y="210"/>
                  </a:cubicBezTo>
                  <a:cubicBezTo>
                    <a:pt x="29" y="210"/>
                    <a:pt x="29" y="210"/>
                    <a:pt x="29" y="209"/>
                  </a:cubicBezTo>
                  <a:cubicBezTo>
                    <a:pt x="29" y="209"/>
                    <a:pt x="29" y="209"/>
                    <a:pt x="29" y="209"/>
                  </a:cubicBezTo>
                  <a:cubicBezTo>
                    <a:pt x="29" y="209"/>
                    <a:pt x="29" y="208"/>
                    <a:pt x="29" y="207"/>
                  </a:cubicBezTo>
                  <a:cubicBezTo>
                    <a:pt x="28" y="207"/>
                    <a:pt x="28" y="207"/>
                    <a:pt x="28" y="207"/>
                  </a:cubicBezTo>
                  <a:cubicBezTo>
                    <a:pt x="28" y="207"/>
                    <a:pt x="28" y="207"/>
                    <a:pt x="28" y="207"/>
                  </a:cubicBezTo>
                  <a:cubicBezTo>
                    <a:pt x="28" y="207"/>
                    <a:pt x="28" y="207"/>
                    <a:pt x="28" y="207"/>
                  </a:cubicBezTo>
                  <a:cubicBezTo>
                    <a:pt x="28" y="206"/>
                    <a:pt x="28" y="205"/>
                    <a:pt x="28" y="205"/>
                  </a:cubicBezTo>
                  <a:cubicBezTo>
                    <a:pt x="27" y="205"/>
                    <a:pt x="27" y="205"/>
                    <a:pt x="27" y="205"/>
                  </a:cubicBezTo>
                  <a:cubicBezTo>
                    <a:pt x="27" y="204"/>
                    <a:pt x="27" y="204"/>
                    <a:pt x="27" y="204"/>
                  </a:cubicBezTo>
                  <a:cubicBezTo>
                    <a:pt x="27" y="204"/>
                    <a:pt x="27" y="204"/>
                    <a:pt x="27" y="204"/>
                  </a:cubicBezTo>
                  <a:cubicBezTo>
                    <a:pt x="27" y="204"/>
                    <a:pt x="27" y="203"/>
                    <a:pt x="27" y="203"/>
                  </a:cubicBezTo>
                  <a:cubicBezTo>
                    <a:pt x="27" y="203"/>
                    <a:pt x="27" y="203"/>
                    <a:pt x="26" y="203"/>
                  </a:cubicBezTo>
                  <a:cubicBezTo>
                    <a:pt x="26" y="203"/>
                    <a:pt x="26" y="202"/>
                    <a:pt x="26" y="202"/>
                  </a:cubicBezTo>
                  <a:cubicBezTo>
                    <a:pt x="26" y="202"/>
                    <a:pt x="26" y="202"/>
                    <a:pt x="26" y="202"/>
                  </a:cubicBezTo>
                  <a:cubicBezTo>
                    <a:pt x="26" y="201"/>
                    <a:pt x="26" y="201"/>
                    <a:pt x="26" y="200"/>
                  </a:cubicBezTo>
                  <a:cubicBezTo>
                    <a:pt x="26" y="200"/>
                    <a:pt x="26" y="200"/>
                    <a:pt x="25" y="200"/>
                  </a:cubicBezTo>
                  <a:cubicBezTo>
                    <a:pt x="25" y="200"/>
                    <a:pt x="25" y="200"/>
                    <a:pt x="25" y="199"/>
                  </a:cubicBezTo>
                  <a:cubicBezTo>
                    <a:pt x="25" y="199"/>
                    <a:pt x="25" y="199"/>
                    <a:pt x="25" y="199"/>
                  </a:cubicBezTo>
                  <a:cubicBezTo>
                    <a:pt x="25" y="199"/>
                    <a:pt x="25" y="199"/>
                    <a:pt x="25" y="198"/>
                  </a:cubicBezTo>
                  <a:cubicBezTo>
                    <a:pt x="25" y="198"/>
                    <a:pt x="25" y="198"/>
                    <a:pt x="25" y="198"/>
                  </a:cubicBezTo>
                  <a:cubicBezTo>
                    <a:pt x="25" y="198"/>
                    <a:pt x="25" y="198"/>
                    <a:pt x="25" y="197"/>
                  </a:cubicBezTo>
                  <a:cubicBezTo>
                    <a:pt x="25" y="197"/>
                    <a:pt x="24" y="197"/>
                    <a:pt x="24" y="197"/>
                  </a:cubicBezTo>
                  <a:cubicBezTo>
                    <a:pt x="24" y="197"/>
                    <a:pt x="24" y="196"/>
                    <a:pt x="24" y="196"/>
                  </a:cubicBezTo>
                  <a:cubicBezTo>
                    <a:pt x="24" y="196"/>
                    <a:pt x="24" y="196"/>
                    <a:pt x="24" y="196"/>
                  </a:cubicBezTo>
                  <a:cubicBezTo>
                    <a:pt x="24" y="196"/>
                    <a:pt x="24" y="195"/>
                    <a:pt x="24" y="195"/>
                  </a:cubicBezTo>
                  <a:cubicBezTo>
                    <a:pt x="24" y="195"/>
                    <a:pt x="23" y="195"/>
                    <a:pt x="23" y="195"/>
                  </a:cubicBezTo>
                  <a:cubicBezTo>
                    <a:pt x="23" y="195"/>
                    <a:pt x="23" y="194"/>
                    <a:pt x="23" y="194"/>
                  </a:cubicBezTo>
                  <a:cubicBezTo>
                    <a:pt x="23" y="194"/>
                    <a:pt x="23" y="194"/>
                    <a:pt x="23" y="194"/>
                  </a:cubicBezTo>
                  <a:cubicBezTo>
                    <a:pt x="23" y="194"/>
                    <a:pt x="23" y="193"/>
                    <a:pt x="23" y="193"/>
                  </a:cubicBezTo>
                  <a:cubicBezTo>
                    <a:pt x="22" y="193"/>
                    <a:pt x="22" y="193"/>
                    <a:pt x="22" y="193"/>
                  </a:cubicBezTo>
                  <a:cubicBezTo>
                    <a:pt x="22" y="193"/>
                    <a:pt x="22" y="193"/>
                    <a:pt x="22" y="192"/>
                  </a:cubicBezTo>
                  <a:cubicBezTo>
                    <a:pt x="22" y="192"/>
                    <a:pt x="22" y="192"/>
                    <a:pt x="22" y="192"/>
                  </a:cubicBezTo>
                  <a:cubicBezTo>
                    <a:pt x="22" y="192"/>
                    <a:pt x="22" y="192"/>
                    <a:pt x="22" y="192"/>
                  </a:cubicBezTo>
                  <a:cubicBezTo>
                    <a:pt x="22" y="192"/>
                    <a:pt x="22" y="192"/>
                    <a:pt x="22" y="192"/>
                  </a:cubicBezTo>
                  <a:cubicBezTo>
                    <a:pt x="22" y="191"/>
                    <a:pt x="22" y="191"/>
                    <a:pt x="22" y="191"/>
                  </a:cubicBezTo>
                  <a:cubicBezTo>
                    <a:pt x="21" y="191"/>
                    <a:pt x="21" y="191"/>
                    <a:pt x="21" y="191"/>
                  </a:cubicBezTo>
                  <a:cubicBezTo>
                    <a:pt x="21" y="190"/>
                    <a:pt x="21" y="190"/>
                    <a:pt x="21" y="190"/>
                  </a:cubicBezTo>
                  <a:cubicBezTo>
                    <a:pt x="21" y="190"/>
                    <a:pt x="21" y="190"/>
                    <a:pt x="21" y="190"/>
                  </a:cubicBezTo>
                  <a:cubicBezTo>
                    <a:pt x="21" y="189"/>
                    <a:pt x="21" y="189"/>
                    <a:pt x="21" y="189"/>
                  </a:cubicBezTo>
                  <a:cubicBezTo>
                    <a:pt x="20" y="189"/>
                    <a:pt x="20" y="189"/>
                    <a:pt x="20" y="189"/>
                  </a:cubicBezTo>
                  <a:cubicBezTo>
                    <a:pt x="20" y="189"/>
                    <a:pt x="20" y="188"/>
                    <a:pt x="20" y="188"/>
                  </a:cubicBezTo>
                  <a:cubicBezTo>
                    <a:pt x="20" y="188"/>
                    <a:pt x="20" y="188"/>
                    <a:pt x="20" y="188"/>
                  </a:cubicBezTo>
                  <a:cubicBezTo>
                    <a:pt x="20" y="188"/>
                    <a:pt x="20" y="188"/>
                    <a:pt x="20" y="187"/>
                  </a:cubicBezTo>
                  <a:cubicBezTo>
                    <a:pt x="20" y="187"/>
                    <a:pt x="20" y="187"/>
                    <a:pt x="19" y="187"/>
                  </a:cubicBezTo>
                  <a:cubicBezTo>
                    <a:pt x="19" y="187"/>
                    <a:pt x="19" y="187"/>
                    <a:pt x="19" y="187"/>
                  </a:cubicBezTo>
                  <a:cubicBezTo>
                    <a:pt x="19" y="187"/>
                    <a:pt x="19" y="187"/>
                    <a:pt x="19" y="187"/>
                  </a:cubicBezTo>
                  <a:cubicBezTo>
                    <a:pt x="19" y="186"/>
                    <a:pt x="19" y="185"/>
                    <a:pt x="18" y="185"/>
                  </a:cubicBezTo>
                  <a:cubicBezTo>
                    <a:pt x="18" y="185"/>
                    <a:pt x="18" y="185"/>
                    <a:pt x="18" y="185"/>
                  </a:cubicBezTo>
                  <a:cubicBezTo>
                    <a:pt x="18" y="184"/>
                    <a:pt x="18" y="184"/>
                    <a:pt x="18" y="184"/>
                  </a:cubicBezTo>
                  <a:cubicBezTo>
                    <a:pt x="18" y="184"/>
                    <a:pt x="18" y="184"/>
                    <a:pt x="18" y="184"/>
                  </a:cubicBezTo>
                  <a:cubicBezTo>
                    <a:pt x="17" y="183"/>
                    <a:pt x="17" y="182"/>
                    <a:pt x="17" y="181"/>
                  </a:cubicBezTo>
                  <a:cubicBezTo>
                    <a:pt x="17" y="181"/>
                    <a:pt x="17" y="181"/>
                    <a:pt x="17" y="181"/>
                  </a:cubicBezTo>
                  <a:cubicBezTo>
                    <a:pt x="17" y="181"/>
                    <a:pt x="17" y="181"/>
                    <a:pt x="17" y="181"/>
                  </a:cubicBezTo>
                  <a:cubicBezTo>
                    <a:pt x="17" y="181"/>
                    <a:pt x="16" y="181"/>
                    <a:pt x="16" y="181"/>
                  </a:cubicBezTo>
                  <a:cubicBezTo>
                    <a:pt x="16" y="181"/>
                    <a:pt x="16" y="180"/>
                    <a:pt x="16" y="180"/>
                  </a:cubicBezTo>
                  <a:cubicBezTo>
                    <a:pt x="16" y="180"/>
                    <a:pt x="16" y="180"/>
                    <a:pt x="16" y="180"/>
                  </a:cubicBezTo>
                  <a:cubicBezTo>
                    <a:pt x="16" y="180"/>
                    <a:pt x="16" y="180"/>
                    <a:pt x="16" y="179"/>
                  </a:cubicBezTo>
                  <a:cubicBezTo>
                    <a:pt x="16" y="179"/>
                    <a:pt x="16" y="179"/>
                    <a:pt x="16" y="179"/>
                  </a:cubicBezTo>
                  <a:cubicBezTo>
                    <a:pt x="16" y="179"/>
                    <a:pt x="16" y="179"/>
                    <a:pt x="16" y="179"/>
                  </a:cubicBezTo>
                  <a:cubicBezTo>
                    <a:pt x="16" y="179"/>
                    <a:pt x="15" y="179"/>
                    <a:pt x="15" y="179"/>
                  </a:cubicBezTo>
                  <a:cubicBezTo>
                    <a:pt x="15" y="178"/>
                    <a:pt x="15" y="178"/>
                    <a:pt x="15" y="178"/>
                  </a:cubicBezTo>
                  <a:cubicBezTo>
                    <a:pt x="15" y="178"/>
                    <a:pt x="15" y="178"/>
                    <a:pt x="15" y="178"/>
                  </a:cubicBezTo>
                  <a:cubicBezTo>
                    <a:pt x="15" y="178"/>
                    <a:pt x="15" y="178"/>
                    <a:pt x="15" y="177"/>
                  </a:cubicBezTo>
                  <a:cubicBezTo>
                    <a:pt x="15" y="177"/>
                    <a:pt x="15" y="177"/>
                    <a:pt x="15" y="177"/>
                  </a:cubicBezTo>
                  <a:cubicBezTo>
                    <a:pt x="15" y="177"/>
                    <a:pt x="15" y="177"/>
                    <a:pt x="15" y="177"/>
                  </a:cubicBezTo>
                  <a:cubicBezTo>
                    <a:pt x="14" y="177"/>
                    <a:pt x="14" y="177"/>
                    <a:pt x="14" y="177"/>
                  </a:cubicBezTo>
                  <a:cubicBezTo>
                    <a:pt x="14" y="176"/>
                    <a:pt x="14" y="175"/>
                    <a:pt x="14" y="175"/>
                  </a:cubicBezTo>
                  <a:cubicBezTo>
                    <a:pt x="13" y="175"/>
                    <a:pt x="13" y="175"/>
                    <a:pt x="13" y="175"/>
                  </a:cubicBezTo>
                  <a:cubicBezTo>
                    <a:pt x="13" y="174"/>
                    <a:pt x="13" y="174"/>
                    <a:pt x="13" y="173"/>
                  </a:cubicBezTo>
                  <a:cubicBezTo>
                    <a:pt x="13" y="173"/>
                    <a:pt x="13" y="173"/>
                    <a:pt x="12" y="173"/>
                  </a:cubicBezTo>
                  <a:cubicBezTo>
                    <a:pt x="12" y="173"/>
                    <a:pt x="12" y="172"/>
                    <a:pt x="12" y="172"/>
                  </a:cubicBezTo>
                  <a:cubicBezTo>
                    <a:pt x="12" y="172"/>
                    <a:pt x="12" y="172"/>
                    <a:pt x="12" y="172"/>
                  </a:cubicBezTo>
                  <a:cubicBezTo>
                    <a:pt x="12" y="171"/>
                    <a:pt x="12" y="171"/>
                    <a:pt x="12" y="171"/>
                  </a:cubicBezTo>
                  <a:cubicBezTo>
                    <a:pt x="12" y="171"/>
                    <a:pt x="12" y="171"/>
                    <a:pt x="11" y="171"/>
                  </a:cubicBezTo>
                  <a:cubicBezTo>
                    <a:pt x="11" y="171"/>
                    <a:pt x="11" y="171"/>
                    <a:pt x="11" y="170"/>
                  </a:cubicBezTo>
                  <a:cubicBezTo>
                    <a:pt x="11" y="170"/>
                    <a:pt x="11" y="170"/>
                    <a:pt x="11" y="170"/>
                  </a:cubicBezTo>
                  <a:cubicBezTo>
                    <a:pt x="11" y="170"/>
                    <a:pt x="11" y="170"/>
                    <a:pt x="11" y="170"/>
                  </a:cubicBezTo>
                  <a:cubicBezTo>
                    <a:pt x="11" y="170"/>
                    <a:pt x="11" y="170"/>
                    <a:pt x="11" y="170"/>
                  </a:cubicBezTo>
                  <a:cubicBezTo>
                    <a:pt x="11" y="169"/>
                    <a:pt x="11" y="169"/>
                    <a:pt x="11" y="169"/>
                  </a:cubicBezTo>
                  <a:cubicBezTo>
                    <a:pt x="11" y="169"/>
                    <a:pt x="10" y="169"/>
                    <a:pt x="10" y="169"/>
                  </a:cubicBezTo>
                  <a:cubicBezTo>
                    <a:pt x="10" y="169"/>
                    <a:pt x="10" y="168"/>
                    <a:pt x="10" y="168"/>
                  </a:cubicBezTo>
                  <a:cubicBezTo>
                    <a:pt x="10" y="168"/>
                    <a:pt x="10" y="168"/>
                    <a:pt x="10" y="168"/>
                  </a:cubicBezTo>
                  <a:cubicBezTo>
                    <a:pt x="10" y="168"/>
                    <a:pt x="10" y="167"/>
                    <a:pt x="9" y="166"/>
                  </a:cubicBezTo>
                  <a:cubicBezTo>
                    <a:pt x="9" y="166"/>
                    <a:pt x="9" y="166"/>
                    <a:pt x="9" y="166"/>
                  </a:cubicBezTo>
                  <a:cubicBezTo>
                    <a:pt x="9" y="165"/>
                    <a:pt x="8" y="164"/>
                    <a:pt x="8" y="162"/>
                  </a:cubicBezTo>
                  <a:cubicBezTo>
                    <a:pt x="7" y="162"/>
                    <a:pt x="7" y="162"/>
                    <a:pt x="7" y="162"/>
                  </a:cubicBezTo>
                  <a:cubicBezTo>
                    <a:pt x="7" y="162"/>
                    <a:pt x="7" y="161"/>
                    <a:pt x="7" y="161"/>
                  </a:cubicBezTo>
                  <a:cubicBezTo>
                    <a:pt x="7" y="161"/>
                    <a:pt x="7" y="161"/>
                    <a:pt x="7" y="161"/>
                  </a:cubicBezTo>
                  <a:cubicBezTo>
                    <a:pt x="7" y="161"/>
                    <a:pt x="7" y="160"/>
                    <a:pt x="7" y="160"/>
                  </a:cubicBezTo>
                  <a:cubicBezTo>
                    <a:pt x="6" y="160"/>
                    <a:pt x="6" y="160"/>
                    <a:pt x="6" y="160"/>
                  </a:cubicBezTo>
                  <a:cubicBezTo>
                    <a:pt x="6" y="160"/>
                    <a:pt x="6" y="160"/>
                    <a:pt x="6" y="159"/>
                  </a:cubicBezTo>
                  <a:cubicBezTo>
                    <a:pt x="6" y="159"/>
                    <a:pt x="6" y="159"/>
                    <a:pt x="6" y="159"/>
                  </a:cubicBezTo>
                  <a:cubicBezTo>
                    <a:pt x="6" y="159"/>
                    <a:pt x="6" y="159"/>
                    <a:pt x="6" y="159"/>
                  </a:cubicBezTo>
                  <a:cubicBezTo>
                    <a:pt x="6" y="159"/>
                    <a:pt x="6" y="159"/>
                    <a:pt x="5" y="159"/>
                  </a:cubicBezTo>
                  <a:cubicBezTo>
                    <a:pt x="5" y="159"/>
                    <a:pt x="5" y="158"/>
                    <a:pt x="5" y="158"/>
                  </a:cubicBezTo>
                  <a:cubicBezTo>
                    <a:pt x="5" y="158"/>
                    <a:pt x="5" y="158"/>
                    <a:pt x="5" y="158"/>
                  </a:cubicBezTo>
                  <a:cubicBezTo>
                    <a:pt x="5" y="158"/>
                    <a:pt x="5" y="157"/>
                    <a:pt x="5" y="157"/>
                  </a:cubicBezTo>
                  <a:cubicBezTo>
                    <a:pt x="5" y="157"/>
                    <a:pt x="5" y="157"/>
                    <a:pt x="4" y="157"/>
                  </a:cubicBezTo>
                  <a:cubicBezTo>
                    <a:pt x="4" y="156"/>
                    <a:pt x="4" y="156"/>
                    <a:pt x="4" y="156"/>
                  </a:cubicBezTo>
                  <a:cubicBezTo>
                    <a:pt x="4" y="156"/>
                    <a:pt x="4" y="156"/>
                    <a:pt x="4" y="156"/>
                  </a:cubicBezTo>
                  <a:cubicBezTo>
                    <a:pt x="3" y="152"/>
                    <a:pt x="3" y="148"/>
                    <a:pt x="2" y="143"/>
                  </a:cubicBezTo>
                  <a:cubicBezTo>
                    <a:pt x="2" y="143"/>
                    <a:pt x="2" y="143"/>
                    <a:pt x="2" y="143"/>
                  </a:cubicBezTo>
                  <a:cubicBezTo>
                    <a:pt x="2" y="143"/>
                    <a:pt x="2" y="142"/>
                    <a:pt x="2" y="141"/>
                  </a:cubicBezTo>
                  <a:cubicBezTo>
                    <a:pt x="1" y="140"/>
                    <a:pt x="1" y="139"/>
                    <a:pt x="1" y="138"/>
                  </a:cubicBezTo>
                  <a:cubicBezTo>
                    <a:pt x="1" y="138"/>
                    <a:pt x="1" y="138"/>
                    <a:pt x="1" y="138"/>
                  </a:cubicBezTo>
                  <a:cubicBezTo>
                    <a:pt x="0" y="137"/>
                    <a:pt x="1" y="138"/>
                    <a:pt x="1" y="137"/>
                  </a:cubicBezTo>
                  <a:cubicBezTo>
                    <a:pt x="3" y="135"/>
                    <a:pt x="5" y="133"/>
                    <a:pt x="7" y="131"/>
                  </a:cubicBezTo>
                  <a:cubicBezTo>
                    <a:pt x="7" y="130"/>
                    <a:pt x="8" y="130"/>
                    <a:pt x="9" y="129"/>
                  </a:cubicBezTo>
                  <a:cubicBezTo>
                    <a:pt x="9" y="129"/>
                    <a:pt x="9" y="129"/>
                    <a:pt x="9" y="128"/>
                  </a:cubicBezTo>
                  <a:cubicBezTo>
                    <a:pt x="10" y="128"/>
                    <a:pt x="10" y="127"/>
                    <a:pt x="11" y="126"/>
                  </a:cubicBezTo>
                  <a:cubicBezTo>
                    <a:pt x="11" y="126"/>
                    <a:pt x="11" y="125"/>
                    <a:pt x="11" y="125"/>
                  </a:cubicBezTo>
                  <a:cubicBezTo>
                    <a:pt x="12" y="125"/>
                    <a:pt x="12" y="124"/>
                    <a:pt x="13" y="124"/>
                  </a:cubicBezTo>
                  <a:cubicBezTo>
                    <a:pt x="13" y="124"/>
                    <a:pt x="13" y="124"/>
                    <a:pt x="13" y="124"/>
                  </a:cubicBezTo>
                  <a:cubicBezTo>
                    <a:pt x="13" y="124"/>
                    <a:pt x="13" y="124"/>
                    <a:pt x="14" y="124"/>
                  </a:cubicBezTo>
                  <a:cubicBezTo>
                    <a:pt x="14" y="124"/>
                    <a:pt x="14" y="124"/>
                    <a:pt x="14" y="123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4" y="123"/>
                    <a:pt x="15" y="123"/>
                    <a:pt x="15" y="123"/>
                  </a:cubicBezTo>
                  <a:cubicBezTo>
                    <a:pt x="15" y="123"/>
                    <a:pt x="15" y="123"/>
                    <a:pt x="15" y="123"/>
                  </a:cubicBezTo>
                  <a:cubicBezTo>
                    <a:pt x="15" y="123"/>
                    <a:pt x="15" y="123"/>
                    <a:pt x="16" y="123"/>
                  </a:cubicBezTo>
                  <a:cubicBezTo>
                    <a:pt x="16" y="123"/>
                    <a:pt x="16" y="123"/>
                    <a:pt x="16" y="122"/>
                  </a:cubicBezTo>
                  <a:cubicBezTo>
                    <a:pt x="16" y="122"/>
                    <a:pt x="16" y="122"/>
                    <a:pt x="16" y="122"/>
                  </a:cubicBezTo>
                  <a:cubicBezTo>
                    <a:pt x="16" y="122"/>
                    <a:pt x="16" y="122"/>
                    <a:pt x="16" y="122"/>
                  </a:cubicBezTo>
                  <a:cubicBezTo>
                    <a:pt x="17" y="122"/>
                    <a:pt x="18" y="122"/>
                    <a:pt x="18" y="121"/>
                  </a:cubicBezTo>
                  <a:cubicBezTo>
                    <a:pt x="18" y="121"/>
                    <a:pt x="18" y="121"/>
                    <a:pt x="18" y="121"/>
                  </a:cubicBezTo>
                  <a:cubicBezTo>
                    <a:pt x="19" y="121"/>
                    <a:pt x="19" y="121"/>
                    <a:pt x="20" y="121"/>
                  </a:cubicBezTo>
                  <a:cubicBezTo>
                    <a:pt x="20" y="121"/>
                    <a:pt x="20" y="120"/>
                    <a:pt x="20" y="120"/>
                  </a:cubicBezTo>
                  <a:cubicBezTo>
                    <a:pt x="20" y="120"/>
                    <a:pt x="21" y="120"/>
                    <a:pt x="21" y="120"/>
                  </a:cubicBezTo>
                  <a:cubicBezTo>
                    <a:pt x="21" y="120"/>
                    <a:pt x="21" y="120"/>
                    <a:pt x="21" y="120"/>
                  </a:cubicBezTo>
                  <a:cubicBezTo>
                    <a:pt x="21" y="120"/>
                    <a:pt x="22" y="120"/>
                    <a:pt x="22" y="120"/>
                  </a:cubicBezTo>
                  <a:cubicBezTo>
                    <a:pt x="22" y="119"/>
                    <a:pt x="22" y="119"/>
                    <a:pt x="22" y="119"/>
                  </a:cubicBezTo>
                  <a:cubicBezTo>
                    <a:pt x="22" y="119"/>
                    <a:pt x="22" y="119"/>
                    <a:pt x="23" y="119"/>
                  </a:cubicBezTo>
                  <a:cubicBezTo>
                    <a:pt x="23" y="119"/>
                    <a:pt x="23" y="119"/>
                    <a:pt x="23" y="119"/>
                  </a:cubicBezTo>
                  <a:cubicBezTo>
                    <a:pt x="23" y="119"/>
                    <a:pt x="23" y="119"/>
                    <a:pt x="23" y="119"/>
                  </a:cubicBezTo>
                  <a:cubicBezTo>
                    <a:pt x="23" y="119"/>
                    <a:pt x="23" y="119"/>
                    <a:pt x="23" y="119"/>
                  </a:cubicBezTo>
                  <a:cubicBezTo>
                    <a:pt x="24" y="119"/>
                    <a:pt x="24" y="119"/>
                    <a:pt x="24" y="119"/>
                  </a:cubicBezTo>
                  <a:cubicBezTo>
                    <a:pt x="24" y="118"/>
                    <a:pt x="24" y="118"/>
                    <a:pt x="24" y="118"/>
                  </a:cubicBezTo>
                  <a:cubicBezTo>
                    <a:pt x="24" y="118"/>
                    <a:pt x="24" y="118"/>
                    <a:pt x="25" y="118"/>
                  </a:cubicBezTo>
                  <a:cubicBezTo>
                    <a:pt x="25" y="118"/>
                    <a:pt x="25" y="118"/>
                    <a:pt x="25" y="118"/>
                  </a:cubicBezTo>
                  <a:cubicBezTo>
                    <a:pt x="25" y="118"/>
                    <a:pt x="25" y="118"/>
                    <a:pt x="25" y="118"/>
                  </a:cubicBezTo>
                  <a:cubicBezTo>
                    <a:pt x="25" y="118"/>
                    <a:pt x="25" y="118"/>
                    <a:pt x="25" y="117"/>
                  </a:cubicBezTo>
                  <a:cubicBezTo>
                    <a:pt x="26" y="117"/>
                    <a:pt x="26" y="117"/>
                    <a:pt x="26" y="117"/>
                  </a:cubicBezTo>
                  <a:cubicBezTo>
                    <a:pt x="26" y="117"/>
                    <a:pt x="26" y="117"/>
                    <a:pt x="26" y="117"/>
                  </a:cubicBezTo>
                  <a:cubicBezTo>
                    <a:pt x="26" y="117"/>
                    <a:pt x="27" y="117"/>
                    <a:pt x="27" y="117"/>
                  </a:cubicBezTo>
                  <a:cubicBezTo>
                    <a:pt x="27" y="117"/>
                    <a:pt x="27" y="117"/>
                    <a:pt x="27" y="117"/>
                  </a:cubicBezTo>
                  <a:cubicBezTo>
                    <a:pt x="28" y="117"/>
                    <a:pt x="28" y="116"/>
                    <a:pt x="29" y="116"/>
                  </a:cubicBezTo>
                  <a:cubicBezTo>
                    <a:pt x="29" y="116"/>
                    <a:pt x="29" y="116"/>
                    <a:pt x="29" y="116"/>
                  </a:cubicBezTo>
                  <a:cubicBezTo>
                    <a:pt x="29" y="116"/>
                    <a:pt x="30" y="116"/>
                    <a:pt x="30" y="115"/>
                  </a:cubicBezTo>
                  <a:cubicBezTo>
                    <a:pt x="30" y="115"/>
                    <a:pt x="30" y="115"/>
                    <a:pt x="30" y="115"/>
                  </a:cubicBezTo>
                  <a:cubicBezTo>
                    <a:pt x="31" y="115"/>
                    <a:pt x="31" y="115"/>
                    <a:pt x="32" y="115"/>
                  </a:cubicBezTo>
                  <a:cubicBezTo>
                    <a:pt x="32" y="115"/>
                    <a:pt x="32" y="114"/>
                    <a:pt x="32" y="114"/>
                  </a:cubicBezTo>
                  <a:cubicBezTo>
                    <a:pt x="32" y="114"/>
                    <a:pt x="32" y="114"/>
                    <a:pt x="32" y="114"/>
                  </a:cubicBezTo>
                  <a:cubicBezTo>
                    <a:pt x="32" y="114"/>
                    <a:pt x="32" y="114"/>
                    <a:pt x="32" y="114"/>
                  </a:cubicBezTo>
                  <a:cubicBezTo>
                    <a:pt x="33" y="114"/>
                    <a:pt x="33" y="114"/>
                    <a:pt x="33" y="114"/>
                  </a:cubicBezTo>
                  <a:cubicBezTo>
                    <a:pt x="33" y="114"/>
                    <a:pt x="33" y="114"/>
                    <a:pt x="33" y="114"/>
                  </a:cubicBezTo>
                  <a:cubicBezTo>
                    <a:pt x="33" y="114"/>
                    <a:pt x="34" y="114"/>
                    <a:pt x="34" y="114"/>
                  </a:cubicBezTo>
                  <a:cubicBezTo>
                    <a:pt x="34" y="114"/>
                    <a:pt x="34" y="113"/>
                    <a:pt x="34" y="113"/>
                  </a:cubicBezTo>
                  <a:cubicBezTo>
                    <a:pt x="34" y="113"/>
                    <a:pt x="34" y="113"/>
                    <a:pt x="35" y="113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35" y="113"/>
                    <a:pt x="36" y="113"/>
                    <a:pt x="36" y="113"/>
                  </a:cubicBezTo>
                  <a:cubicBezTo>
                    <a:pt x="37" y="112"/>
                    <a:pt x="38" y="111"/>
                    <a:pt x="39" y="111"/>
                  </a:cubicBezTo>
                  <a:cubicBezTo>
                    <a:pt x="39" y="110"/>
                    <a:pt x="39" y="110"/>
                    <a:pt x="39" y="110"/>
                  </a:cubicBezTo>
                  <a:cubicBezTo>
                    <a:pt x="40" y="110"/>
                    <a:pt x="40" y="109"/>
                    <a:pt x="40" y="109"/>
                  </a:cubicBezTo>
                  <a:cubicBezTo>
                    <a:pt x="40" y="109"/>
                    <a:pt x="40" y="109"/>
                    <a:pt x="40" y="108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2" y="107"/>
                    <a:pt x="42" y="107"/>
                    <a:pt x="43" y="106"/>
                  </a:cubicBezTo>
                  <a:cubicBezTo>
                    <a:pt x="43" y="106"/>
                    <a:pt x="43" y="106"/>
                    <a:pt x="43" y="106"/>
                  </a:cubicBezTo>
                  <a:cubicBezTo>
                    <a:pt x="43" y="105"/>
                    <a:pt x="43" y="105"/>
                    <a:pt x="44" y="105"/>
                  </a:cubicBezTo>
                  <a:cubicBezTo>
                    <a:pt x="44" y="105"/>
                    <a:pt x="44" y="104"/>
                    <a:pt x="44" y="104"/>
                  </a:cubicBezTo>
                  <a:cubicBezTo>
                    <a:pt x="44" y="104"/>
                    <a:pt x="44" y="104"/>
                    <a:pt x="45" y="104"/>
                  </a:cubicBezTo>
                  <a:cubicBezTo>
                    <a:pt x="45" y="103"/>
                    <a:pt x="45" y="103"/>
                    <a:pt x="45" y="103"/>
                  </a:cubicBezTo>
                  <a:cubicBezTo>
                    <a:pt x="45" y="103"/>
                    <a:pt x="45" y="102"/>
                    <a:pt x="46" y="102"/>
                  </a:cubicBezTo>
                  <a:cubicBezTo>
                    <a:pt x="46" y="102"/>
                    <a:pt x="46" y="102"/>
                    <a:pt x="46" y="101"/>
                  </a:cubicBezTo>
                  <a:cubicBezTo>
                    <a:pt x="46" y="101"/>
                    <a:pt x="46" y="101"/>
                    <a:pt x="47" y="101"/>
                  </a:cubicBezTo>
                  <a:cubicBezTo>
                    <a:pt x="47" y="100"/>
                    <a:pt x="47" y="100"/>
                    <a:pt x="47" y="100"/>
                  </a:cubicBezTo>
                  <a:cubicBezTo>
                    <a:pt x="47" y="100"/>
                    <a:pt x="47" y="100"/>
                    <a:pt x="48" y="99"/>
                  </a:cubicBezTo>
                  <a:cubicBezTo>
                    <a:pt x="48" y="99"/>
                    <a:pt x="48" y="99"/>
                    <a:pt x="48" y="99"/>
                  </a:cubicBezTo>
                  <a:cubicBezTo>
                    <a:pt x="48" y="98"/>
                    <a:pt x="48" y="98"/>
                    <a:pt x="49" y="98"/>
                  </a:cubicBezTo>
                  <a:cubicBezTo>
                    <a:pt x="49" y="98"/>
                    <a:pt x="49" y="97"/>
                    <a:pt x="49" y="97"/>
                  </a:cubicBezTo>
                  <a:cubicBezTo>
                    <a:pt x="49" y="97"/>
                    <a:pt x="50" y="97"/>
                    <a:pt x="50" y="97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50" y="96"/>
                    <a:pt x="51" y="95"/>
                    <a:pt x="51" y="95"/>
                  </a:cubicBezTo>
                  <a:cubicBezTo>
                    <a:pt x="51" y="95"/>
                    <a:pt x="51" y="95"/>
                    <a:pt x="51" y="94"/>
                  </a:cubicBezTo>
                  <a:cubicBezTo>
                    <a:pt x="51" y="94"/>
                    <a:pt x="52" y="94"/>
                    <a:pt x="52" y="94"/>
                  </a:cubicBezTo>
                  <a:cubicBezTo>
                    <a:pt x="52" y="94"/>
                    <a:pt x="52" y="93"/>
                    <a:pt x="52" y="93"/>
                  </a:cubicBezTo>
                  <a:cubicBezTo>
                    <a:pt x="53" y="93"/>
                    <a:pt x="54" y="93"/>
                    <a:pt x="54" y="93"/>
                  </a:cubicBezTo>
                  <a:cubicBezTo>
                    <a:pt x="55" y="93"/>
                    <a:pt x="57" y="93"/>
                    <a:pt x="58" y="93"/>
                  </a:cubicBezTo>
                  <a:cubicBezTo>
                    <a:pt x="58" y="93"/>
                    <a:pt x="58" y="93"/>
                    <a:pt x="58" y="93"/>
                  </a:cubicBezTo>
                  <a:cubicBezTo>
                    <a:pt x="60" y="93"/>
                    <a:pt x="61" y="93"/>
                    <a:pt x="62" y="93"/>
                  </a:cubicBezTo>
                  <a:cubicBezTo>
                    <a:pt x="62" y="93"/>
                    <a:pt x="62" y="92"/>
                    <a:pt x="62" y="92"/>
                  </a:cubicBezTo>
                  <a:cubicBezTo>
                    <a:pt x="63" y="92"/>
                    <a:pt x="65" y="92"/>
                    <a:pt x="66" y="92"/>
                  </a:cubicBezTo>
                  <a:cubicBezTo>
                    <a:pt x="66" y="92"/>
                    <a:pt x="66" y="92"/>
                    <a:pt x="66" y="92"/>
                  </a:cubicBezTo>
                  <a:cubicBezTo>
                    <a:pt x="67" y="92"/>
                    <a:pt x="69" y="92"/>
                    <a:pt x="70" y="92"/>
                  </a:cubicBezTo>
                  <a:cubicBezTo>
                    <a:pt x="70" y="92"/>
                    <a:pt x="70" y="92"/>
                    <a:pt x="70" y="92"/>
                  </a:cubicBezTo>
                  <a:cubicBezTo>
                    <a:pt x="71" y="92"/>
                    <a:pt x="72" y="92"/>
                    <a:pt x="74" y="92"/>
                  </a:cubicBezTo>
                  <a:cubicBezTo>
                    <a:pt x="74" y="91"/>
                    <a:pt x="74" y="91"/>
                    <a:pt x="74" y="91"/>
                  </a:cubicBezTo>
                  <a:cubicBezTo>
                    <a:pt x="74" y="91"/>
                    <a:pt x="75" y="91"/>
                    <a:pt x="76" y="91"/>
                  </a:cubicBezTo>
                  <a:cubicBezTo>
                    <a:pt x="76" y="91"/>
                    <a:pt x="76" y="91"/>
                    <a:pt x="76" y="91"/>
                  </a:cubicBezTo>
                  <a:cubicBezTo>
                    <a:pt x="77" y="91"/>
                    <a:pt x="77" y="91"/>
                    <a:pt x="77" y="91"/>
                  </a:cubicBezTo>
                  <a:cubicBezTo>
                    <a:pt x="77" y="90"/>
                    <a:pt x="77" y="90"/>
                    <a:pt x="77" y="90"/>
                  </a:cubicBezTo>
                  <a:cubicBezTo>
                    <a:pt x="77" y="90"/>
                    <a:pt x="78" y="90"/>
                    <a:pt x="78" y="90"/>
                  </a:cubicBezTo>
                  <a:cubicBezTo>
                    <a:pt x="78" y="90"/>
                    <a:pt x="78" y="90"/>
                    <a:pt x="78" y="90"/>
                  </a:cubicBezTo>
                  <a:cubicBezTo>
                    <a:pt x="78" y="90"/>
                    <a:pt x="78" y="90"/>
                    <a:pt x="79" y="90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9" y="89"/>
                    <a:pt x="79" y="89"/>
                    <a:pt x="79" y="89"/>
                  </a:cubicBezTo>
                  <a:cubicBezTo>
                    <a:pt x="80" y="89"/>
                    <a:pt x="80" y="89"/>
                    <a:pt x="80" y="89"/>
                  </a:cubicBezTo>
                  <a:cubicBezTo>
                    <a:pt x="80" y="89"/>
                    <a:pt x="80" y="89"/>
                    <a:pt x="80" y="89"/>
                  </a:cubicBezTo>
                  <a:cubicBezTo>
                    <a:pt x="80" y="89"/>
                    <a:pt x="80" y="89"/>
                    <a:pt x="81" y="89"/>
                  </a:cubicBezTo>
                  <a:cubicBezTo>
                    <a:pt x="81" y="89"/>
                    <a:pt x="81" y="89"/>
                    <a:pt x="81" y="88"/>
                  </a:cubicBezTo>
                  <a:cubicBezTo>
                    <a:pt x="81" y="88"/>
                    <a:pt x="81" y="88"/>
                    <a:pt x="81" y="88"/>
                  </a:cubicBezTo>
                  <a:cubicBezTo>
                    <a:pt x="81" y="88"/>
                    <a:pt x="82" y="88"/>
                    <a:pt x="82" y="88"/>
                  </a:cubicBezTo>
                  <a:cubicBezTo>
                    <a:pt x="82" y="88"/>
                    <a:pt x="83" y="88"/>
                    <a:pt x="83" y="87"/>
                  </a:cubicBezTo>
                  <a:cubicBezTo>
                    <a:pt x="83" y="87"/>
                    <a:pt x="83" y="87"/>
                    <a:pt x="83" y="87"/>
                  </a:cubicBezTo>
                  <a:cubicBezTo>
                    <a:pt x="83" y="87"/>
                    <a:pt x="84" y="87"/>
                    <a:pt x="84" y="87"/>
                  </a:cubicBezTo>
                  <a:cubicBezTo>
                    <a:pt x="84" y="87"/>
                    <a:pt x="84" y="87"/>
                    <a:pt x="84" y="87"/>
                  </a:cubicBezTo>
                  <a:cubicBezTo>
                    <a:pt x="84" y="87"/>
                    <a:pt x="84" y="87"/>
                    <a:pt x="85" y="87"/>
                  </a:cubicBezTo>
                  <a:cubicBezTo>
                    <a:pt x="85" y="87"/>
                    <a:pt x="85" y="86"/>
                    <a:pt x="85" y="86"/>
                  </a:cubicBezTo>
                  <a:cubicBezTo>
                    <a:pt x="85" y="86"/>
                    <a:pt x="85" y="86"/>
                    <a:pt x="85" y="86"/>
                  </a:cubicBezTo>
                  <a:cubicBezTo>
                    <a:pt x="85" y="86"/>
                    <a:pt x="85" y="86"/>
                    <a:pt x="85" y="86"/>
                  </a:cubicBezTo>
                  <a:cubicBezTo>
                    <a:pt x="85" y="86"/>
                    <a:pt x="86" y="86"/>
                    <a:pt x="86" y="86"/>
                  </a:cubicBezTo>
                  <a:cubicBezTo>
                    <a:pt x="86" y="86"/>
                    <a:pt x="86" y="86"/>
                    <a:pt x="86" y="86"/>
                  </a:cubicBezTo>
                  <a:cubicBezTo>
                    <a:pt x="88" y="85"/>
                    <a:pt x="89" y="84"/>
                    <a:pt x="91" y="83"/>
                  </a:cubicBezTo>
                  <a:cubicBezTo>
                    <a:pt x="91" y="77"/>
                    <a:pt x="91" y="71"/>
                    <a:pt x="91" y="65"/>
                  </a:cubicBezTo>
                  <a:cubicBezTo>
                    <a:pt x="94" y="65"/>
                    <a:pt x="96" y="64"/>
                    <a:pt x="98" y="63"/>
                  </a:cubicBezTo>
                  <a:cubicBezTo>
                    <a:pt x="99" y="63"/>
                    <a:pt x="100" y="63"/>
                    <a:pt x="100" y="63"/>
                  </a:cubicBezTo>
                  <a:cubicBezTo>
                    <a:pt x="104" y="62"/>
                    <a:pt x="109" y="62"/>
                    <a:pt x="113" y="60"/>
                  </a:cubicBezTo>
                  <a:cubicBezTo>
                    <a:pt x="114" y="60"/>
                    <a:pt x="114" y="60"/>
                    <a:pt x="115" y="60"/>
                  </a:cubicBezTo>
                  <a:cubicBezTo>
                    <a:pt x="115" y="60"/>
                    <a:pt x="115" y="60"/>
                    <a:pt x="115" y="60"/>
                  </a:cubicBezTo>
                  <a:cubicBezTo>
                    <a:pt x="116" y="60"/>
                    <a:pt x="116" y="60"/>
                    <a:pt x="117" y="60"/>
                  </a:cubicBezTo>
                  <a:cubicBezTo>
                    <a:pt x="117" y="60"/>
                    <a:pt x="117" y="60"/>
                    <a:pt x="117" y="60"/>
                  </a:cubicBezTo>
                  <a:cubicBezTo>
                    <a:pt x="119" y="60"/>
                    <a:pt x="120" y="60"/>
                    <a:pt x="122" y="60"/>
                  </a:cubicBezTo>
                  <a:cubicBezTo>
                    <a:pt x="122" y="60"/>
                    <a:pt x="122" y="60"/>
                    <a:pt x="122" y="59"/>
                  </a:cubicBezTo>
                  <a:cubicBezTo>
                    <a:pt x="123" y="59"/>
                    <a:pt x="125" y="59"/>
                    <a:pt x="126" y="59"/>
                  </a:cubicBezTo>
                  <a:cubicBezTo>
                    <a:pt x="126" y="59"/>
                    <a:pt x="126" y="59"/>
                    <a:pt x="126" y="59"/>
                  </a:cubicBezTo>
                  <a:cubicBezTo>
                    <a:pt x="128" y="59"/>
                    <a:pt x="130" y="59"/>
                    <a:pt x="131" y="59"/>
                  </a:cubicBezTo>
                  <a:cubicBezTo>
                    <a:pt x="131" y="59"/>
                    <a:pt x="131" y="59"/>
                    <a:pt x="131" y="59"/>
                  </a:cubicBezTo>
                  <a:cubicBezTo>
                    <a:pt x="131" y="59"/>
                    <a:pt x="132" y="59"/>
                    <a:pt x="132" y="59"/>
                  </a:cubicBezTo>
                  <a:cubicBezTo>
                    <a:pt x="133" y="59"/>
                    <a:pt x="134" y="59"/>
                    <a:pt x="136" y="59"/>
                  </a:cubicBezTo>
                  <a:cubicBezTo>
                    <a:pt x="136" y="59"/>
                    <a:pt x="136" y="59"/>
                    <a:pt x="136" y="58"/>
                  </a:cubicBezTo>
                  <a:cubicBezTo>
                    <a:pt x="137" y="58"/>
                    <a:pt x="139" y="58"/>
                    <a:pt x="140" y="58"/>
                  </a:cubicBezTo>
                  <a:cubicBezTo>
                    <a:pt x="140" y="58"/>
                    <a:pt x="140" y="58"/>
                    <a:pt x="140" y="58"/>
                  </a:cubicBezTo>
                  <a:cubicBezTo>
                    <a:pt x="143" y="58"/>
                    <a:pt x="146" y="58"/>
                    <a:pt x="149" y="58"/>
                  </a:cubicBezTo>
                  <a:cubicBezTo>
                    <a:pt x="149" y="57"/>
                    <a:pt x="150" y="56"/>
                    <a:pt x="150" y="56"/>
                  </a:cubicBezTo>
                  <a:cubicBezTo>
                    <a:pt x="151" y="55"/>
                    <a:pt x="151" y="55"/>
                    <a:pt x="151" y="55"/>
                  </a:cubicBezTo>
                  <a:cubicBezTo>
                    <a:pt x="151" y="55"/>
                    <a:pt x="151" y="54"/>
                    <a:pt x="151" y="54"/>
                  </a:cubicBezTo>
                  <a:cubicBezTo>
                    <a:pt x="152" y="54"/>
                    <a:pt x="152" y="53"/>
                    <a:pt x="153" y="53"/>
                  </a:cubicBezTo>
                  <a:cubicBezTo>
                    <a:pt x="153" y="53"/>
                    <a:pt x="153" y="52"/>
                    <a:pt x="153" y="52"/>
                  </a:cubicBezTo>
                  <a:cubicBezTo>
                    <a:pt x="154" y="51"/>
                    <a:pt x="154" y="52"/>
                    <a:pt x="155" y="50"/>
                  </a:cubicBezTo>
                  <a:cubicBezTo>
                    <a:pt x="153" y="49"/>
                    <a:pt x="153" y="46"/>
                    <a:pt x="152" y="43"/>
                  </a:cubicBezTo>
                  <a:cubicBezTo>
                    <a:pt x="152" y="43"/>
                    <a:pt x="152" y="43"/>
                    <a:pt x="152" y="43"/>
                  </a:cubicBezTo>
                  <a:cubicBezTo>
                    <a:pt x="152" y="43"/>
                    <a:pt x="152" y="42"/>
                    <a:pt x="152" y="42"/>
                  </a:cubicBezTo>
                  <a:cubicBezTo>
                    <a:pt x="152" y="42"/>
                    <a:pt x="152" y="42"/>
                    <a:pt x="152" y="42"/>
                  </a:cubicBezTo>
                  <a:cubicBezTo>
                    <a:pt x="152" y="41"/>
                    <a:pt x="152" y="41"/>
                    <a:pt x="152" y="40"/>
                  </a:cubicBezTo>
                  <a:cubicBezTo>
                    <a:pt x="150" y="37"/>
                    <a:pt x="150" y="32"/>
                    <a:pt x="149" y="29"/>
                  </a:cubicBezTo>
                  <a:cubicBezTo>
                    <a:pt x="148" y="25"/>
                    <a:pt x="148" y="22"/>
                    <a:pt x="147" y="19"/>
                  </a:cubicBezTo>
                  <a:cubicBezTo>
                    <a:pt x="147" y="19"/>
                    <a:pt x="147" y="19"/>
                    <a:pt x="147" y="19"/>
                  </a:cubicBezTo>
                  <a:cubicBezTo>
                    <a:pt x="147" y="18"/>
                    <a:pt x="147" y="17"/>
                    <a:pt x="147" y="16"/>
                  </a:cubicBezTo>
                  <a:cubicBezTo>
                    <a:pt x="147" y="16"/>
                    <a:pt x="147" y="16"/>
                    <a:pt x="147" y="16"/>
                  </a:cubicBezTo>
                  <a:cubicBezTo>
                    <a:pt x="147" y="16"/>
                    <a:pt x="147" y="15"/>
                    <a:pt x="147" y="14"/>
                  </a:cubicBezTo>
                  <a:cubicBezTo>
                    <a:pt x="146" y="12"/>
                    <a:pt x="146" y="10"/>
                    <a:pt x="146" y="7"/>
                  </a:cubicBezTo>
                  <a:cubicBezTo>
                    <a:pt x="148" y="7"/>
                    <a:pt x="149" y="6"/>
                    <a:pt x="151" y="5"/>
                  </a:cubicBezTo>
                  <a:cubicBezTo>
                    <a:pt x="152" y="5"/>
                    <a:pt x="152" y="5"/>
                    <a:pt x="153" y="5"/>
                  </a:cubicBezTo>
                  <a:cubicBezTo>
                    <a:pt x="153" y="5"/>
                    <a:pt x="153" y="5"/>
                    <a:pt x="153" y="5"/>
                  </a:cubicBezTo>
                  <a:cubicBezTo>
                    <a:pt x="153" y="5"/>
                    <a:pt x="154" y="5"/>
                    <a:pt x="154" y="5"/>
                  </a:cubicBezTo>
                  <a:cubicBezTo>
                    <a:pt x="154" y="4"/>
                    <a:pt x="154" y="4"/>
                    <a:pt x="154" y="4"/>
                  </a:cubicBezTo>
                  <a:cubicBezTo>
                    <a:pt x="154" y="4"/>
                    <a:pt x="155" y="4"/>
                    <a:pt x="156" y="4"/>
                  </a:cubicBezTo>
                  <a:cubicBezTo>
                    <a:pt x="156" y="4"/>
                    <a:pt x="156" y="4"/>
                    <a:pt x="156" y="3"/>
                  </a:cubicBezTo>
                  <a:cubicBezTo>
                    <a:pt x="156" y="3"/>
                    <a:pt x="156" y="3"/>
                    <a:pt x="157" y="3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7" y="3"/>
                    <a:pt x="157" y="3"/>
                    <a:pt x="158" y="3"/>
                  </a:cubicBezTo>
                  <a:cubicBezTo>
                    <a:pt x="158" y="3"/>
                    <a:pt x="158" y="3"/>
                    <a:pt x="158" y="3"/>
                  </a:cubicBezTo>
                  <a:cubicBezTo>
                    <a:pt x="158" y="3"/>
                    <a:pt x="158" y="3"/>
                    <a:pt x="159" y="3"/>
                  </a:cubicBezTo>
                  <a:cubicBezTo>
                    <a:pt x="159" y="3"/>
                    <a:pt x="159" y="3"/>
                    <a:pt x="159" y="2"/>
                  </a:cubicBezTo>
                  <a:cubicBezTo>
                    <a:pt x="159" y="2"/>
                    <a:pt x="159" y="2"/>
                    <a:pt x="159" y="2"/>
                  </a:cubicBezTo>
                  <a:cubicBezTo>
                    <a:pt x="159" y="2"/>
                    <a:pt x="159" y="2"/>
                    <a:pt x="159" y="2"/>
                  </a:cubicBezTo>
                  <a:cubicBezTo>
                    <a:pt x="160" y="2"/>
                    <a:pt x="161" y="2"/>
                    <a:pt x="161" y="2"/>
                  </a:cubicBezTo>
                  <a:cubicBezTo>
                    <a:pt x="161" y="2"/>
                    <a:pt x="161" y="2"/>
                    <a:pt x="161" y="1"/>
                  </a:cubicBezTo>
                  <a:cubicBezTo>
                    <a:pt x="162" y="1"/>
                    <a:pt x="162" y="1"/>
                    <a:pt x="162" y="1"/>
                  </a:cubicBezTo>
                  <a:cubicBezTo>
                    <a:pt x="162" y="1"/>
                    <a:pt x="162" y="1"/>
                    <a:pt x="162" y="1"/>
                  </a:cubicBezTo>
                  <a:cubicBezTo>
                    <a:pt x="163" y="1"/>
                    <a:pt x="164" y="1"/>
                    <a:pt x="164" y="1"/>
                  </a:cubicBezTo>
                  <a:cubicBezTo>
                    <a:pt x="164" y="1"/>
                    <a:pt x="164" y="0"/>
                    <a:pt x="164" y="0"/>
                  </a:cubicBezTo>
                  <a:cubicBezTo>
                    <a:pt x="164" y="0"/>
                    <a:pt x="165" y="0"/>
                    <a:pt x="165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65" y="0"/>
                    <a:pt x="166" y="0"/>
                    <a:pt x="166" y="0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76" y="0"/>
                    <a:pt x="187" y="0"/>
                    <a:pt x="197" y="0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</a:ln>
            <a:effectLst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64800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4000" b="1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0000"/>
                </a:solidFill>
                <a:latin typeface="UKIJ Qolyazma" pitchFamily="18" charset="0"/>
                <a:cs typeface="UKIJ Qolyazma" pitchFamily="18" charset="0"/>
              </a:endParaRPr>
            </a:p>
          </p:txBody>
        </p:sp>
        <p:sp>
          <p:nvSpPr>
            <p:cNvPr id="122" name="Freeform 33">
              <a:extLst>
                <a:ext uri="{FF2B5EF4-FFF2-40B4-BE49-F238E27FC236}">
                  <a16:creationId xmlns:a16="http://schemas.microsoft.com/office/drawing/2014/main" id="{59058E94-FE4F-C558-FB33-3A99C7943CF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89100" y="2863325"/>
              <a:ext cx="742153" cy="900670"/>
            </a:xfrm>
            <a:custGeom>
              <a:avLst/>
              <a:gdLst>
                <a:gd name="T0" fmla="*/ 318 w 341"/>
                <a:gd name="T1" fmla="*/ 49 h 414"/>
                <a:gd name="T2" fmla="*/ 311 w 341"/>
                <a:gd name="T3" fmla="*/ 54 h 414"/>
                <a:gd name="T4" fmla="*/ 304 w 341"/>
                <a:gd name="T5" fmla="*/ 56 h 414"/>
                <a:gd name="T6" fmla="*/ 296 w 341"/>
                <a:gd name="T7" fmla="*/ 94 h 414"/>
                <a:gd name="T8" fmla="*/ 299 w 341"/>
                <a:gd name="T9" fmla="*/ 102 h 414"/>
                <a:gd name="T10" fmla="*/ 303 w 341"/>
                <a:gd name="T11" fmla="*/ 109 h 414"/>
                <a:gd name="T12" fmla="*/ 306 w 341"/>
                <a:gd name="T13" fmla="*/ 116 h 414"/>
                <a:gd name="T14" fmla="*/ 311 w 341"/>
                <a:gd name="T15" fmla="*/ 124 h 414"/>
                <a:gd name="T16" fmla="*/ 316 w 341"/>
                <a:gd name="T17" fmla="*/ 138 h 414"/>
                <a:gd name="T18" fmla="*/ 320 w 341"/>
                <a:gd name="T19" fmla="*/ 147 h 414"/>
                <a:gd name="T20" fmla="*/ 323 w 341"/>
                <a:gd name="T21" fmla="*/ 157 h 414"/>
                <a:gd name="T22" fmla="*/ 327 w 341"/>
                <a:gd name="T23" fmla="*/ 166 h 414"/>
                <a:gd name="T24" fmla="*/ 319 w 341"/>
                <a:gd name="T25" fmla="*/ 230 h 414"/>
                <a:gd name="T26" fmla="*/ 316 w 341"/>
                <a:gd name="T27" fmla="*/ 283 h 414"/>
                <a:gd name="T28" fmla="*/ 312 w 341"/>
                <a:gd name="T29" fmla="*/ 292 h 414"/>
                <a:gd name="T30" fmla="*/ 308 w 341"/>
                <a:gd name="T31" fmla="*/ 306 h 414"/>
                <a:gd name="T32" fmla="*/ 305 w 341"/>
                <a:gd name="T33" fmla="*/ 314 h 414"/>
                <a:gd name="T34" fmla="*/ 298 w 341"/>
                <a:gd name="T35" fmla="*/ 328 h 414"/>
                <a:gd name="T36" fmla="*/ 289 w 341"/>
                <a:gd name="T37" fmla="*/ 339 h 414"/>
                <a:gd name="T38" fmla="*/ 259 w 341"/>
                <a:gd name="T39" fmla="*/ 354 h 414"/>
                <a:gd name="T40" fmla="*/ 238 w 341"/>
                <a:gd name="T41" fmla="*/ 360 h 414"/>
                <a:gd name="T42" fmla="*/ 211 w 341"/>
                <a:gd name="T43" fmla="*/ 400 h 414"/>
                <a:gd name="T44" fmla="*/ 180 w 341"/>
                <a:gd name="T45" fmla="*/ 388 h 414"/>
                <a:gd name="T46" fmla="*/ 150 w 341"/>
                <a:gd name="T47" fmla="*/ 414 h 414"/>
                <a:gd name="T48" fmla="*/ 119 w 341"/>
                <a:gd name="T49" fmla="*/ 404 h 414"/>
                <a:gd name="T50" fmla="*/ 104 w 341"/>
                <a:gd name="T51" fmla="*/ 402 h 414"/>
                <a:gd name="T52" fmla="*/ 110 w 341"/>
                <a:gd name="T53" fmla="*/ 387 h 414"/>
                <a:gd name="T54" fmla="*/ 109 w 341"/>
                <a:gd name="T55" fmla="*/ 376 h 414"/>
                <a:gd name="T56" fmla="*/ 92 w 341"/>
                <a:gd name="T57" fmla="*/ 365 h 414"/>
                <a:gd name="T58" fmla="*/ 58 w 341"/>
                <a:gd name="T59" fmla="*/ 359 h 414"/>
                <a:gd name="T60" fmla="*/ 44 w 341"/>
                <a:gd name="T61" fmla="*/ 333 h 414"/>
                <a:gd name="T62" fmla="*/ 35 w 341"/>
                <a:gd name="T63" fmla="*/ 327 h 414"/>
                <a:gd name="T64" fmla="*/ 27 w 341"/>
                <a:gd name="T65" fmla="*/ 322 h 414"/>
                <a:gd name="T66" fmla="*/ 16 w 341"/>
                <a:gd name="T67" fmla="*/ 315 h 414"/>
                <a:gd name="T68" fmla="*/ 7 w 341"/>
                <a:gd name="T69" fmla="*/ 290 h 414"/>
                <a:gd name="T70" fmla="*/ 17 w 341"/>
                <a:gd name="T71" fmla="*/ 279 h 414"/>
                <a:gd name="T72" fmla="*/ 27 w 341"/>
                <a:gd name="T73" fmla="*/ 213 h 414"/>
                <a:gd name="T74" fmla="*/ 29 w 341"/>
                <a:gd name="T75" fmla="*/ 196 h 414"/>
                <a:gd name="T76" fmla="*/ 27 w 341"/>
                <a:gd name="T77" fmla="*/ 186 h 414"/>
                <a:gd name="T78" fmla="*/ 30 w 341"/>
                <a:gd name="T79" fmla="*/ 177 h 414"/>
                <a:gd name="T80" fmla="*/ 33 w 341"/>
                <a:gd name="T81" fmla="*/ 171 h 414"/>
                <a:gd name="T82" fmla="*/ 45 w 341"/>
                <a:gd name="T83" fmla="*/ 160 h 414"/>
                <a:gd name="T84" fmla="*/ 56 w 341"/>
                <a:gd name="T85" fmla="*/ 156 h 414"/>
                <a:gd name="T86" fmla="*/ 84 w 341"/>
                <a:gd name="T87" fmla="*/ 147 h 414"/>
                <a:gd name="T88" fmla="*/ 104 w 341"/>
                <a:gd name="T89" fmla="*/ 150 h 414"/>
                <a:gd name="T90" fmla="*/ 115 w 341"/>
                <a:gd name="T91" fmla="*/ 150 h 414"/>
                <a:gd name="T92" fmla="*/ 122 w 341"/>
                <a:gd name="T93" fmla="*/ 146 h 414"/>
                <a:gd name="T94" fmla="*/ 131 w 341"/>
                <a:gd name="T95" fmla="*/ 155 h 414"/>
                <a:gd name="T96" fmla="*/ 145 w 341"/>
                <a:gd name="T97" fmla="*/ 150 h 414"/>
                <a:gd name="T98" fmla="*/ 161 w 341"/>
                <a:gd name="T99" fmla="*/ 124 h 414"/>
                <a:gd name="T100" fmla="*/ 169 w 341"/>
                <a:gd name="T101" fmla="*/ 84 h 414"/>
                <a:gd name="T102" fmla="*/ 187 w 341"/>
                <a:gd name="T103" fmla="*/ 46 h 414"/>
                <a:gd name="T104" fmla="*/ 227 w 341"/>
                <a:gd name="T105" fmla="*/ 30 h 414"/>
                <a:gd name="T106" fmla="*/ 253 w 341"/>
                <a:gd name="T107" fmla="*/ 24 h 414"/>
                <a:gd name="T108" fmla="*/ 263 w 341"/>
                <a:gd name="T109" fmla="*/ 17 h 414"/>
                <a:gd name="T110" fmla="*/ 268 w 341"/>
                <a:gd name="T111" fmla="*/ 9 h 414"/>
                <a:gd name="T112" fmla="*/ 278 w 341"/>
                <a:gd name="T113" fmla="*/ 2 h 414"/>
                <a:gd name="T114" fmla="*/ 295 w 341"/>
                <a:gd name="T115" fmla="*/ 4 h 414"/>
                <a:gd name="T116" fmla="*/ 306 w 341"/>
                <a:gd name="T117" fmla="*/ 6 h 414"/>
                <a:gd name="T118" fmla="*/ 329 w 341"/>
                <a:gd name="T119" fmla="*/ 15 h 414"/>
                <a:gd name="T120" fmla="*/ 336 w 341"/>
                <a:gd name="T121" fmla="*/ 35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41" h="414">
                  <a:moveTo>
                    <a:pt x="329" y="45"/>
                  </a:moveTo>
                  <a:cubicBezTo>
                    <a:pt x="327" y="45"/>
                    <a:pt x="326" y="46"/>
                    <a:pt x="325" y="46"/>
                  </a:cubicBezTo>
                  <a:cubicBezTo>
                    <a:pt x="325" y="46"/>
                    <a:pt x="324" y="46"/>
                    <a:pt x="324" y="47"/>
                  </a:cubicBezTo>
                  <a:cubicBezTo>
                    <a:pt x="324" y="47"/>
                    <a:pt x="324" y="47"/>
                    <a:pt x="324" y="47"/>
                  </a:cubicBezTo>
                  <a:cubicBezTo>
                    <a:pt x="323" y="47"/>
                    <a:pt x="323" y="47"/>
                    <a:pt x="322" y="47"/>
                  </a:cubicBezTo>
                  <a:cubicBezTo>
                    <a:pt x="322" y="47"/>
                    <a:pt x="322" y="48"/>
                    <a:pt x="322" y="48"/>
                  </a:cubicBezTo>
                  <a:cubicBezTo>
                    <a:pt x="322" y="48"/>
                    <a:pt x="321" y="48"/>
                    <a:pt x="321" y="48"/>
                  </a:cubicBezTo>
                  <a:cubicBezTo>
                    <a:pt x="321" y="48"/>
                    <a:pt x="321" y="48"/>
                    <a:pt x="321" y="48"/>
                  </a:cubicBezTo>
                  <a:cubicBezTo>
                    <a:pt x="321" y="48"/>
                    <a:pt x="321" y="48"/>
                    <a:pt x="320" y="48"/>
                  </a:cubicBezTo>
                  <a:cubicBezTo>
                    <a:pt x="320" y="48"/>
                    <a:pt x="320" y="49"/>
                    <a:pt x="320" y="49"/>
                  </a:cubicBezTo>
                  <a:cubicBezTo>
                    <a:pt x="320" y="49"/>
                    <a:pt x="320" y="49"/>
                    <a:pt x="320" y="49"/>
                  </a:cubicBezTo>
                  <a:cubicBezTo>
                    <a:pt x="320" y="49"/>
                    <a:pt x="320" y="49"/>
                    <a:pt x="320" y="49"/>
                  </a:cubicBezTo>
                  <a:cubicBezTo>
                    <a:pt x="319" y="49"/>
                    <a:pt x="319" y="49"/>
                    <a:pt x="319" y="49"/>
                  </a:cubicBezTo>
                  <a:cubicBezTo>
                    <a:pt x="319" y="49"/>
                    <a:pt x="319" y="49"/>
                    <a:pt x="319" y="49"/>
                  </a:cubicBezTo>
                  <a:cubicBezTo>
                    <a:pt x="319" y="49"/>
                    <a:pt x="318" y="49"/>
                    <a:pt x="318" y="49"/>
                  </a:cubicBezTo>
                  <a:cubicBezTo>
                    <a:pt x="318" y="50"/>
                    <a:pt x="318" y="50"/>
                    <a:pt x="318" y="50"/>
                  </a:cubicBezTo>
                  <a:cubicBezTo>
                    <a:pt x="318" y="50"/>
                    <a:pt x="318" y="50"/>
                    <a:pt x="318" y="50"/>
                  </a:cubicBezTo>
                  <a:cubicBezTo>
                    <a:pt x="318" y="50"/>
                    <a:pt x="318" y="50"/>
                    <a:pt x="318" y="50"/>
                  </a:cubicBezTo>
                  <a:cubicBezTo>
                    <a:pt x="317" y="50"/>
                    <a:pt x="317" y="50"/>
                    <a:pt x="317" y="50"/>
                  </a:cubicBezTo>
                  <a:cubicBezTo>
                    <a:pt x="317" y="50"/>
                    <a:pt x="317" y="50"/>
                    <a:pt x="317" y="50"/>
                  </a:cubicBezTo>
                  <a:cubicBezTo>
                    <a:pt x="317" y="50"/>
                    <a:pt x="316" y="50"/>
                    <a:pt x="316" y="50"/>
                  </a:cubicBezTo>
                  <a:cubicBezTo>
                    <a:pt x="316" y="51"/>
                    <a:pt x="316" y="51"/>
                    <a:pt x="316" y="51"/>
                  </a:cubicBezTo>
                  <a:cubicBezTo>
                    <a:pt x="316" y="51"/>
                    <a:pt x="316" y="51"/>
                    <a:pt x="315" y="51"/>
                  </a:cubicBezTo>
                  <a:cubicBezTo>
                    <a:pt x="315" y="51"/>
                    <a:pt x="315" y="51"/>
                    <a:pt x="315" y="51"/>
                  </a:cubicBezTo>
                  <a:cubicBezTo>
                    <a:pt x="315" y="51"/>
                    <a:pt x="314" y="52"/>
                    <a:pt x="313" y="52"/>
                  </a:cubicBezTo>
                  <a:cubicBezTo>
                    <a:pt x="313" y="52"/>
                    <a:pt x="313" y="52"/>
                    <a:pt x="313" y="52"/>
                  </a:cubicBezTo>
                  <a:cubicBezTo>
                    <a:pt x="313" y="52"/>
                    <a:pt x="312" y="52"/>
                    <a:pt x="312" y="53"/>
                  </a:cubicBezTo>
                  <a:cubicBezTo>
                    <a:pt x="312" y="53"/>
                    <a:pt x="312" y="53"/>
                    <a:pt x="312" y="53"/>
                  </a:cubicBezTo>
                  <a:cubicBezTo>
                    <a:pt x="311" y="53"/>
                    <a:pt x="311" y="53"/>
                    <a:pt x="311" y="53"/>
                  </a:cubicBezTo>
                  <a:cubicBezTo>
                    <a:pt x="311" y="53"/>
                    <a:pt x="311" y="53"/>
                    <a:pt x="311" y="54"/>
                  </a:cubicBezTo>
                  <a:cubicBezTo>
                    <a:pt x="310" y="54"/>
                    <a:pt x="310" y="54"/>
                    <a:pt x="309" y="54"/>
                  </a:cubicBezTo>
                  <a:cubicBezTo>
                    <a:pt x="309" y="54"/>
                    <a:pt x="309" y="54"/>
                    <a:pt x="309" y="54"/>
                  </a:cubicBezTo>
                  <a:cubicBezTo>
                    <a:pt x="309" y="54"/>
                    <a:pt x="309" y="54"/>
                    <a:pt x="308" y="54"/>
                  </a:cubicBezTo>
                  <a:cubicBezTo>
                    <a:pt x="308" y="54"/>
                    <a:pt x="308" y="55"/>
                    <a:pt x="308" y="55"/>
                  </a:cubicBezTo>
                  <a:cubicBezTo>
                    <a:pt x="308" y="55"/>
                    <a:pt x="308" y="55"/>
                    <a:pt x="308" y="55"/>
                  </a:cubicBezTo>
                  <a:cubicBezTo>
                    <a:pt x="308" y="55"/>
                    <a:pt x="308" y="55"/>
                    <a:pt x="308" y="55"/>
                  </a:cubicBezTo>
                  <a:cubicBezTo>
                    <a:pt x="307" y="55"/>
                    <a:pt x="307" y="55"/>
                    <a:pt x="307" y="55"/>
                  </a:cubicBezTo>
                  <a:cubicBezTo>
                    <a:pt x="307" y="55"/>
                    <a:pt x="307" y="55"/>
                    <a:pt x="307" y="55"/>
                  </a:cubicBezTo>
                  <a:cubicBezTo>
                    <a:pt x="307" y="55"/>
                    <a:pt x="307" y="55"/>
                    <a:pt x="306" y="55"/>
                  </a:cubicBezTo>
                  <a:cubicBezTo>
                    <a:pt x="306" y="55"/>
                    <a:pt x="306" y="56"/>
                    <a:pt x="306" y="56"/>
                  </a:cubicBezTo>
                  <a:cubicBezTo>
                    <a:pt x="306" y="56"/>
                    <a:pt x="306" y="56"/>
                    <a:pt x="306" y="56"/>
                  </a:cubicBezTo>
                  <a:cubicBezTo>
                    <a:pt x="306" y="56"/>
                    <a:pt x="306" y="56"/>
                    <a:pt x="306" y="56"/>
                  </a:cubicBezTo>
                  <a:cubicBezTo>
                    <a:pt x="305" y="56"/>
                    <a:pt x="305" y="56"/>
                    <a:pt x="305" y="56"/>
                  </a:cubicBezTo>
                  <a:cubicBezTo>
                    <a:pt x="305" y="56"/>
                    <a:pt x="305" y="56"/>
                    <a:pt x="305" y="56"/>
                  </a:cubicBezTo>
                  <a:cubicBezTo>
                    <a:pt x="305" y="56"/>
                    <a:pt x="304" y="56"/>
                    <a:pt x="304" y="56"/>
                  </a:cubicBezTo>
                  <a:cubicBezTo>
                    <a:pt x="304" y="57"/>
                    <a:pt x="304" y="57"/>
                    <a:pt x="304" y="57"/>
                  </a:cubicBezTo>
                  <a:cubicBezTo>
                    <a:pt x="304" y="57"/>
                    <a:pt x="304" y="57"/>
                    <a:pt x="304" y="57"/>
                  </a:cubicBezTo>
                  <a:cubicBezTo>
                    <a:pt x="304" y="57"/>
                    <a:pt x="304" y="57"/>
                    <a:pt x="304" y="57"/>
                  </a:cubicBezTo>
                  <a:cubicBezTo>
                    <a:pt x="303" y="57"/>
                    <a:pt x="303" y="57"/>
                    <a:pt x="303" y="57"/>
                  </a:cubicBezTo>
                  <a:cubicBezTo>
                    <a:pt x="299" y="62"/>
                    <a:pt x="294" y="66"/>
                    <a:pt x="290" y="71"/>
                  </a:cubicBezTo>
                  <a:cubicBezTo>
                    <a:pt x="291" y="74"/>
                    <a:pt x="291" y="77"/>
                    <a:pt x="292" y="80"/>
                  </a:cubicBezTo>
                  <a:cubicBezTo>
                    <a:pt x="292" y="80"/>
                    <a:pt x="292" y="80"/>
                    <a:pt x="292" y="80"/>
                  </a:cubicBezTo>
                  <a:cubicBezTo>
                    <a:pt x="293" y="84"/>
                    <a:pt x="293" y="87"/>
                    <a:pt x="294" y="91"/>
                  </a:cubicBezTo>
                  <a:cubicBezTo>
                    <a:pt x="294" y="91"/>
                    <a:pt x="294" y="91"/>
                    <a:pt x="294" y="91"/>
                  </a:cubicBezTo>
                  <a:cubicBezTo>
                    <a:pt x="294" y="91"/>
                    <a:pt x="294" y="91"/>
                    <a:pt x="294" y="91"/>
                  </a:cubicBezTo>
                  <a:cubicBezTo>
                    <a:pt x="294" y="91"/>
                    <a:pt x="294" y="91"/>
                    <a:pt x="294" y="91"/>
                  </a:cubicBezTo>
                  <a:cubicBezTo>
                    <a:pt x="295" y="92"/>
                    <a:pt x="295" y="92"/>
                    <a:pt x="295" y="93"/>
                  </a:cubicBezTo>
                  <a:cubicBezTo>
                    <a:pt x="295" y="93"/>
                    <a:pt x="295" y="93"/>
                    <a:pt x="295" y="93"/>
                  </a:cubicBezTo>
                  <a:cubicBezTo>
                    <a:pt x="295" y="93"/>
                    <a:pt x="295" y="94"/>
                    <a:pt x="295" y="94"/>
                  </a:cubicBezTo>
                  <a:cubicBezTo>
                    <a:pt x="296" y="94"/>
                    <a:pt x="296" y="94"/>
                    <a:pt x="296" y="94"/>
                  </a:cubicBezTo>
                  <a:cubicBezTo>
                    <a:pt x="296" y="94"/>
                    <a:pt x="296" y="95"/>
                    <a:pt x="296" y="95"/>
                  </a:cubicBezTo>
                  <a:cubicBezTo>
                    <a:pt x="296" y="95"/>
                    <a:pt x="296" y="95"/>
                    <a:pt x="296" y="95"/>
                  </a:cubicBezTo>
                  <a:cubicBezTo>
                    <a:pt x="296" y="95"/>
                    <a:pt x="296" y="95"/>
                    <a:pt x="296" y="96"/>
                  </a:cubicBezTo>
                  <a:cubicBezTo>
                    <a:pt x="296" y="96"/>
                    <a:pt x="296" y="96"/>
                    <a:pt x="297" y="96"/>
                  </a:cubicBezTo>
                  <a:cubicBezTo>
                    <a:pt x="297" y="96"/>
                    <a:pt x="297" y="96"/>
                    <a:pt x="297" y="96"/>
                  </a:cubicBezTo>
                  <a:cubicBezTo>
                    <a:pt x="297" y="96"/>
                    <a:pt x="297" y="96"/>
                    <a:pt x="297" y="96"/>
                  </a:cubicBezTo>
                  <a:cubicBezTo>
                    <a:pt x="297" y="96"/>
                    <a:pt x="297" y="97"/>
                    <a:pt x="297" y="97"/>
                  </a:cubicBezTo>
                  <a:cubicBezTo>
                    <a:pt x="297" y="97"/>
                    <a:pt x="297" y="97"/>
                    <a:pt x="297" y="97"/>
                  </a:cubicBezTo>
                  <a:cubicBezTo>
                    <a:pt x="297" y="98"/>
                    <a:pt x="298" y="98"/>
                    <a:pt x="298" y="99"/>
                  </a:cubicBezTo>
                  <a:cubicBezTo>
                    <a:pt x="298" y="99"/>
                    <a:pt x="298" y="99"/>
                    <a:pt x="298" y="99"/>
                  </a:cubicBezTo>
                  <a:cubicBezTo>
                    <a:pt x="298" y="100"/>
                    <a:pt x="299" y="100"/>
                    <a:pt x="299" y="100"/>
                  </a:cubicBezTo>
                  <a:cubicBezTo>
                    <a:pt x="299" y="100"/>
                    <a:pt x="299" y="100"/>
                    <a:pt x="299" y="100"/>
                  </a:cubicBezTo>
                  <a:cubicBezTo>
                    <a:pt x="299" y="101"/>
                    <a:pt x="299" y="101"/>
                    <a:pt x="299" y="102"/>
                  </a:cubicBezTo>
                  <a:cubicBezTo>
                    <a:pt x="299" y="102"/>
                    <a:pt x="299" y="102"/>
                    <a:pt x="299" y="102"/>
                  </a:cubicBezTo>
                  <a:cubicBezTo>
                    <a:pt x="299" y="102"/>
                    <a:pt x="299" y="102"/>
                    <a:pt x="299" y="102"/>
                  </a:cubicBezTo>
                  <a:cubicBezTo>
                    <a:pt x="299" y="102"/>
                    <a:pt x="300" y="102"/>
                    <a:pt x="300" y="102"/>
                  </a:cubicBezTo>
                  <a:cubicBezTo>
                    <a:pt x="300" y="103"/>
                    <a:pt x="300" y="103"/>
                    <a:pt x="300" y="104"/>
                  </a:cubicBezTo>
                  <a:cubicBezTo>
                    <a:pt x="300" y="104"/>
                    <a:pt x="300" y="104"/>
                    <a:pt x="300" y="104"/>
                  </a:cubicBezTo>
                  <a:cubicBezTo>
                    <a:pt x="300" y="104"/>
                    <a:pt x="301" y="105"/>
                    <a:pt x="301" y="105"/>
                  </a:cubicBezTo>
                  <a:cubicBezTo>
                    <a:pt x="301" y="105"/>
                    <a:pt x="301" y="105"/>
                    <a:pt x="301" y="105"/>
                  </a:cubicBezTo>
                  <a:cubicBezTo>
                    <a:pt x="301" y="105"/>
                    <a:pt x="301" y="106"/>
                    <a:pt x="301" y="106"/>
                  </a:cubicBezTo>
                  <a:cubicBezTo>
                    <a:pt x="302" y="106"/>
                    <a:pt x="302" y="106"/>
                    <a:pt x="302" y="106"/>
                  </a:cubicBezTo>
                  <a:cubicBezTo>
                    <a:pt x="302" y="107"/>
                    <a:pt x="302" y="107"/>
                    <a:pt x="302" y="107"/>
                  </a:cubicBezTo>
                  <a:cubicBezTo>
                    <a:pt x="302" y="107"/>
                    <a:pt x="302" y="107"/>
                    <a:pt x="302" y="107"/>
                  </a:cubicBezTo>
                  <a:cubicBezTo>
                    <a:pt x="302" y="107"/>
                    <a:pt x="302" y="108"/>
                    <a:pt x="302" y="108"/>
                  </a:cubicBezTo>
                  <a:cubicBezTo>
                    <a:pt x="302" y="108"/>
                    <a:pt x="302" y="108"/>
                    <a:pt x="302" y="108"/>
                  </a:cubicBezTo>
                  <a:cubicBezTo>
                    <a:pt x="302" y="108"/>
                    <a:pt x="302" y="108"/>
                    <a:pt x="302" y="109"/>
                  </a:cubicBezTo>
                  <a:cubicBezTo>
                    <a:pt x="303" y="109"/>
                    <a:pt x="303" y="109"/>
                    <a:pt x="303" y="109"/>
                  </a:cubicBezTo>
                  <a:cubicBezTo>
                    <a:pt x="303" y="109"/>
                    <a:pt x="303" y="109"/>
                    <a:pt x="303" y="109"/>
                  </a:cubicBezTo>
                  <a:cubicBezTo>
                    <a:pt x="303" y="109"/>
                    <a:pt x="303" y="109"/>
                    <a:pt x="303" y="109"/>
                  </a:cubicBezTo>
                  <a:cubicBezTo>
                    <a:pt x="303" y="109"/>
                    <a:pt x="303" y="110"/>
                    <a:pt x="303" y="110"/>
                  </a:cubicBezTo>
                  <a:cubicBezTo>
                    <a:pt x="303" y="110"/>
                    <a:pt x="303" y="110"/>
                    <a:pt x="304" y="110"/>
                  </a:cubicBezTo>
                  <a:cubicBezTo>
                    <a:pt x="304" y="110"/>
                    <a:pt x="304" y="110"/>
                    <a:pt x="304" y="111"/>
                  </a:cubicBezTo>
                  <a:cubicBezTo>
                    <a:pt x="304" y="111"/>
                    <a:pt x="304" y="111"/>
                    <a:pt x="304" y="111"/>
                  </a:cubicBezTo>
                  <a:cubicBezTo>
                    <a:pt x="304" y="111"/>
                    <a:pt x="304" y="112"/>
                    <a:pt x="304" y="112"/>
                  </a:cubicBezTo>
                  <a:cubicBezTo>
                    <a:pt x="304" y="112"/>
                    <a:pt x="304" y="112"/>
                    <a:pt x="305" y="112"/>
                  </a:cubicBezTo>
                  <a:cubicBezTo>
                    <a:pt x="305" y="112"/>
                    <a:pt x="305" y="112"/>
                    <a:pt x="305" y="113"/>
                  </a:cubicBezTo>
                  <a:cubicBezTo>
                    <a:pt x="305" y="113"/>
                    <a:pt x="305" y="113"/>
                    <a:pt x="305" y="113"/>
                  </a:cubicBezTo>
                  <a:cubicBezTo>
                    <a:pt x="305" y="113"/>
                    <a:pt x="305" y="113"/>
                    <a:pt x="305" y="113"/>
                  </a:cubicBezTo>
                  <a:cubicBezTo>
                    <a:pt x="305" y="113"/>
                    <a:pt x="305" y="113"/>
                    <a:pt x="305" y="113"/>
                  </a:cubicBezTo>
                  <a:cubicBezTo>
                    <a:pt x="305" y="114"/>
                    <a:pt x="305" y="114"/>
                    <a:pt x="305" y="114"/>
                  </a:cubicBezTo>
                  <a:cubicBezTo>
                    <a:pt x="305" y="114"/>
                    <a:pt x="306" y="114"/>
                    <a:pt x="306" y="114"/>
                  </a:cubicBezTo>
                  <a:cubicBezTo>
                    <a:pt x="306" y="114"/>
                    <a:pt x="306" y="115"/>
                    <a:pt x="306" y="115"/>
                  </a:cubicBezTo>
                  <a:cubicBezTo>
                    <a:pt x="306" y="115"/>
                    <a:pt x="306" y="115"/>
                    <a:pt x="306" y="115"/>
                  </a:cubicBezTo>
                  <a:cubicBezTo>
                    <a:pt x="306" y="115"/>
                    <a:pt x="306" y="116"/>
                    <a:pt x="306" y="116"/>
                  </a:cubicBezTo>
                  <a:cubicBezTo>
                    <a:pt x="306" y="116"/>
                    <a:pt x="307" y="116"/>
                    <a:pt x="307" y="116"/>
                  </a:cubicBezTo>
                  <a:cubicBezTo>
                    <a:pt x="307" y="116"/>
                    <a:pt x="307" y="117"/>
                    <a:pt x="307" y="117"/>
                  </a:cubicBezTo>
                  <a:cubicBezTo>
                    <a:pt x="307" y="117"/>
                    <a:pt x="307" y="117"/>
                    <a:pt x="307" y="117"/>
                  </a:cubicBezTo>
                  <a:cubicBezTo>
                    <a:pt x="307" y="117"/>
                    <a:pt x="307" y="117"/>
                    <a:pt x="307" y="118"/>
                  </a:cubicBezTo>
                  <a:cubicBezTo>
                    <a:pt x="307" y="118"/>
                    <a:pt x="307" y="118"/>
                    <a:pt x="307" y="118"/>
                  </a:cubicBezTo>
                  <a:cubicBezTo>
                    <a:pt x="307" y="118"/>
                    <a:pt x="307" y="118"/>
                    <a:pt x="307" y="118"/>
                  </a:cubicBezTo>
                  <a:cubicBezTo>
                    <a:pt x="307" y="118"/>
                    <a:pt x="308" y="118"/>
                    <a:pt x="308" y="118"/>
                  </a:cubicBezTo>
                  <a:cubicBezTo>
                    <a:pt x="308" y="119"/>
                    <a:pt x="308" y="119"/>
                    <a:pt x="308" y="119"/>
                  </a:cubicBezTo>
                  <a:cubicBezTo>
                    <a:pt x="308" y="119"/>
                    <a:pt x="308" y="119"/>
                    <a:pt x="308" y="119"/>
                  </a:cubicBezTo>
                  <a:cubicBezTo>
                    <a:pt x="308" y="120"/>
                    <a:pt x="309" y="120"/>
                    <a:pt x="309" y="121"/>
                  </a:cubicBezTo>
                  <a:cubicBezTo>
                    <a:pt x="309" y="121"/>
                    <a:pt x="309" y="121"/>
                    <a:pt x="309" y="121"/>
                  </a:cubicBezTo>
                  <a:cubicBezTo>
                    <a:pt x="309" y="121"/>
                    <a:pt x="309" y="122"/>
                    <a:pt x="309" y="122"/>
                  </a:cubicBezTo>
                  <a:cubicBezTo>
                    <a:pt x="309" y="122"/>
                    <a:pt x="309" y="122"/>
                    <a:pt x="309" y="122"/>
                  </a:cubicBezTo>
                  <a:cubicBezTo>
                    <a:pt x="310" y="123"/>
                    <a:pt x="310" y="124"/>
                    <a:pt x="310" y="124"/>
                  </a:cubicBezTo>
                  <a:cubicBezTo>
                    <a:pt x="310" y="124"/>
                    <a:pt x="310" y="124"/>
                    <a:pt x="311" y="124"/>
                  </a:cubicBezTo>
                  <a:cubicBezTo>
                    <a:pt x="311" y="124"/>
                    <a:pt x="311" y="125"/>
                    <a:pt x="311" y="125"/>
                  </a:cubicBezTo>
                  <a:cubicBezTo>
                    <a:pt x="311" y="125"/>
                    <a:pt x="311" y="125"/>
                    <a:pt x="311" y="125"/>
                  </a:cubicBezTo>
                  <a:cubicBezTo>
                    <a:pt x="311" y="125"/>
                    <a:pt x="311" y="125"/>
                    <a:pt x="311" y="126"/>
                  </a:cubicBezTo>
                  <a:cubicBezTo>
                    <a:pt x="311" y="126"/>
                    <a:pt x="311" y="126"/>
                    <a:pt x="311" y="126"/>
                  </a:cubicBezTo>
                  <a:cubicBezTo>
                    <a:pt x="312" y="128"/>
                    <a:pt x="313" y="129"/>
                    <a:pt x="314" y="131"/>
                  </a:cubicBezTo>
                  <a:cubicBezTo>
                    <a:pt x="314" y="131"/>
                    <a:pt x="314" y="131"/>
                    <a:pt x="314" y="131"/>
                  </a:cubicBezTo>
                  <a:cubicBezTo>
                    <a:pt x="314" y="131"/>
                    <a:pt x="314" y="132"/>
                    <a:pt x="314" y="132"/>
                  </a:cubicBezTo>
                  <a:cubicBezTo>
                    <a:pt x="314" y="132"/>
                    <a:pt x="314" y="132"/>
                    <a:pt x="314" y="132"/>
                  </a:cubicBezTo>
                  <a:cubicBezTo>
                    <a:pt x="314" y="133"/>
                    <a:pt x="315" y="133"/>
                    <a:pt x="315" y="134"/>
                  </a:cubicBezTo>
                  <a:cubicBezTo>
                    <a:pt x="315" y="134"/>
                    <a:pt x="315" y="134"/>
                    <a:pt x="315" y="134"/>
                  </a:cubicBezTo>
                  <a:cubicBezTo>
                    <a:pt x="315" y="134"/>
                    <a:pt x="315" y="134"/>
                    <a:pt x="315" y="135"/>
                  </a:cubicBezTo>
                  <a:cubicBezTo>
                    <a:pt x="315" y="135"/>
                    <a:pt x="315" y="135"/>
                    <a:pt x="315" y="135"/>
                  </a:cubicBezTo>
                  <a:cubicBezTo>
                    <a:pt x="316" y="135"/>
                    <a:pt x="316" y="136"/>
                    <a:pt x="316" y="137"/>
                  </a:cubicBezTo>
                  <a:cubicBezTo>
                    <a:pt x="316" y="137"/>
                    <a:pt x="316" y="137"/>
                    <a:pt x="316" y="137"/>
                  </a:cubicBezTo>
                  <a:cubicBezTo>
                    <a:pt x="316" y="137"/>
                    <a:pt x="316" y="137"/>
                    <a:pt x="316" y="138"/>
                  </a:cubicBezTo>
                  <a:cubicBezTo>
                    <a:pt x="316" y="138"/>
                    <a:pt x="316" y="138"/>
                    <a:pt x="316" y="138"/>
                  </a:cubicBezTo>
                  <a:cubicBezTo>
                    <a:pt x="317" y="138"/>
                    <a:pt x="317" y="139"/>
                    <a:pt x="317" y="140"/>
                  </a:cubicBezTo>
                  <a:cubicBezTo>
                    <a:pt x="317" y="140"/>
                    <a:pt x="317" y="140"/>
                    <a:pt x="317" y="140"/>
                  </a:cubicBezTo>
                  <a:cubicBezTo>
                    <a:pt x="317" y="140"/>
                    <a:pt x="317" y="140"/>
                    <a:pt x="317" y="140"/>
                  </a:cubicBezTo>
                  <a:cubicBezTo>
                    <a:pt x="317" y="140"/>
                    <a:pt x="317" y="140"/>
                    <a:pt x="318" y="140"/>
                  </a:cubicBezTo>
                  <a:cubicBezTo>
                    <a:pt x="318" y="141"/>
                    <a:pt x="318" y="141"/>
                    <a:pt x="318" y="141"/>
                  </a:cubicBezTo>
                  <a:cubicBezTo>
                    <a:pt x="318" y="141"/>
                    <a:pt x="318" y="141"/>
                    <a:pt x="318" y="141"/>
                  </a:cubicBezTo>
                  <a:cubicBezTo>
                    <a:pt x="318" y="142"/>
                    <a:pt x="318" y="142"/>
                    <a:pt x="318" y="142"/>
                  </a:cubicBezTo>
                  <a:cubicBezTo>
                    <a:pt x="318" y="142"/>
                    <a:pt x="318" y="142"/>
                    <a:pt x="318" y="142"/>
                  </a:cubicBezTo>
                  <a:cubicBezTo>
                    <a:pt x="318" y="143"/>
                    <a:pt x="318" y="143"/>
                    <a:pt x="319" y="144"/>
                  </a:cubicBezTo>
                  <a:cubicBezTo>
                    <a:pt x="319" y="144"/>
                    <a:pt x="319" y="144"/>
                    <a:pt x="319" y="144"/>
                  </a:cubicBezTo>
                  <a:cubicBezTo>
                    <a:pt x="319" y="144"/>
                    <a:pt x="319" y="145"/>
                    <a:pt x="319" y="145"/>
                  </a:cubicBezTo>
                  <a:cubicBezTo>
                    <a:pt x="319" y="145"/>
                    <a:pt x="319" y="145"/>
                    <a:pt x="319" y="145"/>
                  </a:cubicBezTo>
                  <a:cubicBezTo>
                    <a:pt x="319" y="146"/>
                    <a:pt x="319" y="146"/>
                    <a:pt x="320" y="147"/>
                  </a:cubicBezTo>
                  <a:cubicBezTo>
                    <a:pt x="320" y="147"/>
                    <a:pt x="320" y="147"/>
                    <a:pt x="320" y="147"/>
                  </a:cubicBezTo>
                  <a:cubicBezTo>
                    <a:pt x="320" y="147"/>
                    <a:pt x="320" y="147"/>
                    <a:pt x="320" y="148"/>
                  </a:cubicBezTo>
                  <a:cubicBezTo>
                    <a:pt x="320" y="148"/>
                    <a:pt x="320" y="148"/>
                    <a:pt x="320" y="148"/>
                  </a:cubicBezTo>
                  <a:cubicBezTo>
                    <a:pt x="320" y="148"/>
                    <a:pt x="321" y="149"/>
                    <a:pt x="321" y="150"/>
                  </a:cubicBezTo>
                  <a:cubicBezTo>
                    <a:pt x="321" y="150"/>
                    <a:pt x="321" y="150"/>
                    <a:pt x="321" y="150"/>
                  </a:cubicBezTo>
                  <a:cubicBezTo>
                    <a:pt x="321" y="150"/>
                    <a:pt x="321" y="150"/>
                    <a:pt x="321" y="150"/>
                  </a:cubicBezTo>
                  <a:cubicBezTo>
                    <a:pt x="321" y="150"/>
                    <a:pt x="321" y="150"/>
                    <a:pt x="321" y="150"/>
                  </a:cubicBezTo>
                  <a:cubicBezTo>
                    <a:pt x="321" y="151"/>
                    <a:pt x="322" y="152"/>
                    <a:pt x="322" y="153"/>
                  </a:cubicBezTo>
                  <a:cubicBezTo>
                    <a:pt x="322" y="153"/>
                    <a:pt x="322" y="153"/>
                    <a:pt x="322" y="153"/>
                  </a:cubicBezTo>
                  <a:cubicBezTo>
                    <a:pt x="322" y="153"/>
                    <a:pt x="322" y="153"/>
                    <a:pt x="322" y="153"/>
                  </a:cubicBezTo>
                  <a:cubicBezTo>
                    <a:pt x="322" y="153"/>
                    <a:pt x="322" y="153"/>
                    <a:pt x="322" y="153"/>
                  </a:cubicBezTo>
                  <a:cubicBezTo>
                    <a:pt x="323" y="154"/>
                    <a:pt x="323" y="155"/>
                    <a:pt x="323" y="155"/>
                  </a:cubicBezTo>
                  <a:cubicBezTo>
                    <a:pt x="323" y="155"/>
                    <a:pt x="323" y="155"/>
                    <a:pt x="323" y="155"/>
                  </a:cubicBezTo>
                  <a:cubicBezTo>
                    <a:pt x="323" y="156"/>
                    <a:pt x="323" y="156"/>
                    <a:pt x="323" y="156"/>
                  </a:cubicBezTo>
                  <a:cubicBezTo>
                    <a:pt x="323" y="156"/>
                    <a:pt x="323" y="156"/>
                    <a:pt x="323" y="156"/>
                  </a:cubicBezTo>
                  <a:cubicBezTo>
                    <a:pt x="323" y="156"/>
                    <a:pt x="323" y="157"/>
                    <a:pt x="323" y="157"/>
                  </a:cubicBezTo>
                  <a:cubicBezTo>
                    <a:pt x="324" y="157"/>
                    <a:pt x="324" y="157"/>
                    <a:pt x="324" y="157"/>
                  </a:cubicBezTo>
                  <a:cubicBezTo>
                    <a:pt x="324" y="157"/>
                    <a:pt x="324" y="158"/>
                    <a:pt x="324" y="158"/>
                  </a:cubicBezTo>
                  <a:cubicBezTo>
                    <a:pt x="324" y="158"/>
                    <a:pt x="324" y="158"/>
                    <a:pt x="324" y="158"/>
                  </a:cubicBezTo>
                  <a:cubicBezTo>
                    <a:pt x="324" y="158"/>
                    <a:pt x="324" y="159"/>
                    <a:pt x="324" y="159"/>
                  </a:cubicBezTo>
                  <a:cubicBezTo>
                    <a:pt x="324" y="159"/>
                    <a:pt x="324" y="159"/>
                    <a:pt x="325" y="159"/>
                  </a:cubicBezTo>
                  <a:cubicBezTo>
                    <a:pt x="325" y="159"/>
                    <a:pt x="325" y="160"/>
                    <a:pt x="325" y="160"/>
                  </a:cubicBezTo>
                  <a:cubicBezTo>
                    <a:pt x="325" y="160"/>
                    <a:pt x="325" y="160"/>
                    <a:pt x="325" y="160"/>
                  </a:cubicBezTo>
                  <a:cubicBezTo>
                    <a:pt x="325" y="160"/>
                    <a:pt x="325" y="160"/>
                    <a:pt x="325" y="161"/>
                  </a:cubicBezTo>
                  <a:cubicBezTo>
                    <a:pt x="325" y="161"/>
                    <a:pt x="325" y="161"/>
                    <a:pt x="325" y="161"/>
                  </a:cubicBezTo>
                  <a:cubicBezTo>
                    <a:pt x="325" y="161"/>
                    <a:pt x="325" y="162"/>
                    <a:pt x="326" y="163"/>
                  </a:cubicBezTo>
                  <a:cubicBezTo>
                    <a:pt x="326" y="163"/>
                    <a:pt x="326" y="163"/>
                    <a:pt x="326" y="163"/>
                  </a:cubicBezTo>
                  <a:cubicBezTo>
                    <a:pt x="326" y="163"/>
                    <a:pt x="326" y="163"/>
                    <a:pt x="326" y="163"/>
                  </a:cubicBezTo>
                  <a:cubicBezTo>
                    <a:pt x="326" y="163"/>
                    <a:pt x="326" y="163"/>
                    <a:pt x="326" y="163"/>
                  </a:cubicBezTo>
                  <a:cubicBezTo>
                    <a:pt x="326" y="164"/>
                    <a:pt x="326" y="165"/>
                    <a:pt x="327" y="166"/>
                  </a:cubicBezTo>
                  <a:cubicBezTo>
                    <a:pt x="327" y="166"/>
                    <a:pt x="327" y="166"/>
                    <a:pt x="327" y="166"/>
                  </a:cubicBezTo>
                  <a:cubicBezTo>
                    <a:pt x="327" y="166"/>
                    <a:pt x="327" y="166"/>
                    <a:pt x="327" y="166"/>
                  </a:cubicBezTo>
                  <a:cubicBezTo>
                    <a:pt x="327" y="166"/>
                    <a:pt x="327" y="166"/>
                    <a:pt x="327" y="166"/>
                  </a:cubicBezTo>
                  <a:cubicBezTo>
                    <a:pt x="327" y="167"/>
                    <a:pt x="328" y="168"/>
                    <a:pt x="328" y="168"/>
                  </a:cubicBezTo>
                  <a:cubicBezTo>
                    <a:pt x="328" y="168"/>
                    <a:pt x="328" y="168"/>
                    <a:pt x="328" y="168"/>
                  </a:cubicBezTo>
                  <a:cubicBezTo>
                    <a:pt x="328" y="169"/>
                    <a:pt x="328" y="169"/>
                    <a:pt x="328" y="169"/>
                  </a:cubicBezTo>
                  <a:cubicBezTo>
                    <a:pt x="328" y="169"/>
                    <a:pt x="328" y="169"/>
                    <a:pt x="328" y="169"/>
                  </a:cubicBezTo>
                  <a:cubicBezTo>
                    <a:pt x="328" y="170"/>
                    <a:pt x="328" y="171"/>
                    <a:pt x="328" y="171"/>
                  </a:cubicBezTo>
                  <a:cubicBezTo>
                    <a:pt x="328" y="171"/>
                    <a:pt x="327" y="171"/>
                    <a:pt x="327" y="171"/>
                  </a:cubicBezTo>
                  <a:cubicBezTo>
                    <a:pt x="327" y="173"/>
                    <a:pt x="327" y="174"/>
                    <a:pt x="327" y="175"/>
                  </a:cubicBezTo>
                  <a:cubicBezTo>
                    <a:pt x="326" y="175"/>
                    <a:pt x="326" y="175"/>
                    <a:pt x="326" y="175"/>
                  </a:cubicBezTo>
                  <a:cubicBezTo>
                    <a:pt x="326" y="177"/>
                    <a:pt x="325" y="178"/>
                    <a:pt x="325" y="180"/>
                  </a:cubicBezTo>
                  <a:cubicBezTo>
                    <a:pt x="325" y="180"/>
                    <a:pt x="324" y="180"/>
                    <a:pt x="324" y="180"/>
                  </a:cubicBezTo>
                  <a:cubicBezTo>
                    <a:pt x="324" y="188"/>
                    <a:pt x="323" y="195"/>
                    <a:pt x="323" y="203"/>
                  </a:cubicBezTo>
                  <a:cubicBezTo>
                    <a:pt x="321" y="208"/>
                    <a:pt x="320" y="214"/>
                    <a:pt x="318" y="219"/>
                  </a:cubicBezTo>
                  <a:cubicBezTo>
                    <a:pt x="318" y="223"/>
                    <a:pt x="318" y="226"/>
                    <a:pt x="319" y="230"/>
                  </a:cubicBezTo>
                  <a:cubicBezTo>
                    <a:pt x="319" y="245"/>
                    <a:pt x="319" y="260"/>
                    <a:pt x="319" y="275"/>
                  </a:cubicBezTo>
                  <a:cubicBezTo>
                    <a:pt x="319" y="275"/>
                    <a:pt x="319" y="275"/>
                    <a:pt x="319" y="275"/>
                  </a:cubicBezTo>
                  <a:cubicBezTo>
                    <a:pt x="319" y="275"/>
                    <a:pt x="319" y="275"/>
                    <a:pt x="319" y="276"/>
                  </a:cubicBezTo>
                  <a:cubicBezTo>
                    <a:pt x="318" y="276"/>
                    <a:pt x="318" y="276"/>
                    <a:pt x="318" y="276"/>
                  </a:cubicBezTo>
                  <a:cubicBezTo>
                    <a:pt x="318" y="276"/>
                    <a:pt x="318" y="276"/>
                    <a:pt x="318" y="277"/>
                  </a:cubicBezTo>
                  <a:cubicBezTo>
                    <a:pt x="318" y="277"/>
                    <a:pt x="318" y="277"/>
                    <a:pt x="318" y="277"/>
                  </a:cubicBezTo>
                  <a:cubicBezTo>
                    <a:pt x="318" y="277"/>
                    <a:pt x="318" y="277"/>
                    <a:pt x="318" y="278"/>
                  </a:cubicBezTo>
                  <a:cubicBezTo>
                    <a:pt x="318" y="278"/>
                    <a:pt x="318" y="278"/>
                    <a:pt x="318" y="278"/>
                  </a:cubicBezTo>
                  <a:cubicBezTo>
                    <a:pt x="318" y="278"/>
                    <a:pt x="318" y="278"/>
                    <a:pt x="318" y="279"/>
                  </a:cubicBezTo>
                  <a:cubicBezTo>
                    <a:pt x="317" y="279"/>
                    <a:pt x="317" y="279"/>
                    <a:pt x="317" y="279"/>
                  </a:cubicBezTo>
                  <a:cubicBezTo>
                    <a:pt x="317" y="279"/>
                    <a:pt x="317" y="279"/>
                    <a:pt x="317" y="280"/>
                  </a:cubicBezTo>
                  <a:cubicBezTo>
                    <a:pt x="317" y="280"/>
                    <a:pt x="317" y="280"/>
                    <a:pt x="317" y="280"/>
                  </a:cubicBezTo>
                  <a:cubicBezTo>
                    <a:pt x="317" y="281"/>
                    <a:pt x="316" y="282"/>
                    <a:pt x="316" y="283"/>
                  </a:cubicBezTo>
                  <a:cubicBezTo>
                    <a:pt x="316" y="283"/>
                    <a:pt x="316" y="283"/>
                    <a:pt x="316" y="283"/>
                  </a:cubicBezTo>
                  <a:cubicBezTo>
                    <a:pt x="316" y="283"/>
                    <a:pt x="316" y="283"/>
                    <a:pt x="316" y="283"/>
                  </a:cubicBezTo>
                  <a:cubicBezTo>
                    <a:pt x="316" y="283"/>
                    <a:pt x="316" y="283"/>
                    <a:pt x="315" y="283"/>
                  </a:cubicBezTo>
                  <a:cubicBezTo>
                    <a:pt x="315" y="284"/>
                    <a:pt x="315" y="284"/>
                    <a:pt x="315" y="284"/>
                  </a:cubicBezTo>
                  <a:cubicBezTo>
                    <a:pt x="315" y="284"/>
                    <a:pt x="315" y="284"/>
                    <a:pt x="315" y="284"/>
                  </a:cubicBezTo>
                  <a:cubicBezTo>
                    <a:pt x="315" y="285"/>
                    <a:pt x="315" y="285"/>
                    <a:pt x="315" y="285"/>
                  </a:cubicBezTo>
                  <a:cubicBezTo>
                    <a:pt x="315" y="285"/>
                    <a:pt x="315" y="285"/>
                    <a:pt x="315" y="285"/>
                  </a:cubicBezTo>
                  <a:cubicBezTo>
                    <a:pt x="315" y="286"/>
                    <a:pt x="315" y="286"/>
                    <a:pt x="315" y="287"/>
                  </a:cubicBezTo>
                  <a:cubicBezTo>
                    <a:pt x="315" y="287"/>
                    <a:pt x="314" y="287"/>
                    <a:pt x="314" y="287"/>
                  </a:cubicBezTo>
                  <a:cubicBezTo>
                    <a:pt x="314" y="287"/>
                    <a:pt x="314" y="287"/>
                    <a:pt x="314" y="288"/>
                  </a:cubicBezTo>
                  <a:cubicBezTo>
                    <a:pt x="314" y="288"/>
                    <a:pt x="314" y="288"/>
                    <a:pt x="314" y="288"/>
                  </a:cubicBezTo>
                  <a:cubicBezTo>
                    <a:pt x="314" y="288"/>
                    <a:pt x="314" y="288"/>
                    <a:pt x="314" y="288"/>
                  </a:cubicBezTo>
                  <a:cubicBezTo>
                    <a:pt x="314" y="288"/>
                    <a:pt x="314" y="288"/>
                    <a:pt x="314" y="288"/>
                  </a:cubicBezTo>
                  <a:cubicBezTo>
                    <a:pt x="313" y="289"/>
                    <a:pt x="313" y="290"/>
                    <a:pt x="313" y="291"/>
                  </a:cubicBezTo>
                  <a:cubicBezTo>
                    <a:pt x="313" y="291"/>
                    <a:pt x="313" y="291"/>
                    <a:pt x="313" y="291"/>
                  </a:cubicBezTo>
                  <a:cubicBezTo>
                    <a:pt x="313" y="292"/>
                    <a:pt x="313" y="292"/>
                    <a:pt x="313" y="292"/>
                  </a:cubicBezTo>
                  <a:cubicBezTo>
                    <a:pt x="312" y="292"/>
                    <a:pt x="312" y="292"/>
                    <a:pt x="312" y="292"/>
                  </a:cubicBezTo>
                  <a:cubicBezTo>
                    <a:pt x="312" y="293"/>
                    <a:pt x="312" y="294"/>
                    <a:pt x="312" y="294"/>
                  </a:cubicBezTo>
                  <a:cubicBezTo>
                    <a:pt x="312" y="294"/>
                    <a:pt x="312" y="294"/>
                    <a:pt x="312" y="294"/>
                  </a:cubicBezTo>
                  <a:cubicBezTo>
                    <a:pt x="311" y="295"/>
                    <a:pt x="311" y="296"/>
                    <a:pt x="311" y="296"/>
                  </a:cubicBezTo>
                  <a:cubicBezTo>
                    <a:pt x="311" y="296"/>
                    <a:pt x="311" y="296"/>
                    <a:pt x="311" y="296"/>
                  </a:cubicBezTo>
                  <a:cubicBezTo>
                    <a:pt x="311" y="297"/>
                    <a:pt x="311" y="297"/>
                    <a:pt x="311" y="297"/>
                  </a:cubicBezTo>
                  <a:cubicBezTo>
                    <a:pt x="311" y="297"/>
                    <a:pt x="311" y="297"/>
                    <a:pt x="311" y="297"/>
                  </a:cubicBezTo>
                  <a:cubicBezTo>
                    <a:pt x="311" y="297"/>
                    <a:pt x="311" y="298"/>
                    <a:pt x="311" y="298"/>
                  </a:cubicBezTo>
                  <a:cubicBezTo>
                    <a:pt x="310" y="298"/>
                    <a:pt x="310" y="298"/>
                    <a:pt x="310" y="298"/>
                  </a:cubicBezTo>
                  <a:cubicBezTo>
                    <a:pt x="310" y="299"/>
                    <a:pt x="310" y="300"/>
                    <a:pt x="309" y="301"/>
                  </a:cubicBezTo>
                  <a:cubicBezTo>
                    <a:pt x="309" y="301"/>
                    <a:pt x="309" y="301"/>
                    <a:pt x="309" y="301"/>
                  </a:cubicBezTo>
                  <a:cubicBezTo>
                    <a:pt x="309" y="301"/>
                    <a:pt x="309" y="302"/>
                    <a:pt x="309" y="302"/>
                  </a:cubicBezTo>
                  <a:cubicBezTo>
                    <a:pt x="309" y="302"/>
                    <a:pt x="309" y="302"/>
                    <a:pt x="309" y="302"/>
                  </a:cubicBezTo>
                  <a:cubicBezTo>
                    <a:pt x="309" y="303"/>
                    <a:pt x="308" y="304"/>
                    <a:pt x="308" y="305"/>
                  </a:cubicBezTo>
                  <a:cubicBezTo>
                    <a:pt x="308" y="305"/>
                    <a:pt x="308" y="305"/>
                    <a:pt x="308" y="305"/>
                  </a:cubicBezTo>
                  <a:cubicBezTo>
                    <a:pt x="308" y="305"/>
                    <a:pt x="308" y="306"/>
                    <a:pt x="308" y="306"/>
                  </a:cubicBezTo>
                  <a:cubicBezTo>
                    <a:pt x="308" y="306"/>
                    <a:pt x="307" y="306"/>
                    <a:pt x="307" y="306"/>
                  </a:cubicBezTo>
                  <a:cubicBezTo>
                    <a:pt x="307" y="306"/>
                    <a:pt x="307" y="306"/>
                    <a:pt x="307" y="307"/>
                  </a:cubicBezTo>
                  <a:cubicBezTo>
                    <a:pt x="307" y="307"/>
                    <a:pt x="307" y="307"/>
                    <a:pt x="307" y="307"/>
                  </a:cubicBezTo>
                  <a:cubicBezTo>
                    <a:pt x="307" y="307"/>
                    <a:pt x="307" y="308"/>
                    <a:pt x="307" y="308"/>
                  </a:cubicBezTo>
                  <a:cubicBezTo>
                    <a:pt x="307" y="308"/>
                    <a:pt x="307" y="308"/>
                    <a:pt x="307" y="308"/>
                  </a:cubicBezTo>
                  <a:cubicBezTo>
                    <a:pt x="307" y="308"/>
                    <a:pt x="307" y="309"/>
                    <a:pt x="307" y="309"/>
                  </a:cubicBezTo>
                  <a:cubicBezTo>
                    <a:pt x="307" y="309"/>
                    <a:pt x="306" y="309"/>
                    <a:pt x="306" y="309"/>
                  </a:cubicBezTo>
                  <a:cubicBezTo>
                    <a:pt x="306" y="309"/>
                    <a:pt x="306" y="310"/>
                    <a:pt x="306" y="310"/>
                  </a:cubicBezTo>
                  <a:cubicBezTo>
                    <a:pt x="306" y="310"/>
                    <a:pt x="306" y="310"/>
                    <a:pt x="306" y="310"/>
                  </a:cubicBezTo>
                  <a:cubicBezTo>
                    <a:pt x="306" y="310"/>
                    <a:pt x="306" y="310"/>
                    <a:pt x="306" y="311"/>
                  </a:cubicBezTo>
                  <a:cubicBezTo>
                    <a:pt x="306" y="311"/>
                    <a:pt x="306" y="311"/>
                    <a:pt x="306" y="311"/>
                  </a:cubicBezTo>
                  <a:cubicBezTo>
                    <a:pt x="306" y="311"/>
                    <a:pt x="305" y="312"/>
                    <a:pt x="305" y="313"/>
                  </a:cubicBezTo>
                  <a:cubicBezTo>
                    <a:pt x="305" y="313"/>
                    <a:pt x="305" y="313"/>
                    <a:pt x="305" y="313"/>
                  </a:cubicBezTo>
                  <a:cubicBezTo>
                    <a:pt x="305" y="313"/>
                    <a:pt x="305" y="313"/>
                    <a:pt x="305" y="314"/>
                  </a:cubicBezTo>
                  <a:cubicBezTo>
                    <a:pt x="305" y="314"/>
                    <a:pt x="305" y="314"/>
                    <a:pt x="305" y="314"/>
                  </a:cubicBezTo>
                  <a:cubicBezTo>
                    <a:pt x="305" y="314"/>
                    <a:pt x="305" y="314"/>
                    <a:pt x="305" y="314"/>
                  </a:cubicBezTo>
                  <a:cubicBezTo>
                    <a:pt x="304" y="314"/>
                    <a:pt x="304" y="314"/>
                    <a:pt x="304" y="314"/>
                  </a:cubicBezTo>
                  <a:cubicBezTo>
                    <a:pt x="304" y="315"/>
                    <a:pt x="304" y="315"/>
                    <a:pt x="304" y="316"/>
                  </a:cubicBezTo>
                  <a:cubicBezTo>
                    <a:pt x="304" y="316"/>
                    <a:pt x="304" y="316"/>
                    <a:pt x="304" y="316"/>
                  </a:cubicBezTo>
                  <a:cubicBezTo>
                    <a:pt x="304" y="317"/>
                    <a:pt x="303" y="318"/>
                    <a:pt x="303" y="319"/>
                  </a:cubicBezTo>
                  <a:cubicBezTo>
                    <a:pt x="303" y="319"/>
                    <a:pt x="303" y="319"/>
                    <a:pt x="303" y="319"/>
                  </a:cubicBezTo>
                  <a:cubicBezTo>
                    <a:pt x="303" y="319"/>
                    <a:pt x="303" y="319"/>
                    <a:pt x="303" y="319"/>
                  </a:cubicBezTo>
                  <a:cubicBezTo>
                    <a:pt x="303" y="319"/>
                    <a:pt x="303" y="319"/>
                    <a:pt x="302" y="319"/>
                  </a:cubicBezTo>
                  <a:cubicBezTo>
                    <a:pt x="302" y="321"/>
                    <a:pt x="302" y="322"/>
                    <a:pt x="301" y="323"/>
                  </a:cubicBezTo>
                  <a:cubicBezTo>
                    <a:pt x="301" y="324"/>
                    <a:pt x="300" y="324"/>
                    <a:pt x="300" y="324"/>
                  </a:cubicBezTo>
                  <a:cubicBezTo>
                    <a:pt x="300" y="325"/>
                    <a:pt x="300" y="325"/>
                    <a:pt x="300" y="325"/>
                  </a:cubicBezTo>
                  <a:cubicBezTo>
                    <a:pt x="300" y="325"/>
                    <a:pt x="299" y="325"/>
                    <a:pt x="299" y="326"/>
                  </a:cubicBezTo>
                  <a:cubicBezTo>
                    <a:pt x="299" y="326"/>
                    <a:pt x="299" y="326"/>
                    <a:pt x="299" y="326"/>
                  </a:cubicBezTo>
                  <a:cubicBezTo>
                    <a:pt x="299" y="327"/>
                    <a:pt x="298" y="327"/>
                    <a:pt x="298" y="327"/>
                  </a:cubicBezTo>
                  <a:cubicBezTo>
                    <a:pt x="298" y="327"/>
                    <a:pt x="298" y="328"/>
                    <a:pt x="298" y="328"/>
                  </a:cubicBezTo>
                  <a:cubicBezTo>
                    <a:pt x="298" y="328"/>
                    <a:pt x="297" y="328"/>
                    <a:pt x="297" y="328"/>
                  </a:cubicBezTo>
                  <a:cubicBezTo>
                    <a:pt x="297" y="328"/>
                    <a:pt x="297" y="329"/>
                    <a:pt x="297" y="329"/>
                  </a:cubicBezTo>
                  <a:cubicBezTo>
                    <a:pt x="296" y="330"/>
                    <a:pt x="296" y="330"/>
                    <a:pt x="295" y="330"/>
                  </a:cubicBezTo>
                  <a:cubicBezTo>
                    <a:pt x="295" y="330"/>
                    <a:pt x="295" y="331"/>
                    <a:pt x="295" y="331"/>
                  </a:cubicBezTo>
                  <a:cubicBezTo>
                    <a:pt x="295" y="331"/>
                    <a:pt x="295" y="331"/>
                    <a:pt x="294" y="332"/>
                  </a:cubicBezTo>
                  <a:cubicBezTo>
                    <a:pt x="294" y="332"/>
                    <a:pt x="294" y="332"/>
                    <a:pt x="294" y="332"/>
                  </a:cubicBezTo>
                  <a:cubicBezTo>
                    <a:pt x="294" y="333"/>
                    <a:pt x="294" y="333"/>
                    <a:pt x="293" y="333"/>
                  </a:cubicBezTo>
                  <a:cubicBezTo>
                    <a:pt x="293" y="333"/>
                    <a:pt x="293" y="333"/>
                    <a:pt x="293" y="334"/>
                  </a:cubicBezTo>
                  <a:cubicBezTo>
                    <a:pt x="293" y="334"/>
                    <a:pt x="292" y="334"/>
                    <a:pt x="292" y="335"/>
                  </a:cubicBezTo>
                  <a:cubicBezTo>
                    <a:pt x="292" y="335"/>
                    <a:pt x="292" y="335"/>
                    <a:pt x="292" y="335"/>
                  </a:cubicBezTo>
                  <a:cubicBezTo>
                    <a:pt x="292" y="336"/>
                    <a:pt x="291" y="336"/>
                    <a:pt x="291" y="336"/>
                  </a:cubicBezTo>
                  <a:cubicBezTo>
                    <a:pt x="291" y="336"/>
                    <a:pt x="291" y="337"/>
                    <a:pt x="291" y="337"/>
                  </a:cubicBezTo>
                  <a:cubicBezTo>
                    <a:pt x="291" y="337"/>
                    <a:pt x="290" y="337"/>
                    <a:pt x="290" y="338"/>
                  </a:cubicBezTo>
                  <a:cubicBezTo>
                    <a:pt x="290" y="338"/>
                    <a:pt x="290" y="338"/>
                    <a:pt x="290" y="338"/>
                  </a:cubicBezTo>
                  <a:cubicBezTo>
                    <a:pt x="290" y="339"/>
                    <a:pt x="289" y="339"/>
                    <a:pt x="289" y="339"/>
                  </a:cubicBezTo>
                  <a:cubicBezTo>
                    <a:pt x="289" y="339"/>
                    <a:pt x="289" y="339"/>
                    <a:pt x="289" y="340"/>
                  </a:cubicBezTo>
                  <a:cubicBezTo>
                    <a:pt x="288" y="340"/>
                    <a:pt x="288" y="340"/>
                    <a:pt x="287" y="341"/>
                  </a:cubicBezTo>
                  <a:cubicBezTo>
                    <a:pt x="287" y="341"/>
                    <a:pt x="287" y="341"/>
                    <a:pt x="287" y="342"/>
                  </a:cubicBezTo>
                  <a:cubicBezTo>
                    <a:pt x="287" y="342"/>
                    <a:pt x="287" y="342"/>
                    <a:pt x="286" y="342"/>
                  </a:cubicBezTo>
                  <a:cubicBezTo>
                    <a:pt x="286" y="342"/>
                    <a:pt x="286" y="343"/>
                    <a:pt x="286" y="343"/>
                  </a:cubicBezTo>
                  <a:cubicBezTo>
                    <a:pt x="286" y="343"/>
                    <a:pt x="286" y="343"/>
                    <a:pt x="285" y="344"/>
                  </a:cubicBezTo>
                  <a:cubicBezTo>
                    <a:pt x="285" y="344"/>
                    <a:pt x="285" y="344"/>
                    <a:pt x="285" y="344"/>
                  </a:cubicBezTo>
                  <a:cubicBezTo>
                    <a:pt x="285" y="345"/>
                    <a:pt x="284" y="345"/>
                    <a:pt x="284" y="346"/>
                  </a:cubicBezTo>
                  <a:cubicBezTo>
                    <a:pt x="284" y="346"/>
                    <a:pt x="284" y="346"/>
                    <a:pt x="284" y="346"/>
                  </a:cubicBezTo>
                  <a:cubicBezTo>
                    <a:pt x="281" y="347"/>
                    <a:pt x="279" y="347"/>
                    <a:pt x="277" y="348"/>
                  </a:cubicBezTo>
                  <a:cubicBezTo>
                    <a:pt x="277" y="348"/>
                    <a:pt x="277" y="348"/>
                    <a:pt x="277" y="348"/>
                  </a:cubicBezTo>
                  <a:cubicBezTo>
                    <a:pt x="277" y="348"/>
                    <a:pt x="277" y="348"/>
                    <a:pt x="277" y="348"/>
                  </a:cubicBezTo>
                  <a:cubicBezTo>
                    <a:pt x="277" y="348"/>
                    <a:pt x="277" y="348"/>
                    <a:pt x="277" y="348"/>
                  </a:cubicBezTo>
                  <a:cubicBezTo>
                    <a:pt x="274" y="349"/>
                    <a:pt x="272" y="350"/>
                    <a:pt x="269" y="351"/>
                  </a:cubicBezTo>
                  <a:cubicBezTo>
                    <a:pt x="266" y="352"/>
                    <a:pt x="262" y="353"/>
                    <a:pt x="259" y="354"/>
                  </a:cubicBezTo>
                  <a:cubicBezTo>
                    <a:pt x="258" y="355"/>
                    <a:pt x="257" y="355"/>
                    <a:pt x="256" y="355"/>
                  </a:cubicBezTo>
                  <a:cubicBezTo>
                    <a:pt x="256" y="355"/>
                    <a:pt x="256" y="355"/>
                    <a:pt x="256" y="355"/>
                  </a:cubicBezTo>
                  <a:cubicBezTo>
                    <a:pt x="254" y="356"/>
                    <a:pt x="252" y="356"/>
                    <a:pt x="250" y="357"/>
                  </a:cubicBezTo>
                  <a:cubicBezTo>
                    <a:pt x="250" y="357"/>
                    <a:pt x="250" y="357"/>
                    <a:pt x="250" y="357"/>
                  </a:cubicBezTo>
                  <a:cubicBezTo>
                    <a:pt x="249" y="357"/>
                    <a:pt x="249" y="357"/>
                    <a:pt x="249" y="357"/>
                  </a:cubicBezTo>
                  <a:cubicBezTo>
                    <a:pt x="249" y="357"/>
                    <a:pt x="249" y="357"/>
                    <a:pt x="249" y="358"/>
                  </a:cubicBezTo>
                  <a:cubicBezTo>
                    <a:pt x="248" y="358"/>
                    <a:pt x="247" y="358"/>
                    <a:pt x="246" y="358"/>
                  </a:cubicBezTo>
                  <a:cubicBezTo>
                    <a:pt x="246" y="358"/>
                    <a:pt x="246" y="358"/>
                    <a:pt x="246" y="358"/>
                  </a:cubicBezTo>
                  <a:cubicBezTo>
                    <a:pt x="245" y="358"/>
                    <a:pt x="244" y="359"/>
                    <a:pt x="243" y="359"/>
                  </a:cubicBezTo>
                  <a:cubicBezTo>
                    <a:pt x="243" y="359"/>
                    <a:pt x="243" y="359"/>
                    <a:pt x="243" y="359"/>
                  </a:cubicBezTo>
                  <a:cubicBezTo>
                    <a:pt x="242" y="359"/>
                    <a:pt x="241" y="359"/>
                    <a:pt x="240" y="360"/>
                  </a:cubicBezTo>
                  <a:cubicBezTo>
                    <a:pt x="240" y="360"/>
                    <a:pt x="240" y="360"/>
                    <a:pt x="240" y="360"/>
                  </a:cubicBezTo>
                  <a:cubicBezTo>
                    <a:pt x="240" y="360"/>
                    <a:pt x="239" y="360"/>
                    <a:pt x="239" y="360"/>
                  </a:cubicBezTo>
                  <a:cubicBezTo>
                    <a:pt x="239" y="360"/>
                    <a:pt x="239" y="360"/>
                    <a:pt x="239" y="360"/>
                  </a:cubicBezTo>
                  <a:cubicBezTo>
                    <a:pt x="238" y="360"/>
                    <a:pt x="238" y="360"/>
                    <a:pt x="238" y="360"/>
                  </a:cubicBezTo>
                  <a:cubicBezTo>
                    <a:pt x="238" y="360"/>
                    <a:pt x="238" y="361"/>
                    <a:pt x="238" y="361"/>
                  </a:cubicBezTo>
                  <a:cubicBezTo>
                    <a:pt x="237" y="361"/>
                    <a:pt x="237" y="361"/>
                    <a:pt x="236" y="361"/>
                  </a:cubicBezTo>
                  <a:cubicBezTo>
                    <a:pt x="236" y="361"/>
                    <a:pt x="236" y="361"/>
                    <a:pt x="236" y="361"/>
                  </a:cubicBezTo>
                  <a:cubicBezTo>
                    <a:pt x="236" y="361"/>
                    <a:pt x="235" y="361"/>
                    <a:pt x="234" y="361"/>
                  </a:cubicBezTo>
                  <a:cubicBezTo>
                    <a:pt x="232" y="362"/>
                    <a:pt x="230" y="363"/>
                    <a:pt x="228" y="363"/>
                  </a:cubicBezTo>
                  <a:cubicBezTo>
                    <a:pt x="230" y="371"/>
                    <a:pt x="231" y="379"/>
                    <a:pt x="233" y="387"/>
                  </a:cubicBezTo>
                  <a:cubicBezTo>
                    <a:pt x="232" y="387"/>
                    <a:pt x="232" y="388"/>
                    <a:pt x="231" y="389"/>
                  </a:cubicBezTo>
                  <a:cubicBezTo>
                    <a:pt x="230" y="390"/>
                    <a:pt x="229" y="391"/>
                    <a:pt x="228" y="391"/>
                  </a:cubicBezTo>
                  <a:cubicBezTo>
                    <a:pt x="228" y="392"/>
                    <a:pt x="228" y="392"/>
                    <a:pt x="227" y="393"/>
                  </a:cubicBezTo>
                  <a:cubicBezTo>
                    <a:pt x="227" y="393"/>
                    <a:pt x="227" y="393"/>
                    <a:pt x="227" y="393"/>
                  </a:cubicBezTo>
                  <a:cubicBezTo>
                    <a:pt x="227" y="393"/>
                    <a:pt x="227" y="394"/>
                    <a:pt x="227" y="394"/>
                  </a:cubicBezTo>
                  <a:cubicBezTo>
                    <a:pt x="226" y="394"/>
                    <a:pt x="225" y="395"/>
                    <a:pt x="224" y="396"/>
                  </a:cubicBezTo>
                  <a:cubicBezTo>
                    <a:pt x="224" y="396"/>
                    <a:pt x="223" y="397"/>
                    <a:pt x="223" y="398"/>
                  </a:cubicBezTo>
                  <a:cubicBezTo>
                    <a:pt x="219" y="398"/>
                    <a:pt x="215" y="399"/>
                    <a:pt x="211" y="400"/>
                  </a:cubicBezTo>
                  <a:cubicBezTo>
                    <a:pt x="211" y="400"/>
                    <a:pt x="211" y="400"/>
                    <a:pt x="211" y="400"/>
                  </a:cubicBezTo>
                  <a:cubicBezTo>
                    <a:pt x="210" y="400"/>
                    <a:pt x="210" y="400"/>
                    <a:pt x="209" y="400"/>
                  </a:cubicBezTo>
                  <a:cubicBezTo>
                    <a:pt x="209" y="400"/>
                    <a:pt x="209" y="400"/>
                    <a:pt x="209" y="401"/>
                  </a:cubicBezTo>
                  <a:cubicBezTo>
                    <a:pt x="208" y="401"/>
                    <a:pt x="208" y="401"/>
                    <a:pt x="207" y="401"/>
                  </a:cubicBezTo>
                  <a:cubicBezTo>
                    <a:pt x="206" y="401"/>
                    <a:pt x="205" y="401"/>
                    <a:pt x="203" y="401"/>
                  </a:cubicBezTo>
                  <a:cubicBezTo>
                    <a:pt x="203" y="401"/>
                    <a:pt x="203" y="401"/>
                    <a:pt x="203" y="402"/>
                  </a:cubicBezTo>
                  <a:cubicBezTo>
                    <a:pt x="203" y="402"/>
                    <a:pt x="203" y="401"/>
                    <a:pt x="203" y="401"/>
                  </a:cubicBezTo>
                  <a:cubicBezTo>
                    <a:pt x="202" y="400"/>
                    <a:pt x="201" y="399"/>
                    <a:pt x="200" y="397"/>
                  </a:cubicBezTo>
                  <a:cubicBezTo>
                    <a:pt x="198" y="396"/>
                    <a:pt x="197" y="395"/>
                    <a:pt x="195" y="393"/>
                  </a:cubicBezTo>
                  <a:cubicBezTo>
                    <a:pt x="195" y="393"/>
                    <a:pt x="195" y="393"/>
                    <a:pt x="195" y="392"/>
                  </a:cubicBezTo>
                  <a:cubicBezTo>
                    <a:pt x="194" y="392"/>
                    <a:pt x="193" y="391"/>
                    <a:pt x="193" y="390"/>
                  </a:cubicBezTo>
                  <a:cubicBezTo>
                    <a:pt x="193" y="390"/>
                    <a:pt x="193" y="390"/>
                    <a:pt x="193" y="390"/>
                  </a:cubicBezTo>
                  <a:cubicBezTo>
                    <a:pt x="192" y="390"/>
                    <a:pt x="192" y="390"/>
                    <a:pt x="191" y="390"/>
                  </a:cubicBezTo>
                  <a:cubicBezTo>
                    <a:pt x="191" y="390"/>
                    <a:pt x="191" y="390"/>
                    <a:pt x="191" y="390"/>
                  </a:cubicBezTo>
                  <a:cubicBezTo>
                    <a:pt x="190" y="390"/>
                    <a:pt x="190" y="390"/>
                    <a:pt x="189" y="390"/>
                  </a:cubicBezTo>
                  <a:cubicBezTo>
                    <a:pt x="186" y="389"/>
                    <a:pt x="182" y="389"/>
                    <a:pt x="180" y="388"/>
                  </a:cubicBezTo>
                  <a:cubicBezTo>
                    <a:pt x="179" y="388"/>
                    <a:pt x="178" y="388"/>
                    <a:pt x="177" y="388"/>
                  </a:cubicBezTo>
                  <a:cubicBezTo>
                    <a:pt x="177" y="388"/>
                    <a:pt x="177" y="388"/>
                    <a:pt x="177" y="388"/>
                  </a:cubicBezTo>
                  <a:cubicBezTo>
                    <a:pt x="175" y="389"/>
                    <a:pt x="174" y="390"/>
                    <a:pt x="173" y="391"/>
                  </a:cubicBezTo>
                  <a:cubicBezTo>
                    <a:pt x="172" y="392"/>
                    <a:pt x="172" y="393"/>
                    <a:pt x="171" y="393"/>
                  </a:cubicBezTo>
                  <a:cubicBezTo>
                    <a:pt x="171" y="394"/>
                    <a:pt x="170" y="394"/>
                    <a:pt x="170" y="395"/>
                  </a:cubicBezTo>
                  <a:cubicBezTo>
                    <a:pt x="170" y="395"/>
                    <a:pt x="169" y="395"/>
                    <a:pt x="169" y="395"/>
                  </a:cubicBezTo>
                  <a:cubicBezTo>
                    <a:pt x="167" y="397"/>
                    <a:pt x="165" y="399"/>
                    <a:pt x="164" y="401"/>
                  </a:cubicBezTo>
                  <a:cubicBezTo>
                    <a:pt x="163" y="401"/>
                    <a:pt x="163" y="401"/>
                    <a:pt x="163" y="401"/>
                  </a:cubicBezTo>
                  <a:cubicBezTo>
                    <a:pt x="162" y="401"/>
                    <a:pt x="162" y="402"/>
                    <a:pt x="162" y="402"/>
                  </a:cubicBezTo>
                  <a:cubicBezTo>
                    <a:pt x="162" y="402"/>
                    <a:pt x="162" y="402"/>
                    <a:pt x="162" y="402"/>
                  </a:cubicBezTo>
                  <a:cubicBezTo>
                    <a:pt x="161" y="402"/>
                    <a:pt x="161" y="403"/>
                    <a:pt x="161" y="403"/>
                  </a:cubicBezTo>
                  <a:cubicBezTo>
                    <a:pt x="160" y="404"/>
                    <a:pt x="158" y="406"/>
                    <a:pt x="156" y="408"/>
                  </a:cubicBezTo>
                  <a:cubicBezTo>
                    <a:pt x="156" y="408"/>
                    <a:pt x="156" y="408"/>
                    <a:pt x="156" y="408"/>
                  </a:cubicBezTo>
                  <a:cubicBezTo>
                    <a:pt x="155" y="410"/>
                    <a:pt x="153" y="411"/>
                    <a:pt x="152" y="412"/>
                  </a:cubicBezTo>
                  <a:cubicBezTo>
                    <a:pt x="151" y="413"/>
                    <a:pt x="151" y="414"/>
                    <a:pt x="150" y="414"/>
                  </a:cubicBezTo>
                  <a:cubicBezTo>
                    <a:pt x="149" y="408"/>
                    <a:pt x="143" y="409"/>
                    <a:pt x="137" y="407"/>
                  </a:cubicBezTo>
                  <a:cubicBezTo>
                    <a:pt x="137" y="407"/>
                    <a:pt x="136" y="407"/>
                    <a:pt x="135" y="407"/>
                  </a:cubicBezTo>
                  <a:cubicBezTo>
                    <a:pt x="135" y="407"/>
                    <a:pt x="135" y="407"/>
                    <a:pt x="135" y="407"/>
                  </a:cubicBezTo>
                  <a:cubicBezTo>
                    <a:pt x="134" y="407"/>
                    <a:pt x="134" y="407"/>
                    <a:pt x="133" y="407"/>
                  </a:cubicBezTo>
                  <a:cubicBezTo>
                    <a:pt x="133" y="407"/>
                    <a:pt x="133" y="407"/>
                    <a:pt x="133" y="406"/>
                  </a:cubicBezTo>
                  <a:cubicBezTo>
                    <a:pt x="133" y="406"/>
                    <a:pt x="132" y="406"/>
                    <a:pt x="131" y="406"/>
                  </a:cubicBezTo>
                  <a:cubicBezTo>
                    <a:pt x="131" y="406"/>
                    <a:pt x="131" y="406"/>
                    <a:pt x="131" y="406"/>
                  </a:cubicBezTo>
                  <a:cubicBezTo>
                    <a:pt x="131" y="406"/>
                    <a:pt x="130" y="406"/>
                    <a:pt x="130" y="405"/>
                  </a:cubicBezTo>
                  <a:cubicBezTo>
                    <a:pt x="130" y="405"/>
                    <a:pt x="130" y="405"/>
                    <a:pt x="130" y="405"/>
                  </a:cubicBezTo>
                  <a:cubicBezTo>
                    <a:pt x="129" y="405"/>
                    <a:pt x="129" y="405"/>
                    <a:pt x="129" y="405"/>
                  </a:cubicBezTo>
                  <a:cubicBezTo>
                    <a:pt x="129" y="404"/>
                    <a:pt x="128" y="404"/>
                    <a:pt x="128" y="403"/>
                  </a:cubicBezTo>
                  <a:cubicBezTo>
                    <a:pt x="127" y="403"/>
                    <a:pt x="127" y="403"/>
                    <a:pt x="127" y="403"/>
                  </a:cubicBezTo>
                  <a:cubicBezTo>
                    <a:pt x="127" y="403"/>
                    <a:pt x="127" y="403"/>
                    <a:pt x="127" y="403"/>
                  </a:cubicBezTo>
                  <a:cubicBezTo>
                    <a:pt x="125" y="402"/>
                    <a:pt x="121" y="404"/>
                    <a:pt x="120" y="404"/>
                  </a:cubicBezTo>
                  <a:cubicBezTo>
                    <a:pt x="119" y="404"/>
                    <a:pt x="119" y="404"/>
                    <a:pt x="119" y="404"/>
                  </a:cubicBezTo>
                  <a:cubicBezTo>
                    <a:pt x="119" y="404"/>
                    <a:pt x="119" y="404"/>
                    <a:pt x="119" y="404"/>
                  </a:cubicBezTo>
                  <a:cubicBezTo>
                    <a:pt x="118" y="404"/>
                    <a:pt x="118" y="404"/>
                    <a:pt x="117" y="404"/>
                  </a:cubicBezTo>
                  <a:cubicBezTo>
                    <a:pt x="117" y="404"/>
                    <a:pt x="117" y="405"/>
                    <a:pt x="117" y="405"/>
                  </a:cubicBezTo>
                  <a:cubicBezTo>
                    <a:pt x="117" y="405"/>
                    <a:pt x="117" y="405"/>
                    <a:pt x="116" y="405"/>
                  </a:cubicBezTo>
                  <a:cubicBezTo>
                    <a:pt x="116" y="405"/>
                    <a:pt x="116" y="405"/>
                    <a:pt x="116" y="405"/>
                  </a:cubicBezTo>
                  <a:cubicBezTo>
                    <a:pt x="116" y="405"/>
                    <a:pt x="115" y="405"/>
                    <a:pt x="114" y="405"/>
                  </a:cubicBezTo>
                  <a:cubicBezTo>
                    <a:pt x="114" y="406"/>
                    <a:pt x="114" y="406"/>
                    <a:pt x="114" y="406"/>
                  </a:cubicBezTo>
                  <a:cubicBezTo>
                    <a:pt x="113" y="406"/>
                    <a:pt x="113" y="406"/>
                    <a:pt x="113" y="406"/>
                  </a:cubicBezTo>
                  <a:cubicBezTo>
                    <a:pt x="113" y="406"/>
                    <a:pt x="113" y="406"/>
                    <a:pt x="113" y="406"/>
                  </a:cubicBezTo>
                  <a:cubicBezTo>
                    <a:pt x="112" y="406"/>
                    <a:pt x="110" y="406"/>
                    <a:pt x="109" y="406"/>
                  </a:cubicBezTo>
                  <a:cubicBezTo>
                    <a:pt x="109" y="407"/>
                    <a:pt x="109" y="407"/>
                    <a:pt x="109" y="407"/>
                  </a:cubicBezTo>
                  <a:cubicBezTo>
                    <a:pt x="108" y="407"/>
                    <a:pt x="107" y="407"/>
                    <a:pt x="105" y="406"/>
                  </a:cubicBezTo>
                  <a:cubicBezTo>
                    <a:pt x="105" y="406"/>
                    <a:pt x="105" y="406"/>
                    <a:pt x="104" y="405"/>
                  </a:cubicBezTo>
                  <a:cubicBezTo>
                    <a:pt x="104" y="405"/>
                    <a:pt x="104" y="405"/>
                    <a:pt x="104" y="405"/>
                  </a:cubicBezTo>
                  <a:cubicBezTo>
                    <a:pt x="104" y="404"/>
                    <a:pt x="104" y="403"/>
                    <a:pt x="104" y="402"/>
                  </a:cubicBezTo>
                  <a:cubicBezTo>
                    <a:pt x="105" y="399"/>
                    <a:pt x="106" y="396"/>
                    <a:pt x="107" y="394"/>
                  </a:cubicBezTo>
                  <a:cubicBezTo>
                    <a:pt x="107" y="394"/>
                    <a:pt x="108" y="394"/>
                    <a:pt x="108" y="394"/>
                  </a:cubicBezTo>
                  <a:cubicBezTo>
                    <a:pt x="108" y="394"/>
                    <a:pt x="108" y="393"/>
                    <a:pt x="108" y="393"/>
                  </a:cubicBezTo>
                  <a:cubicBezTo>
                    <a:pt x="108" y="393"/>
                    <a:pt x="108" y="393"/>
                    <a:pt x="108" y="393"/>
                  </a:cubicBezTo>
                  <a:cubicBezTo>
                    <a:pt x="108" y="393"/>
                    <a:pt x="108" y="393"/>
                    <a:pt x="108" y="392"/>
                  </a:cubicBezTo>
                  <a:cubicBezTo>
                    <a:pt x="108" y="392"/>
                    <a:pt x="108" y="392"/>
                    <a:pt x="108" y="392"/>
                  </a:cubicBezTo>
                  <a:cubicBezTo>
                    <a:pt x="108" y="392"/>
                    <a:pt x="108" y="392"/>
                    <a:pt x="108" y="392"/>
                  </a:cubicBezTo>
                  <a:cubicBezTo>
                    <a:pt x="108" y="392"/>
                    <a:pt x="109" y="392"/>
                    <a:pt x="109" y="392"/>
                  </a:cubicBezTo>
                  <a:cubicBezTo>
                    <a:pt x="109" y="391"/>
                    <a:pt x="109" y="390"/>
                    <a:pt x="109" y="390"/>
                  </a:cubicBezTo>
                  <a:cubicBezTo>
                    <a:pt x="110" y="390"/>
                    <a:pt x="110" y="390"/>
                    <a:pt x="110" y="390"/>
                  </a:cubicBezTo>
                  <a:cubicBezTo>
                    <a:pt x="110" y="389"/>
                    <a:pt x="110" y="389"/>
                    <a:pt x="110" y="389"/>
                  </a:cubicBezTo>
                  <a:cubicBezTo>
                    <a:pt x="110" y="389"/>
                    <a:pt x="110" y="389"/>
                    <a:pt x="110" y="389"/>
                  </a:cubicBezTo>
                  <a:cubicBezTo>
                    <a:pt x="110" y="388"/>
                    <a:pt x="110" y="388"/>
                    <a:pt x="110" y="388"/>
                  </a:cubicBezTo>
                  <a:cubicBezTo>
                    <a:pt x="110" y="388"/>
                    <a:pt x="110" y="388"/>
                    <a:pt x="110" y="388"/>
                  </a:cubicBezTo>
                  <a:cubicBezTo>
                    <a:pt x="110" y="387"/>
                    <a:pt x="110" y="387"/>
                    <a:pt x="110" y="387"/>
                  </a:cubicBezTo>
                  <a:cubicBezTo>
                    <a:pt x="111" y="387"/>
                    <a:pt x="111" y="387"/>
                    <a:pt x="111" y="387"/>
                  </a:cubicBezTo>
                  <a:cubicBezTo>
                    <a:pt x="111" y="386"/>
                    <a:pt x="111" y="386"/>
                    <a:pt x="111" y="385"/>
                  </a:cubicBezTo>
                  <a:cubicBezTo>
                    <a:pt x="111" y="385"/>
                    <a:pt x="111" y="385"/>
                    <a:pt x="111" y="385"/>
                  </a:cubicBezTo>
                  <a:cubicBezTo>
                    <a:pt x="111" y="385"/>
                    <a:pt x="111" y="384"/>
                    <a:pt x="111" y="384"/>
                  </a:cubicBezTo>
                  <a:cubicBezTo>
                    <a:pt x="111" y="384"/>
                    <a:pt x="111" y="384"/>
                    <a:pt x="112" y="384"/>
                  </a:cubicBezTo>
                  <a:cubicBezTo>
                    <a:pt x="111" y="382"/>
                    <a:pt x="111" y="381"/>
                    <a:pt x="111" y="380"/>
                  </a:cubicBezTo>
                  <a:cubicBezTo>
                    <a:pt x="111" y="380"/>
                    <a:pt x="111" y="380"/>
                    <a:pt x="111" y="380"/>
                  </a:cubicBezTo>
                  <a:cubicBezTo>
                    <a:pt x="111" y="379"/>
                    <a:pt x="111" y="379"/>
                    <a:pt x="111" y="379"/>
                  </a:cubicBezTo>
                  <a:cubicBezTo>
                    <a:pt x="111" y="379"/>
                    <a:pt x="111" y="379"/>
                    <a:pt x="110" y="379"/>
                  </a:cubicBezTo>
                  <a:cubicBezTo>
                    <a:pt x="110" y="378"/>
                    <a:pt x="110" y="378"/>
                    <a:pt x="110" y="378"/>
                  </a:cubicBezTo>
                  <a:cubicBezTo>
                    <a:pt x="110" y="378"/>
                    <a:pt x="110" y="378"/>
                    <a:pt x="110" y="378"/>
                  </a:cubicBezTo>
                  <a:cubicBezTo>
                    <a:pt x="110" y="378"/>
                    <a:pt x="110" y="377"/>
                    <a:pt x="110" y="377"/>
                  </a:cubicBezTo>
                  <a:cubicBezTo>
                    <a:pt x="110" y="377"/>
                    <a:pt x="110" y="377"/>
                    <a:pt x="110" y="377"/>
                  </a:cubicBezTo>
                  <a:cubicBezTo>
                    <a:pt x="110" y="377"/>
                    <a:pt x="110" y="377"/>
                    <a:pt x="110" y="376"/>
                  </a:cubicBezTo>
                  <a:cubicBezTo>
                    <a:pt x="110" y="376"/>
                    <a:pt x="109" y="376"/>
                    <a:pt x="109" y="376"/>
                  </a:cubicBezTo>
                  <a:cubicBezTo>
                    <a:pt x="109" y="376"/>
                    <a:pt x="109" y="376"/>
                    <a:pt x="109" y="375"/>
                  </a:cubicBezTo>
                  <a:cubicBezTo>
                    <a:pt x="109" y="375"/>
                    <a:pt x="109" y="375"/>
                    <a:pt x="108" y="375"/>
                  </a:cubicBezTo>
                  <a:cubicBezTo>
                    <a:pt x="108" y="375"/>
                    <a:pt x="108" y="375"/>
                    <a:pt x="108" y="374"/>
                  </a:cubicBezTo>
                  <a:cubicBezTo>
                    <a:pt x="108" y="374"/>
                    <a:pt x="107" y="374"/>
                    <a:pt x="107" y="373"/>
                  </a:cubicBezTo>
                  <a:cubicBezTo>
                    <a:pt x="107" y="373"/>
                    <a:pt x="107" y="373"/>
                    <a:pt x="107" y="373"/>
                  </a:cubicBezTo>
                  <a:cubicBezTo>
                    <a:pt x="106" y="372"/>
                    <a:pt x="105" y="371"/>
                    <a:pt x="104" y="370"/>
                  </a:cubicBezTo>
                  <a:cubicBezTo>
                    <a:pt x="104" y="370"/>
                    <a:pt x="104" y="369"/>
                    <a:pt x="103" y="369"/>
                  </a:cubicBezTo>
                  <a:cubicBezTo>
                    <a:pt x="103" y="369"/>
                    <a:pt x="103" y="369"/>
                    <a:pt x="103" y="369"/>
                  </a:cubicBezTo>
                  <a:cubicBezTo>
                    <a:pt x="103" y="369"/>
                    <a:pt x="103" y="369"/>
                    <a:pt x="102" y="368"/>
                  </a:cubicBezTo>
                  <a:cubicBezTo>
                    <a:pt x="100" y="368"/>
                    <a:pt x="97" y="367"/>
                    <a:pt x="94" y="367"/>
                  </a:cubicBezTo>
                  <a:cubicBezTo>
                    <a:pt x="94" y="366"/>
                    <a:pt x="94" y="366"/>
                    <a:pt x="94" y="366"/>
                  </a:cubicBezTo>
                  <a:cubicBezTo>
                    <a:pt x="94" y="366"/>
                    <a:pt x="94" y="366"/>
                    <a:pt x="93" y="366"/>
                  </a:cubicBezTo>
                  <a:cubicBezTo>
                    <a:pt x="93" y="366"/>
                    <a:pt x="93" y="366"/>
                    <a:pt x="93" y="365"/>
                  </a:cubicBezTo>
                  <a:cubicBezTo>
                    <a:pt x="92" y="365"/>
                    <a:pt x="92" y="365"/>
                    <a:pt x="92" y="365"/>
                  </a:cubicBezTo>
                  <a:cubicBezTo>
                    <a:pt x="92" y="365"/>
                    <a:pt x="92" y="365"/>
                    <a:pt x="92" y="365"/>
                  </a:cubicBezTo>
                  <a:cubicBezTo>
                    <a:pt x="91" y="365"/>
                    <a:pt x="91" y="365"/>
                    <a:pt x="91" y="365"/>
                  </a:cubicBezTo>
                  <a:cubicBezTo>
                    <a:pt x="91" y="364"/>
                    <a:pt x="91" y="364"/>
                    <a:pt x="91" y="364"/>
                  </a:cubicBezTo>
                  <a:cubicBezTo>
                    <a:pt x="90" y="364"/>
                    <a:pt x="89" y="363"/>
                    <a:pt x="88" y="363"/>
                  </a:cubicBezTo>
                  <a:cubicBezTo>
                    <a:pt x="88" y="363"/>
                    <a:pt x="88" y="363"/>
                    <a:pt x="88" y="363"/>
                  </a:cubicBezTo>
                  <a:cubicBezTo>
                    <a:pt x="88" y="363"/>
                    <a:pt x="88" y="363"/>
                    <a:pt x="88" y="363"/>
                  </a:cubicBezTo>
                  <a:cubicBezTo>
                    <a:pt x="88" y="363"/>
                    <a:pt x="88" y="363"/>
                    <a:pt x="88" y="362"/>
                  </a:cubicBezTo>
                  <a:cubicBezTo>
                    <a:pt x="87" y="362"/>
                    <a:pt x="86" y="362"/>
                    <a:pt x="86" y="362"/>
                  </a:cubicBezTo>
                  <a:cubicBezTo>
                    <a:pt x="86" y="362"/>
                    <a:pt x="86" y="361"/>
                    <a:pt x="86" y="361"/>
                  </a:cubicBezTo>
                  <a:cubicBezTo>
                    <a:pt x="83" y="361"/>
                    <a:pt x="81" y="360"/>
                    <a:pt x="79" y="359"/>
                  </a:cubicBezTo>
                  <a:cubicBezTo>
                    <a:pt x="77" y="359"/>
                    <a:pt x="74" y="359"/>
                    <a:pt x="73" y="360"/>
                  </a:cubicBezTo>
                  <a:cubicBezTo>
                    <a:pt x="72" y="360"/>
                    <a:pt x="71" y="360"/>
                    <a:pt x="70" y="360"/>
                  </a:cubicBezTo>
                  <a:cubicBezTo>
                    <a:pt x="67" y="361"/>
                    <a:pt x="66" y="363"/>
                    <a:pt x="62" y="363"/>
                  </a:cubicBezTo>
                  <a:cubicBezTo>
                    <a:pt x="61" y="362"/>
                    <a:pt x="60" y="362"/>
                    <a:pt x="60" y="361"/>
                  </a:cubicBezTo>
                  <a:cubicBezTo>
                    <a:pt x="59" y="361"/>
                    <a:pt x="59" y="360"/>
                    <a:pt x="58" y="359"/>
                  </a:cubicBezTo>
                  <a:cubicBezTo>
                    <a:pt x="58" y="359"/>
                    <a:pt x="58" y="359"/>
                    <a:pt x="58" y="359"/>
                  </a:cubicBezTo>
                  <a:cubicBezTo>
                    <a:pt x="58" y="359"/>
                    <a:pt x="58" y="358"/>
                    <a:pt x="58" y="358"/>
                  </a:cubicBezTo>
                  <a:cubicBezTo>
                    <a:pt x="57" y="358"/>
                    <a:pt x="57" y="358"/>
                    <a:pt x="57" y="358"/>
                  </a:cubicBezTo>
                  <a:cubicBezTo>
                    <a:pt x="57" y="357"/>
                    <a:pt x="57" y="357"/>
                    <a:pt x="57" y="356"/>
                  </a:cubicBezTo>
                  <a:cubicBezTo>
                    <a:pt x="56" y="356"/>
                    <a:pt x="56" y="356"/>
                    <a:pt x="56" y="356"/>
                  </a:cubicBezTo>
                  <a:cubicBezTo>
                    <a:pt x="56" y="356"/>
                    <a:pt x="56" y="356"/>
                    <a:pt x="56" y="355"/>
                  </a:cubicBezTo>
                  <a:cubicBezTo>
                    <a:pt x="54" y="351"/>
                    <a:pt x="54" y="344"/>
                    <a:pt x="53" y="339"/>
                  </a:cubicBezTo>
                  <a:cubicBezTo>
                    <a:pt x="52" y="338"/>
                    <a:pt x="50" y="337"/>
                    <a:pt x="49" y="337"/>
                  </a:cubicBezTo>
                  <a:cubicBezTo>
                    <a:pt x="48" y="336"/>
                    <a:pt x="48" y="336"/>
                    <a:pt x="48" y="336"/>
                  </a:cubicBezTo>
                  <a:cubicBezTo>
                    <a:pt x="48" y="336"/>
                    <a:pt x="47" y="336"/>
                    <a:pt x="47" y="335"/>
                  </a:cubicBezTo>
                  <a:cubicBezTo>
                    <a:pt x="47" y="335"/>
                    <a:pt x="47" y="335"/>
                    <a:pt x="46" y="335"/>
                  </a:cubicBezTo>
                  <a:cubicBezTo>
                    <a:pt x="46" y="335"/>
                    <a:pt x="46" y="335"/>
                    <a:pt x="46" y="335"/>
                  </a:cubicBezTo>
                  <a:cubicBezTo>
                    <a:pt x="46" y="335"/>
                    <a:pt x="46" y="334"/>
                    <a:pt x="45" y="334"/>
                  </a:cubicBezTo>
                  <a:cubicBezTo>
                    <a:pt x="45" y="334"/>
                    <a:pt x="45" y="334"/>
                    <a:pt x="45" y="334"/>
                  </a:cubicBezTo>
                  <a:cubicBezTo>
                    <a:pt x="45" y="334"/>
                    <a:pt x="45" y="334"/>
                    <a:pt x="45" y="334"/>
                  </a:cubicBezTo>
                  <a:cubicBezTo>
                    <a:pt x="44" y="334"/>
                    <a:pt x="44" y="333"/>
                    <a:pt x="44" y="333"/>
                  </a:cubicBezTo>
                  <a:cubicBezTo>
                    <a:pt x="44" y="333"/>
                    <a:pt x="43" y="333"/>
                    <a:pt x="43" y="333"/>
                  </a:cubicBezTo>
                  <a:cubicBezTo>
                    <a:pt x="43" y="333"/>
                    <a:pt x="43" y="333"/>
                    <a:pt x="43" y="333"/>
                  </a:cubicBezTo>
                  <a:cubicBezTo>
                    <a:pt x="43" y="333"/>
                    <a:pt x="43" y="332"/>
                    <a:pt x="43" y="332"/>
                  </a:cubicBezTo>
                  <a:cubicBezTo>
                    <a:pt x="42" y="332"/>
                    <a:pt x="42" y="332"/>
                    <a:pt x="42" y="332"/>
                  </a:cubicBezTo>
                  <a:cubicBezTo>
                    <a:pt x="41" y="332"/>
                    <a:pt x="41" y="332"/>
                    <a:pt x="41" y="331"/>
                  </a:cubicBezTo>
                  <a:cubicBezTo>
                    <a:pt x="41" y="331"/>
                    <a:pt x="41" y="331"/>
                    <a:pt x="41" y="331"/>
                  </a:cubicBezTo>
                  <a:cubicBezTo>
                    <a:pt x="40" y="331"/>
                    <a:pt x="40" y="331"/>
                    <a:pt x="40" y="330"/>
                  </a:cubicBezTo>
                  <a:cubicBezTo>
                    <a:pt x="40" y="330"/>
                    <a:pt x="39" y="330"/>
                    <a:pt x="39" y="330"/>
                  </a:cubicBezTo>
                  <a:cubicBezTo>
                    <a:pt x="39" y="330"/>
                    <a:pt x="39" y="330"/>
                    <a:pt x="39" y="330"/>
                  </a:cubicBezTo>
                  <a:cubicBezTo>
                    <a:pt x="39" y="330"/>
                    <a:pt x="38" y="330"/>
                    <a:pt x="38" y="330"/>
                  </a:cubicBezTo>
                  <a:cubicBezTo>
                    <a:pt x="38" y="329"/>
                    <a:pt x="38" y="329"/>
                    <a:pt x="38" y="329"/>
                  </a:cubicBezTo>
                  <a:cubicBezTo>
                    <a:pt x="38" y="329"/>
                    <a:pt x="37" y="329"/>
                    <a:pt x="37" y="329"/>
                  </a:cubicBezTo>
                  <a:cubicBezTo>
                    <a:pt x="37" y="329"/>
                    <a:pt x="37" y="328"/>
                    <a:pt x="37" y="328"/>
                  </a:cubicBezTo>
                  <a:cubicBezTo>
                    <a:pt x="36" y="328"/>
                    <a:pt x="36" y="328"/>
                    <a:pt x="36" y="328"/>
                  </a:cubicBezTo>
                  <a:cubicBezTo>
                    <a:pt x="36" y="328"/>
                    <a:pt x="36" y="327"/>
                    <a:pt x="35" y="327"/>
                  </a:cubicBezTo>
                  <a:cubicBezTo>
                    <a:pt x="35" y="327"/>
                    <a:pt x="35" y="327"/>
                    <a:pt x="35" y="327"/>
                  </a:cubicBezTo>
                  <a:cubicBezTo>
                    <a:pt x="34" y="327"/>
                    <a:pt x="34" y="327"/>
                    <a:pt x="34" y="326"/>
                  </a:cubicBezTo>
                  <a:cubicBezTo>
                    <a:pt x="34" y="326"/>
                    <a:pt x="34" y="326"/>
                    <a:pt x="34" y="326"/>
                  </a:cubicBezTo>
                  <a:cubicBezTo>
                    <a:pt x="33" y="326"/>
                    <a:pt x="33" y="326"/>
                    <a:pt x="33" y="325"/>
                  </a:cubicBezTo>
                  <a:cubicBezTo>
                    <a:pt x="33" y="325"/>
                    <a:pt x="32" y="325"/>
                    <a:pt x="32" y="325"/>
                  </a:cubicBezTo>
                  <a:cubicBezTo>
                    <a:pt x="32" y="325"/>
                    <a:pt x="32" y="325"/>
                    <a:pt x="32" y="325"/>
                  </a:cubicBezTo>
                  <a:cubicBezTo>
                    <a:pt x="31" y="325"/>
                    <a:pt x="31" y="324"/>
                    <a:pt x="31" y="324"/>
                  </a:cubicBezTo>
                  <a:cubicBezTo>
                    <a:pt x="31" y="324"/>
                    <a:pt x="31" y="324"/>
                    <a:pt x="31" y="324"/>
                  </a:cubicBezTo>
                  <a:cubicBezTo>
                    <a:pt x="30" y="324"/>
                    <a:pt x="30" y="324"/>
                    <a:pt x="30" y="324"/>
                  </a:cubicBezTo>
                  <a:cubicBezTo>
                    <a:pt x="30" y="324"/>
                    <a:pt x="30" y="323"/>
                    <a:pt x="30" y="323"/>
                  </a:cubicBezTo>
                  <a:cubicBezTo>
                    <a:pt x="29" y="323"/>
                    <a:pt x="29" y="323"/>
                    <a:pt x="29" y="323"/>
                  </a:cubicBezTo>
                  <a:cubicBezTo>
                    <a:pt x="29" y="323"/>
                    <a:pt x="29" y="323"/>
                    <a:pt x="29" y="323"/>
                  </a:cubicBezTo>
                  <a:cubicBezTo>
                    <a:pt x="28" y="323"/>
                    <a:pt x="28" y="323"/>
                    <a:pt x="28" y="323"/>
                  </a:cubicBezTo>
                  <a:cubicBezTo>
                    <a:pt x="28" y="322"/>
                    <a:pt x="28" y="322"/>
                    <a:pt x="28" y="322"/>
                  </a:cubicBezTo>
                  <a:cubicBezTo>
                    <a:pt x="27" y="322"/>
                    <a:pt x="27" y="322"/>
                    <a:pt x="27" y="322"/>
                  </a:cubicBezTo>
                  <a:cubicBezTo>
                    <a:pt x="27" y="321"/>
                    <a:pt x="26" y="321"/>
                    <a:pt x="26" y="321"/>
                  </a:cubicBezTo>
                  <a:cubicBezTo>
                    <a:pt x="26" y="321"/>
                    <a:pt x="26" y="321"/>
                    <a:pt x="25" y="321"/>
                  </a:cubicBezTo>
                  <a:cubicBezTo>
                    <a:pt x="25" y="321"/>
                    <a:pt x="25" y="320"/>
                    <a:pt x="25" y="320"/>
                  </a:cubicBezTo>
                  <a:cubicBezTo>
                    <a:pt x="25" y="320"/>
                    <a:pt x="24" y="320"/>
                    <a:pt x="24" y="320"/>
                  </a:cubicBezTo>
                  <a:cubicBezTo>
                    <a:pt x="24" y="320"/>
                    <a:pt x="24" y="320"/>
                    <a:pt x="24" y="319"/>
                  </a:cubicBezTo>
                  <a:cubicBezTo>
                    <a:pt x="24" y="319"/>
                    <a:pt x="23" y="319"/>
                    <a:pt x="23" y="319"/>
                  </a:cubicBezTo>
                  <a:cubicBezTo>
                    <a:pt x="23" y="319"/>
                    <a:pt x="23" y="319"/>
                    <a:pt x="23" y="319"/>
                  </a:cubicBezTo>
                  <a:cubicBezTo>
                    <a:pt x="22" y="319"/>
                    <a:pt x="22" y="318"/>
                    <a:pt x="22" y="318"/>
                  </a:cubicBezTo>
                  <a:cubicBezTo>
                    <a:pt x="22" y="318"/>
                    <a:pt x="21" y="318"/>
                    <a:pt x="21" y="318"/>
                  </a:cubicBezTo>
                  <a:cubicBezTo>
                    <a:pt x="21" y="318"/>
                    <a:pt x="21" y="318"/>
                    <a:pt x="21" y="318"/>
                  </a:cubicBezTo>
                  <a:cubicBezTo>
                    <a:pt x="20" y="317"/>
                    <a:pt x="20" y="317"/>
                    <a:pt x="20" y="317"/>
                  </a:cubicBezTo>
                  <a:cubicBezTo>
                    <a:pt x="20" y="317"/>
                    <a:pt x="19" y="317"/>
                    <a:pt x="19" y="317"/>
                  </a:cubicBezTo>
                  <a:cubicBezTo>
                    <a:pt x="19" y="316"/>
                    <a:pt x="19" y="316"/>
                    <a:pt x="18" y="316"/>
                  </a:cubicBezTo>
                  <a:cubicBezTo>
                    <a:pt x="18" y="316"/>
                    <a:pt x="17" y="315"/>
                    <a:pt x="16" y="315"/>
                  </a:cubicBezTo>
                  <a:cubicBezTo>
                    <a:pt x="16" y="315"/>
                    <a:pt x="16" y="315"/>
                    <a:pt x="16" y="315"/>
                  </a:cubicBezTo>
                  <a:cubicBezTo>
                    <a:pt x="16" y="315"/>
                    <a:pt x="16" y="315"/>
                    <a:pt x="16" y="315"/>
                  </a:cubicBezTo>
                  <a:cubicBezTo>
                    <a:pt x="16" y="315"/>
                    <a:pt x="16" y="315"/>
                    <a:pt x="16" y="314"/>
                  </a:cubicBezTo>
                  <a:cubicBezTo>
                    <a:pt x="15" y="314"/>
                    <a:pt x="15" y="314"/>
                    <a:pt x="15" y="314"/>
                  </a:cubicBezTo>
                  <a:cubicBezTo>
                    <a:pt x="15" y="314"/>
                    <a:pt x="15" y="314"/>
                    <a:pt x="15" y="314"/>
                  </a:cubicBezTo>
                  <a:cubicBezTo>
                    <a:pt x="14" y="314"/>
                    <a:pt x="14" y="314"/>
                    <a:pt x="13" y="313"/>
                  </a:cubicBezTo>
                  <a:cubicBezTo>
                    <a:pt x="13" y="313"/>
                    <a:pt x="13" y="313"/>
                    <a:pt x="13" y="313"/>
                  </a:cubicBezTo>
                  <a:cubicBezTo>
                    <a:pt x="9" y="312"/>
                    <a:pt x="4" y="311"/>
                    <a:pt x="0" y="310"/>
                  </a:cubicBezTo>
                  <a:cubicBezTo>
                    <a:pt x="0" y="307"/>
                    <a:pt x="0" y="305"/>
                    <a:pt x="0" y="302"/>
                  </a:cubicBezTo>
                  <a:cubicBezTo>
                    <a:pt x="0" y="302"/>
                    <a:pt x="1" y="302"/>
                    <a:pt x="1" y="302"/>
                  </a:cubicBezTo>
                  <a:cubicBezTo>
                    <a:pt x="1" y="301"/>
                    <a:pt x="1" y="300"/>
                    <a:pt x="1" y="298"/>
                  </a:cubicBezTo>
                  <a:cubicBezTo>
                    <a:pt x="1" y="298"/>
                    <a:pt x="1" y="298"/>
                    <a:pt x="1" y="298"/>
                  </a:cubicBezTo>
                  <a:cubicBezTo>
                    <a:pt x="2" y="296"/>
                    <a:pt x="0" y="294"/>
                    <a:pt x="2" y="293"/>
                  </a:cubicBezTo>
                  <a:cubicBezTo>
                    <a:pt x="3" y="292"/>
                    <a:pt x="5" y="292"/>
                    <a:pt x="6" y="291"/>
                  </a:cubicBezTo>
                  <a:cubicBezTo>
                    <a:pt x="6" y="291"/>
                    <a:pt x="6" y="291"/>
                    <a:pt x="6" y="291"/>
                  </a:cubicBezTo>
                  <a:cubicBezTo>
                    <a:pt x="6" y="291"/>
                    <a:pt x="7" y="290"/>
                    <a:pt x="7" y="290"/>
                  </a:cubicBezTo>
                  <a:cubicBezTo>
                    <a:pt x="7" y="290"/>
                    <a:pt x="7" y="290"/>
                    <a:pt x="7" y="290"/>
                  </a:cubicBezTo>
                  <a:cubicBezTo>
                    <a:pt x="8" y="290"/>
                    <a:pt x="8" y="290"/>
                    <a:pt x="8" y="290"/>
                  </a:cubicBezTo>
                  <a:cubicBezTo>
                    <a:pt x="8" y="290"/>
                    <a:pt x="8" y="290"/>
                    <a:pt x="8" y="290"/>
                  </a:cubicBezTo>
                  <a:cubicBezTo>
                    <a:pt x="8" y="290"/>
                    <a:pt x="8" y="290"/>
                    <a:pt x="9" y="290"/>
                  </a:cubicBezTo>
                  <a:cubicBezTo>
                    <a:pt x="9" y="290"/>
                    <a:pt x="9" y="289"/>
                    <a:pt x="9" y="289"/>
                  </a:cubicBezTo>
                  <a:cubicBezTo>
                    <a:pt x="9" y="289"/>
                    <a:pt x="9" y="289"/>
                    <a:pt x="9" y="289"/>
                  </a:cubicBezTo>
                  <a:cubicBezTo>
                    <a:pt x="9" y="289"/>
                    <a:pt x="9" y="289"/>
                    <a:pt x="9" y="289"/>
                  </a:cubicBezTo>
                  <a:cubicBezTo>
                    <a:pt x="10" y="289"/>
                    <a:pt x="10" y="289"/>
                    <a:pt x="10" y="289"/>
                  </a:cubicBezTo>
                  <a:cubicBezTo>
                    <a:pt x="10" y="289"/>
                    <a:pt x="10" y="289"/>
                    <a:pt x="10" y="289"/>
                  </a:cubicBezTo>
                  <a:cubicBezTo>
                    <a:pt x="10" y="289"/>
                    <a:pt x="11" y="289"/>
                    <a:pt x="11" y="289"/>
                  </a:cubicBezTo>
                  <a:cubicBezTo>
                    <a:pt x="11" y="288"/>
                    <a:pt x="11" y="288"/>
                    <a:pt x="11" y="288"/>
                  </a:cubicBezTo>
                  <a:cubicBezTo>
                    <a:pt x="11" y="288"/>
                    <a:pt x="12" y="288"/>
                    <a:pt x="12" y="288"/>
                  </a:cubicBezTo>
                  <a:cubicBezTo>
                    <a:pt x="13" y="287"/>
                    <a:pt x="14" y="287"/>
                    <a:pt x="16" y="286"/>
                  </a:cubicBezTo>
                  <a:cubicBezTo>
                    <a:pt x="16" y="285"/>
                    <a:pt x="16" y="283"/>
                    <a:pt x="17" y="282"/>
                  </a:cubicBezTo>
                  <a:cubicBezTo>
                    <a:pt x="17" y="281"/>
                    <a:pt x="17" y="280"/>
                    <a:pt x="17" y="279"/>
                  </a:cubicBezTo>
                  <a:cubicBezTo>
                    <a:pt x="17" y="279"/>
                    <a:pt x="17" y="279"/>
                    <a:pt x="17" y="279"/>
                  </a:cubicBezTo>
                  <a:cubicBezTo>
                    <a:pt x="17" y="279"/>
                    <a:pt x="17" y="278"/>
                    <a:pt x="17" y="278"/>
                  </a:cubicBezTo>
                  <a:cubicBezTo>
                    <a:pt x="18" y="278"/>
                    <a:pt x="18" y="278"/>
                    <a:pt x="18" y="278"/>
                  </a:cubicBezTo>
                  <a:cubicBezTo>
                    <a:pt x="18" y="277"/>
                    <a:pt x="18" y="277"/>
                    <a:pt x="18" y="276"/>
                  </a:cubicBezTo>
                  <a:cubicBezTo>
                    <a:pt x="18" y="276"/>
                    <a:pt x="18" y="276"/>
                    <a:pt x="18" y="276"/>
                  </a:cubicBezTo>
                  <a:cubicBezTo>
                    <a:pt x="18" y="276"/>
                    <a:pt x="18" y="275"/>
                    <a:pt x="18" y="275"/>
                  </a:cubicBezTo>
                  <a:cubicBezTo>
                    <a:pt x="18" y="275"/>
                    <a:pt x="18" y="275"/>
                    <a:pt x="18" y="275"/>
                  </a:cubicBezTo>
                  <a:cubicBezTo>
                    <a:pt x="19" y="274"/>
                    <a:pt x="19" y="273"/>
                    <a:pt x="19" y="272"/>
                  </a:cubicBezTo>
                  <a:cubicBezTo>
                    <a:pt x="20" y="269"/>
                    <a:pt x="21" y="265"/>
                    <a:pt x="22" y="261"/>
                  </a:cubicBezTo>
                  <a:cubicBezTo>
                    <a:pt x="22" y="256"/>
                    <a:pt x="22" y="251"/>
                    <a:pt x="22" y="246"/>
                  </a:cubicBezTo>
                  <a:cubicBezTo>
                    <a:pt x="22" y="237"/>
                    <a:pt x="22" y="228"/>
                    <a:pt x="22" y="218"/>
                  </a:cubicBezTo>
                  <a:cubicBezTo>
                    <a:pt x="23" y="218"/>
                    <a:pt x="24" y="217"/>
                    <a:pt x="24" y="217"/>
                  </a:cubicBezTo>
                  <a:cubicBezTo>
                    <a:pt x="24" y="216"/>
                    <a:pt x="24" y="216"/>
                    <a:pt x="24" y="216"/>
                  </a:cubicBezTo>
                  <a:cubicBezTo>
                    <a:pt x="25" y="215"/>
                    <a:pt x="26" y="214"/>
                    <a:pt x="27" y="214"/>
                  </a:cubicBezTo>
                  <a:cubicBezTo>
                    <a:pt x="27" y="214"/>
                    <a:pt x="27" y="213"/>
                    <a:pt x="27" y="213"/>
                  </a:cubicBezTo>
                  <a:cubicBezTo>
                    <a:pt x="28" y="212"/>
                    <a:pt x="28" y="212"/>
                    <a:pt x="29" y="211"/>
                  </a:cubicBezTo>
                  <a:cubicBezTo>
                    <a:pt x="29" y="211"/>
                    <a:pt x="29" y="211"/>
                    <a:pt x="29" y="211"/>
                  </a:cubicBezTo>
                  <a:cubicBezTo>
                    <a:pt x="30" y="210"/>
                    <a:pt x="31" y="209"/>
                    <a:pt x="31" y="209"/>
                  </a:cubicBezTo>
                  <a:cubicBezTo>
                    <a:pt x="31" y="208"/>
                    <a:pt x="31" y="207"/>
                    <a:pt x="31" y="206"/>
                  </a:cubicBezTo>
                  <a:cubicBezTo>
                    <a:pt x="31" y="205"/>
                    <a:pt x="31" y="204"/>
                    <a:pt x="31" y="203"/>
                  </a:cubicBezTo>
                  <a:cubicBezTo>
                    <a:pt x="31" y="203"/>
                    <a:pt x="30" y="203"/>
                    <a:pt x="30" y="203"/>
                  </a:cubicBezTo>
                  <a:cubicBezTo>
                    <a:pt x="30" y="203"/>
                    <a:pt x="30" y="202"/>
                    <a:pt x="30" y="202"/>
                  </a:cubicBezTo>
                  <a:cubicBezTo>
                    <a:pt x="30" y="202"/>
                    <a:pt x="30" y="202"/>
                    <a:pt x="30" y="202"/>
                  </a:cubicBezTo>
                  <a:cubicBezTo>
                    <a:pt x="30" y="201"/>
                    <a:pt x="30" y="201"/>
                    <a:pt x="30" y="200"/>
                  </a:cubicBezTo>
                  <a:cubicBezTo>
                    <a:pt x="30" y="200"/>
                    <a:pt x="30" y="200"/>
                    <a:pt x="30" y="200"/>
                  </a:cubicBezTo>
                  <a:cubicBezTo>
                    <a:pt x="30" y="200"/>
                    <a:pt x="30" y="200"/>
                    <a:pt x="30" y="199"/>
                  </a:cubicBezTo>
                  <a:cubicBezTo>
                    <a:pt x="30" y="199"/>
                    <a:pt x="29" y="199"/>
                    <a:pt x="29" y="199"/>
                  </a:cubicBezTo>
                  <a:cubicBezTo>
                    <a:pt x="29" y="199"/>
                    <a:pt x="29" y="198"/>
                    <a:pt x="29" y="198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197"/>
                    <a:pt x="29" y="197"/>
                    <a:pt x="29" y="196"/>
                  </a:cubicBezTo>
                  <a:cubicBezTo>
                    <a:pt x="29" y="196"/>
                    <a:pt x="29" y="196"/>
                    <a:pt x="29" y="196"/>
                  </a:cubicBezTo>
                  <a:cubicBezTo>
                    <a:pt x="29" y="195"/>
                    <a:pt x="29" y="195"/>
                    <a:pt x="29" y="195"/>
                  </a:cubicBezTo>
                  <a:cubicBezTo>
                    <a:pt x="29" y="195"/>
                    <a:pt x="28" y="195"/>
                    <a:pt x="28" y="195"/>
                  </a:cubicBezTo>
                  <a:cubicBezTo>
                    <a:pt x="28" y="194"/>
                    <a:pt x="28" y="194"/>
                    <a:pt x="28" y="193"/>
                  </a:cubicBezTo>
                  <a:cubicBezTo>
                    <a:pt x="28" y="193"/>
                    <a:pt x="28" y="193"/>
                    <a:pt x="28" y="193"/>
                  </a:cubicBezTo>
                  <a:cubicBezTo>
                    <a:pt x="28" y="193"/>
                    <a:pt x="28" y="192"/>
                    <a:pt x="28" y="192"/>
                  </a:cubicBezTo>
                  <a:cubicBezTo>
                    <a:pt x="28" y="192"/>
                    <a:pt x="28" y="192"/>
                    <a:pt x="28" y="192"/>
                  </a:cubicBezTo>
                  <a:cubicBezTo>
                    <a:pt x="28" y="191"/>
                    <a:pt x="28" y="191"/>
                    <a:pt x="28" y="190"/>
                  </a:cubicBezTo>
                  <a:cubicBezTo>
                    <a:pt x="27" y="190"/>
                    <a:pt x="27" y="190"/>
                    <a:pt x="27" y="190"/>
                  </a:cubicBezTo>
                  <a:cubicBezTo>
                    <a:pt x="27" y="190"/>
                    <a:pt x="27" y="189"/>
                    <a:pt x="27" y="189"/>
                  </a:cubicBezTo>
                  <a:cubicBezTo>
                    <a:pt x="27" y="189"/>
                    <a:pt x="27" y="189"/>
                    <a:pt x="27" y="189"/>
                  </a:cubicBezTo>
                  <a:cubicBezTo>
                    <a:pt x="27" y="188"/>
                    <a:pt x="27" y="187"/>
                    <a:pt x="27" y="186"/>
                  </a:cubicBezTo>
                  <a:cubicBezTo>
                    <a:pt x="27" y="186"/>
                    <a:pt x="27" y="186"/>
                    <a:pt x="27" y="186"/>
                  </a:cubicBezTo>
                  <a:cubicBezTo>
                    <a:pt x="27" y="186"/>
                    <a:pt x="27" y="186"/>
                    <a:pt x="27" y="186"/>
                  </a:cubicBezTo>
                  <a:cubicBezTo>
                    <a:pt x="27" y="186"/>
                    <a:pt x="27" y="186"/>
                    <a:pt x="27" y="186"/>
                  </a:cubicBezTo>
                  <a:cubicBezTo>
                    <a:pt x="27" y="185"/>
                    <a:pt x="27" y="185"/>
                    <a:pt x="27" y="185"/>
                  </a:cubicBezTo>
                  <a:cubicBezTo>
                    <a:pt x="27" y="185"/>
                    <a:pt x="27" y="185"/>
                    <a:pt x="28" y="185"/>
                  </a:cubicBezTo>
                  <a:cubicBezTo>
                    <a:pt x="28" y="184"/>
                    <a:pt x="28" y="184"/>
                    <a:pt x="28" y="183"/>
                  </a:cubicBezTo>
                  <a:cubicBezTo>
                    <a:pt x="28" y="183"/>
                    <a:pt x="28" y="183"/>
                    <a:pt x="28" y="183"/>
                  </a:cubicBezTo>
                  <a:cubicBezTo>
                    <a:pt x="28" y="183"/>
                    <a:pt x="28" y="183"/>
                    <a:pt x="28" y="182"/>
                  </a:cubicBezTo>
                  <a:cubicBezTo>
                    <a:pt x="28" y="182"/>
                    <a:pt x="29" y="182"/>
                    <a:pt x="29" y="182"/>
                  </a:cubicBezTo>
                  <a:cubicBezTo>
                    <a:pt x="29" y="182"/>
                    <a:pt x="29" y="182"/>
                    <a:pt x="29" y="181"/>
                  </a:cubicBezTo>
                  <a:cubicBezTo>
                    <a:pt x="29" y="181"/>
                    <a:pt x="29" y="181"/>
                    <a:pt x="29" y="181"/>
                  </a:cubicBezTo>
                  <a:cubicBezTo>
                    <a:pt x="29" y="181"/>
                    <a:pt x="29" y="181"/>
                    <a:pt x="29" y="181"/>
                  </a:cubicBezTo>
                  <a:cubicBezTo>
                    <a:pt x="29" y="181"/>
                    <a:pt x="29" y="181"/>
                    <a:pt x="29" y="181"/>
                  </a:cubicBezTo>
                  <a:cubicBezTo>
                    <a:pt x="29" y="180"/>
                    <a:pt x="30" y="179"/>
                    <a:pt x="30" y="178"/>
                  </a:cubicBezTo>
                  <a:cubicBezTo>
                    <a:pt x="30" y="178"/>
                    <a:pt x="30" y="178"/>
                    <a:pt x="30" y="178"/>
                  </a:cubicBezTo>
                  <a:cubicBezTo>
                    <a:pt x="30" y="178"/>
                    <a:pt x="30" y="178"/>
                    <a:pt x="30" y="178"/>
                  </a:cubicBezTo>
                  <a:cubicBezTo>
                    <a:pt x="30" y="178"/>
                    <a:pt x="30" y="178"/>
                    <a:pt x="30" y="178"/>
                  </a:cubicBezTo>
                  <a:cubicBezTo>
                    <a:pt x="30" y="177"/>
                    <a:pt x="30" y="177"/>
                    <a:pt x="30" y="177"/>
                  </a:cubicBezTo>
                  <a:cubicBezTo>
                    <a:pt x="30" y="177"/>
                    <a:pt x="31" y="177"/>
                    <a:pt x="31" y="177"/>
                  </a:cubicBezTo>
                  <a:cubicBezTo>
                    <a:pt x="31" y="176"/>
                    <a:pt x="31" y="176"/>
                    <a:pt x="31" y="176"/>
                  </a:cubicBezTo>
                  <a:cubicBezTo>
                    <a:pt x="31" y="176"/>
                    <a:pt x="31" y="176"/>
                    <a:pt x="31" y="176"/>
                  </a:cubicBezTo>
                  <a:cubicBezTo>
                    <a:pt x="31" y="176"/>
                    <a:pt x="31" y="175"/>
                    <a:pt x="31" y="175"/>
                  </a:cubicBezTo>
                  <a:cubicBezTo>
                    <a:pt x="31" y="175"/>
                    <a:pt x="31" y="175"/>
                    <a:pt x="31" y="175"/>
                  </a:cubicBezTo>
                  <a:cubicBezTo>
                    <a:pt x="31" y="175"/>
                    <a:pt x="31" y="174"/>
                    <a:pt x="31" y="174"/>
                  </a:cubicBezTo>
                  <a:cubicBezTo>
                    <a:pt x="32" y="174"/>
                    <a:pt x="32" y="174"/>
                    <a:pt x="32" y="174"/>
                  </a:cubicBezTo>
                  <a:cubicBezTo>
                    <a:pt x="32" y="174"/>
                    <a:pt x="32" y="174"/>
                    <a:pt x="32" y="173"/>
                  </a:cubicBezTo>
                  <a:cubicBezTo>
                    <a:pt x="32" y="173"/>
                    <a:pt x="32" y="173"/>
                    <a:pt x="32" y="173"/>
                  </a:cubicBezTo>
                  <a:cubicBezTo>
                    <a:pt x="32" y="173"/>
                    <a:pt x="32" y="173"/>
                    <a:pt x="32" y="173"/>
                  </a:cubicBezTo>
                  <a:cubicBezTo>
                    <a:pt x="32" y="173"/>
                    <a:pt x="32" y="173"/>
                    <a:pt x="32" y="173"/>
                  </a:cubicBezTo>
                  <a:cubicBezTo>
                    <a:pt x="32" y="172"/>
                    <a:pt x="32" y="172"/>
                    <a:pt x="32" y="171"/>
                  </a:cubicBezTo>
                  <a:cubicBezTo>
                    <a:pt x="33" y="171"/>
                    <a:pt x="33" y="171"/>
                    <a:pt x="33" y="171"/>
                  </a:cubicBezTo>
                  <a:cubicBezTo>
                    <a:pt x="33" y="171"/>
                    <a:pt x="33" y="171"/>
                    <a:pt x="33" y="171"/>
                  </a:cubicBezTo>
                  <a:cubicBezTo>
                    <a:pt x="33" y="171"/>
                    <a:pt x="33" y="171"/>
                    <a:pt x="33" y="171"/>
                  </a:cubicBezTo>
                  <a:cubicBezTo>
                    <a:pt x="33" y="170"/>
                    <a:pt x="33" y="170"/>
                    <a:pt x="33" y="170"/>
                  </a:cubicBezTo>
                  <a:cubicBezTo>
                    <a:pt x="33" y="170"/>
                    <a:pt x="33" y="170"/>
                    <a:pt x="34" y="170"/>
                  </a:cubicBezTo>
                  <a:cubicBezTo>
                    <a:pt x="34" y="169"/>
                    <a:pt x="34" y="169"/>
                    <a:pt x="34" y="169"/>
                  </a:cubicBezTo>
                  <a:cubicBezTo>
                    <a:pt x="34" y="169"/>
                    <a:pt x="34" y="169"/>
                    <a:pt x="34" y="169"/>
                  </a:cubicBezTo>
                  <a:cubicBezTo>
                    <a:pt x="34" y="168"/>
                    <a:pt x="34" y="168"/>
                    <a:pt x="34" y="167"/>
                  </a:cubicBezTo>
                  <a:cubicBezTo>
                    <a:pt x="34" y="167"/>
                    <a:pt x="34" y="167"/>
                    <a:pt x="35" y="167"/>
                  </a:cubicBezTo>
                  <a:cubicBezTo>
                    <a:pt x="35" y="167"/>
                    <a:pt x="35" y="166"/>
                    <a:pt x="35" y="166"/>
                  </a:cubicBezTo>
                  <a:cubicBezTo>
                    <a:pt x="35" y="166"/>
                    <a:pt x="35" y="166"/>
                    <a:pt x="35" y="166"/>
                  </a:cubicBezTo>
                  <a:cubicBezTo>
                    <a:pt x="35" y="165"/>
                    <a:pt x="36" y="164"/>
                    <a:pt x="36" y="163"/>
                  </a:cubicBezTo>
                  <a:cubicBezTo>
                    <a:pt x="37" y="163"/>
                    <a:pt x="39" y="162"/>
                    <a:pt x="40" y="162"/>
                  </a:cubicBezTo>
                  <a:cubicBezTo>
                    <a:pt x="40" y="162"/>
                    <a:pt x="40" y="162"/>
                    <a:pt x="40" y="162"/>
                  </a:cubicBezTo>
                  <a:cubicBezTo>
                    <a:pt x="41" y="161"/>
                    <a:pt x="42" y="161"/>
                    <a:pt x="43" y="161"/>
                  </a:cubicBezTo>
                  <a:cubicBezTo>
                    <a:pt x="43" y="161"/>
                    <a:pt x="43" y="161"/>
                    <a:pt x="43" y="161"/>
                  </a:cubicBezTo>
                  <a:cubicBezTo>
                    <a:pt x="44" y="160"/>
                    <a:pt x="44" y="160"/>
                    <a:pt x="45" y="160"/>
                  </a:cubicBezTo>
                  <a:cubicBezTo>
                    <a:pt x="45" y="160"/>
                    <a:pt x="45" y="160"/>
                    <a:pt x="45" y="160"/>
                  </a:cubicBezTo>
                  <a:cubicBezTo>
                    <a:pt x="45" y="160"/>
                    <a:pt x="46" y="160"/>
                    <a:pt x="46" y="160"/>
                  </a:cubicBezTo>
                  <a:cubicBezTo>
                    <a:pt x="46" y="160"/>
                    <a:pt x="46" y="160"/>
                    <a:pt x="46" y="160"/>
                  </a:cubicBezTo>
                  <a:cubicBezTo>
                    <a:pt x="46" y="160"/>
                    <a:pt x="46" y="160"/>
                    <a:pt x="47" y="160"/>
                  </a:cubicBezTo>
                  <a:cubicBezTo>
                    <a:pt x="47" y="159"/>
                    <a:pt x="47" y="159"/>
                    <a:pt x="47" y="159"/>
                  </a:cubicBezTo>
                  <a:cubicBezTo>
                    <a:pt x="47" y="159"/>
                    <a:pt x="48" y="159"/>
                    <a:pt x="48" y="159"/>
                  </a:cubicBezTo>
                  <a:cubicBezTo>
                    <a:pt x="48" y="159"/>
                    <a:pt x="48" y="159"/>
                    <a:pt x="48" y="159"/>
                  </a:cubicBezTo>
                  <a:cubicBezTo>
                    <a:pt x="48" y="159"/>
                    <a:pt x="49" y="159"/>
                    <a:pt x="49" y="159"/>
                  </a:cubicBezTo>
                  <a:cubicBezTo>
                    <a:pt x="49" y="159"/>
                    <a:pt x="49" y="159"/>
                    <a:pt x="49" y="159"/>
                  </a:cubicBezTo>
                  <a:cubicBezTo>
                    <a:pt x="49" y="159"/>
                    <a:pt x="50" y="159"/>
                    <a:pt x="50" y="159"/>
                  </a:cubicBezTo>
                  <a:cubicBezTo>
                    <a:pt x="50" y="158"/>
                    <a:pt x="50" y="158"/>
                    <a:pt x="50" y="158"/>
                  </a:cubicBezTo>
                  <a:cubicBezTo>
                    <a:pt x="50" y="158"/>
                    <a:pt x="50" y="158"/>
                    <a:pt x="51" y="158"/>
                  </a:cubicBezTo>
                  <a:cubicBezTo>
                    <a:pt x="51" y="158"/>
                    <a:pt x="51" y="158"/>
                    <a:pt x="51" y="158"/>
                  </a:cubicBezTo>
                  <a:cubicBezTo>
                    <a:pt x="52" y="158"/>
                    <a:pt x="53" y="157"/>
                    <a:pt x="54" y="157"/>
                  </a:cubicBezTo>
                  <a:cubicBezTo>
                    <a:pt x="54" y="157"/>
                    <a:pt x="54" y="157"/>
                    <a:pt x="54" y="157"/>
                  </a:cubicBezTo>
                  <a:cubicBezTo>
                    <a:pt x="55" y="157"/>
                    <a:pt x="55" y="157"/>
                    <a:pt x="56" y="156"/>
                  </a:cubicBezTo>
                  <a:cubicBezTo>
                    <a:pt x="56" y="156"/>
                    <a:pt x="56" y="156"/>
                    <a:pt x="56" y="156"/>
                  </a:cubicBezTo>
                  <a:cubicBezTo>
                    <a:pt x="56" y="156"/>
                    <a:pt x="56" y="156"/>
                    <a:pt x="57" y="156"/>
                  </a:cubicBezTo>
                  <a:cubicBezTo>
                    <a:pt x="57" y="156"/>
                    <a:pt x="57" y="156"/>
                    <a:pt x="57" y="156"/>
                  </a:cubicBezTo>
                  <a:cubicBezTo>
                    <a:pt x="57" y="156"/>
                    <a:pt x="58" y="155"/>
                    <a:pt x="59" y="155"/>
                  </a:cubicBezTo>
                  <a:cubicBezTo>
                    <a:pt x="59" y="155"/>
                    <a:pt x="59" y="155"/>
                    <a:pt x="59" y="155"/>
                  </a:cubicBezTo>
                  <a:cubicBezTo>
                    <a:pt x="60" y="155"/>
                    <a:pt x="62" y="155"/>
                    <a:pt x="63" y="154"/>
                  </a:cubicBezTo>
                  <a:cubicBezTo>
                    <a:pt x="66" y="153"/>
                    <a:pt x="71" y="152"/>
                    <a:pt x="74" y="151"/>
                  </a:cubicBezTo>
                  <a:cubicBezTo>
                    <a:pt x="76" y="150"/>
                    <a:pt x="78" y="150"/>
                    <a:pt x="80" y="150"/>
                  </a:cubicBezTo>
                  <a:cubicBezTo>
                    <a:pt x="80" y="150"/>
                    <a:pt x="80" y="150"/>
                    <a:pt x="80" y="149"/>
                  </a:cubicBezTo>
                  <a:cubicBezTo>
                    <a:pt x="80" y="149"/>
                    <a:pt x="80" y="149"/>
                    <a:pt x="80" y="149"/>
                  </a:cubicBezTo>
                  <a:cubicBezTo>
                    <a:pt x="81" y="149"/>
                    <a:pt x="81" y="149"/>
                    <a:pt x="81" y="148"/>
                  </a:cubicBezTo>
                  <a:cubicBezTo>
                    <a:pt x="81" y="148"/>
                    <a:pt x="82" y="148"/>
                    <a:pt x="82" y="148"/>
                  </a:cubicBezTo>
                  <a:cubicBezTo>
                    <a:pt x="82" y="148"/>
                    <a:pt x="82" y="148"/>
                    <a:pt x="82" y="147"/>
                  </a:cubicBezTo>
                  <a:cubicBezTo>
                    <a:pt x="83" y="147"/>
                    <a:pt x="83" y="147"/>
                    <a:pt x="83" y="147"/>
                  </a:cubicBezTo>
                  <a:cubicBezTo>
                    <a:pt x="83" y="147"/>
                    <a:pt x="83" y="147"/>
                    <a:pt x="84" y="147"/>
                  </a:cubicBezTo>
                  <a:cubicBezTo>
                    <a:pt x="84" y="147"/>
                    <a:pt x="84" y="146"/>
                    <a:pt x="85" y="146"/>
                  </a:cubicBezTo>
                  <a:cubicBezTo>
                    <a:pt x="85" y="146"/>
                    <a:pt x="85" y="146"/>
                    <a:pt x="85" y="146"/>
                  </a:cubicBezTo>
                  <a:cubicBezTo>
                    <a:pt x="85" y="146"/>
                    <a:pt x="85" y="145"/>
                    <a:pt x="86" y="145"/>
                  </a:cubicBezTo>
                  <a:cubicBezTo>
                    <a:pt x="86" y="144"/>
                    <a:pt x="87" y="144"/>
                    <a:pt x="88" y="143"/>
                  </a:cubicBezTo>
                  <a:cubicBezTo>
                    <a:pt x="88" y="142"/>
                    <a:pt x="88" y="142"/>
                    <a:pt x="88" y="142"/>
                  </a:cubicBezTo>
                  <a:cubicBezTo>
                    <a:pt x="89" y="141"/>
                    <a:pt x="90" y="140"/>
                    <a:pt x="91" y="139"/>
                  </a:cubicBezTo>
                  <a:cubicBezTo>
                    <a:pt x="96" y="139"/>
                    <a:pt x="102" y="139"/>
                    <a:pt x="107" y="138"/>
                  </a:cubicBezTo>
                  <a:cubicBezTo>
                    <a:pt x="107" y="140"/>
                    <a:pt x="105" y="141"/>
                    <a:pt x="103" y="142"/>
                  </a:cubicBezTo>
                  <a:cubicBezTo>
                    <a:pt x="103" y="142"/>
                    <a:pt x="103" y="142"/>
                    <a:pt x="103" y="142"/>
                  </a:cubicBezTo>
                  <a:cubicBezTo>
                    <a:pt x="102" y="143"/>
                    <a:pt x="100" y="146"/>
                    <a:pt x="99" y="146"/>
                  </a:cubicBezTo>
                  <a:cubicBezTo>
                    <a:pt x="99" y="146"/>
                    <a:pt x="99" y="147"/>
                    <a:pt x="99" y="147"/>
                  </a:cubicBezTo>
                  <a:cubicBezTo>
                    <a:pt x="100" y="147"/>
                    <a:pt x="100" y="148"/>
                    <a:pt x="101" y="149"/>
                  </a:cubicBezTo>
                  <a:cubicBezTo>
                    <a:pt x="101" y="149"/>
                    <a:pt x="101" y="149"/>
                    <a:pt x="102" y="149"/>
                  </a:cubicBezTo>
                  <a:cubicBezTo>
                    <a:pt x="102" y="149"/>
                    <a:pt x="103" y="150"/>
                    <a:pt x="103" y="150"/>
                  </a:cubicBezTo>
                  <a:cubicBezTo>
                    <a:pt x="103" y="150"/>
                    <a:pt x="104" y="150"/>
                    <a:pt x="104" y="150"/>
                  </a:cubicBezTo>
                  <a:cubicBezTo>
                    <a:pt x="104" y="151"/>
                    <a:pt x="105" y="152"/>
                    <a:pt x="105" y="152"/>
                  </a:cubicBezTo>
                  <a:cubicBezTo>
                    <a:pt x="105" y="152"/>
                    <a:pt x="106" y="152"/>
                    <a:pt x="106" y="152"/>
                  </a:cubicBezTo>
                  <a:cubicBezTo>
                    <a:pt x="106" y="152"/>
                    <a:pt x="106" y="152"/>
                    <a:pt x="106" y="153"/>
                  </a:cubicBezTo>
                  <a:cubicBezTo>
                    <a:pt x="107" y="153"/>
                    <a:pt x="107" y="154"/>
                    <a:pt x="108" y="154"/>
                  </a:cubicBezTo>
                  <a:cubicBezTo>
                    <a:pt x="109" y="153"/>
                    <a:pt x="110" y="153"/>
                    <a:pt x="111" y="153"/>
                  </a:cubicBezTo>
                  <a:cubicBezTo>
                    <a:pt x="111" y="152"/>
                    <a:pt x="111" y="152"/>
                    <a:pt x="111" y="152"/>
                  </a:cubicBezTo>
                  <a:cubicBezTo>
                    <a:pt x="111" y="152"/>
                    <a:pt x="112" y="152"/>
                    <a:pt x="112" y="152"/>
                  </a:cubicBezTo>
                  <a:cubicBezTo>
                    <a:pt x="112" y="152"/>
                    <a:pt x="112" y="152"/>
                    <a:pt x="112" y="152"/>
                  </a:cubicBezTo>
                  <a:cubicBezTo>
                    <a:pt x="112" y="152"/>
                    <a:pt x="112" y="152"/>
                    <a:pt x="113" y="152"/>
                  </a:cubicBezTo>
                  <a:cubicBezTo>
                    <a:pt x="113" y="151"/>
                    <a:pt x="113" y="151"/>
                    <a:pt x="113" y="151"/>
                  </a:cubicBezTo>
                  <a:cubicBezTo>
                    <a:pt x="113" y="151"/>
                    <a:pt x="113" y="151"/>
                    <a:pt x="113" y="151"/>
                  </a:cubicBezTo>
                  <a:cubicBezTo>
                    <a:pt x="113" y="151"/>
                    <a:pt x="113" y="151"/>
                    <a:pt x="114" y="150"/>
                  </a:cubicBezTo>
                  <a:cubicBezTo>
                    <a:pt x="114" y="150"/>
                    <a:pt x="114" y="150"/>
                    <a:pt x="114" y="150"/>
                  </a:cubicBezTo>
                  <a:cubicBezTo>
                    <a:pt x="114" y="150"/>
                    <a:pt x="114" y="150"/>
                    <a:pt x="114" y="150"/>
                  </a:cubicBezTo>
                  <a:cubicBezTo>
                    <a:pt x="115" y="150"/>
                    <a:pt x="115" y="150"/>
                    <a:pt x="115" y="150"/>
                  </a:cubicBezTo>
                  <a:cubicBezTo>
                    <a:pt x="115" y="150"/>
                    <a:pt x="115" y="150"/>
                    <a:pt x="115" y="150"/>
                  </a:cubicBezTo>
                  <a:cubicBezTo>
                    <a:pt x="115" y="150"/>
                    <a:pt x="115" y="150"/>
                    <a:pt x="116" y="150"/>
                  </a:cubicBezTo>
                  <a:cubicBezTo>
                    <a:pt x="116" y="150"/>
                    <a:pt x="116" y="150"/>
                    <a:pt x="116" y="149"/>
                  </a:cubicBezTo>
                  <a:cubicBezTo>
                    <a:pt x="116" y="149"/>
                    <a:pt x="116" y="149"/>
                    <a:pt x="116" y="149"/>
                  </a:cubicBezTo>
                  <a:cubicBezTo>
                    <a:pt x="117" y="149"/>
                    <a:pt x="117" y="149"/>
                    <a:pt x="117" y="149"/>
                  </a:cubicBezTo>
                  <a:cubicBezTo>
                    <a:pt x="117" y="148"/>
                    <a:pt x="118" y="148"/>
                    <a:pt x="119" y="148"/>
                  </a:cubicBezTo>
                  <a:cubicBezTo>
                    <a:pt x="119" y="148"/>
                    <a:pt x="119" y="148"/>
                    <a:pt x="119" y="147"/>
                  </a:cubicBezTo>
                  <a:cubicBezTo>
                    <a:pt x="119" y="147"/>
                    <a:pt x="120" y="147"/>
                    <a:pt x="120" y="147"/>
                  </a:cubicBezTo>
                  <a:cubicBezTo>
                    <a:pt x="120" y="147"/>
                    <a:pt x="120" y="147"/>
                    <a:pt x="120" y="147"/>
                  </a:cubicBezTo>
                  <a:cubicBezTo>
                    <a:pt x="120" y="147"/>
                    <a:pt x="120" y="147"/>
                    <a:pt x="121" y="147"/>
                  </a:cubicBezTo>
                  <a:cubicBezTo>
                    <a:pt x="121" y="147"/>
                    <a:pt x="121" y="147"/>
                    <a:pt x="121" y="147"/>
                  </a:cubicBezTo>
                  <a:cubicBezTo>
                    <a:pt x="121" y="147"/>
                    <a:pt x="121" y="147"/>
                    <a:pt x="121" y="147"/>
                  </a:cubicBezTo>
                  <a:cubicBezTo>
                    <a:pt x="121" y="146"/>
                    <a:pt x="122" y="146"/>
                    <a:pt x="122" y="146"/>
                  </a:cubicBezTo>
                  <a:cubicBezTo>
                    <a:pt x="122" y="146"/>
                    <a:pt x="122" y="146"/>
                    <a:pt x="122" y="146"/>
                  </a:cubicBezTo>
                  <a:cubicBezTo>
                    <a:pt x="122" y="146"/>
                    <a:pt x="122" y="146"/>
                    <a:pt x="122" y="146"/>
                  </a:cubicBezTo>
                  <a:cubicBezTo>
                    <a:pt x="123" y="145"/>
                    <a:pt x="123" y="146"/>
                    <a:pt x="124" y="145"/>
                  </a:cubicBezTo>
                  <a:cubicBezTo>
                    <a:pt x="124" y="145"/>
                    <a:pt x="124" y="145"/>
                    <a:pt x="124" y="145"/>
                  </a:cubicBezTo>
                  <a:cubicBezTo>
                    <a:pt x="125" y="146"/>
                    <a:pt x="125" y="146"/>
                    <a:pt x="125" y="147"/>
                  </a:cubicBezTo>
                  <a:cubicBezTo>
                    <a:pt x="125" y="147"/>
                    <a:pt x="126" y="147"/>
                    <a:pt x="126" y="147"/>
                  </a:cubicBezTo>
                  <a:cubicBezTo>
                    <a:pt x="126" y="147"/>
                    <a:pt x="126" y="147"/>
                    <a:pt x="126" y="148"/>
                  </a:cubicBezTo>
                  <a:cubicBezTo>
                    <a:pt x="126" y="148"/>
                    <a:pt x="126" y="148"/>
                    <a:pt x="126" y="148"/>
                  </a:cubicBezTo>
                  <a:cubicBezTo>
                    <a:pt x="126" y="148"/>
                    <a:pt x="126" y="148"/>
                    <a:pt x="126" y="148"/>
                  </a:cubicBezTo>
                  <a:cubicBezTo>
                    <a:pt x="126" y="148"/>
                    <a:pt x="126" y="148"/>
                    <a:pt x="127" y="148"/>
                  </a:cubicBezTo>
                  <a:cubicBezTo>
                    <a:pt x="127" y="149"/>
                    <a:pt x="127" y="149"/>
                    <a:pt x="127" y="149"/>
                  </a:cubicBezTo>
                  <a:cubicBezTo>
                    <a:pt x="127" y="149"/>
                    <a:pt x="127" y="149"/>
                    <a:pt x="127" y="149"/>
                  </a:cubicBezTo>
                  <a:cubicBezTo>
                    <a:pt x="127" y="150"/>
                    <a:pt x="127" y="150"/>
                    <a:pt x="127" y="150"/>
                  </a:cubicBezTo>
                  <a:cubicBezTo>
                    <a:pt x="127" y="150"/>
                    <a:pt x="127" y="150"/>
                    <a:pt x="128" y="150"/>
                  </a:cubicBezTo>
                  <a:cubicBezTo>
                    <a:pt x="128" y="151"/>
                    <a:pt x="128" y="151"/>
                    <a:pt x="128" y="152"/>
                  </a:cubicBezTo>
                  <a:cubicBezTo>
                    <a:pt x="128" y="152"/>
                    <a:pt x="128" y="152"/>
                    <a:pt x="129" y="152"/>
                  </a:cubicBezTo>
                  <a:cubicBezTo>
                    <a:pt x="129" y="153"/>
                    <a:pt x="129" y="154"/>
                    <a:pt x="131" y="155"/>
                  </a:cubicBezTo>
                  <a:cubicBezTo>
                    <a:pt x="132" y="154"/>
                    <a:pt x="132" y="154"/>
                    <a:pt x="134" y="154"/>
                  </a:cubicBezTo>
                  <a:cubicBezTo>
                    <a:pt x="134" y="154"/>
                    <a:pt x="134" y="154"/>
                    <a:pt x="134" y="154"/>
                  </a:cubicBezTo>
                  <a:cubicBezTo>
                    <a:pt x="134" y="154"/>
                    <a:pt x="134" y="154"/>
                    <a:pt x="135" y="154"/>
                  </a:cubicBezTo>
                  <a:cubicBezTo>
                    <a:pt x="135" y="154"/>
                    <a:pt x="135" y="153"/>
                    <a:pt x="135" y="153"/>
                  </a:cubicBezTo>
                  <a:cubicBezTo>
                    <a:pt x="135" y="153"/>
                    <a:pt x="136" y="153"/>
                    <a:pt x="137" y="153"/>
                  </a:cubicBezTo>
                  <a:cubicBezTo>
                    <a:pt x="137" y="153"/>
                    <a:pt x="137" y="153"/>
                    <a:pt x="137" y="153"/>
                  </a:cubicBezTo>
                  <a:cubicBezTo>
                    <a:pt x="138" y="152"/>
                    <a:pt x="139" y="152"/>
                    <a:pt x="140" y="152"/>
                  </a:cubicBezTo>
                  <a:cubicBezTo>
                    <a:pt x="140" y="152"/>
                    <a:pt x="140" y="152"/>
                    <a:pt x="140" y="152"/>
                  </a:cubicBezTo>
                  <a:cubicBezTo>
                    <a:pt x="141" y="152"/>
                    <a:pt x="141" y="152"/>
                    <a:pt x="142" y="152"/>
                  </a:cubicBezTo>
                  <a:cubicBezTo>
                    <a:pt x="142" y="151"/>
                    <a:pt x="142" y="151"/>
                    <a:pt x="142" y="151"/>
                  </a:cubicBezTo>
                  <a:cubicBezTo>
                    <a:pt x="143" y="151"/>
                    <a:pt x="143" y="151"/>
                    <a:pt x="143" y="151"/>
                  </a:cubicBezTo>
                  <a:cubicBezTo>
                    <a:pt x="143" y="151"/>
                    <a:pt x="143" y="151"/>
                    <a:pt x="143" y="151"/>
                  </a:cubicBezTo>
                  <a:cubicBezTo>
                    <a:pt x="144" y="151"/>
                    <a:pt x="144" y="151"/>
                    <a:pt x="145" y="150"/>
                  </a:cubicBezTo>
                  <a:cubicBezTo>
                    <a:pt x="145" y="150"/>
                    <a:pt x="145" y="150"/>
                    <a:pt x="145" y="150"/>
                  </a:cubicBezTo>
                  <a:cubicBezTo>
                    <a:pt x="145" y="150"/>
                    <a:pt x="145" y="150"/>
                    <a:pt x="145" y="150"/>
                  </a:cubicBezTo>
                  <a:cubicBezTo>
                    <a:pt x="146" y="150"/>
                    <a:pt x="146" y="150"/>
                    <a:pt x="146" y="149"/>
                  </a:cubicBezTo>
                  <a:cubicBezTo>
                    <a:pt x="146" y="149"/>
                    <a:pt x="147" y="149"/>
                    <a:pt x="148" y="149"/>
                  </a:cubicBezTo>
                  <a:cubicBezTo>
                    <a:pt x="148" y="148"/>
                    <a:pt x="148" y="148"/>
                    <a:pt x="148" y="148"/>
                  </a:cubicBezTo>
                  <a:cubicBezTo>
                    <a:pt x="148" y="148"/>
                    <a:pt x="149" y="148"/>
                    <a:pt x="149" y="148"/>
                  </a:cubicBezTo>
                  <a:cubicBezTo>
                    <a:pt x="149" y="148"/>
                    <a:pt x="149" y="148"/>
                    <a:pt x="149" y="148"/>
                  </a:cubicBezTo>
                  <a:cubicBezTo>
                    <a:pt x="149" y="148"/>
                    <a:pt x="149" y="148"/>
                    <a:pt x="150" y="148"/>
                  </a:cubicBezTo>
                  <a:cubicBezTo>
                    <a:pt x="150" y="148"/>
                    <a:pt x="150" y="147"/>
                    <a:pt x="150" y="147"/>
                  </a:cubicBezTo>
                  <a:cubicBezTo>
                    <a:pt x="150" y="147"/>
                    <a:pt x="150" y="147"/>
                    <a:pt x="150" y="147"/>
                  </a:cubicBezTo>
                  <a:cubicBezTo>
                    <a:pt x="152" y="146"/>
                    <a:pt x="154" y="145"/>
                    <a:pt x="155" y="144"/>
                  </a:cubicBezTo>
                  <a:cubicBezTo>
                    <a:pt x="155" y="143"/>
                    <a:pt x="155" y="143"/>
                    <a:pt x="155" y="142"/>
                  </a:cubicBezTo>
                  <a:cubicBezTo>
                    <a:pt x="156" y="141"/>
                    <a:pt x="155" y="139"/>
                    <a:pt x="156" y="138"/>
                  </a:cubicBezTo>
                  <a:cubicBezTo>
                    <a:pt x="157" y="135"/>
                    <a:pt x="157" y="132"/>
                    <a:pt x="158" y="129"/>
                  </a:cubicBezTo>
                  <a:cubicBezTo>
                    <a:pt x="158" y="129"/>
                    <a:pt x="158" y="128"/>
                    <a:pt x="158" y="127"/>
                  </a:cubicBezTo>
                  <a:cubicBezTo>
                    <a:pt x="158" y="126"/>
                    <a:pt x="159" y="126"/>
                    <a:pt x="160" y="125"/>
                  </a:cubicBezTo>
                  <a:cubicBezTo>
                    <a:pt x="160" y="124"/>
                    <a:pt x="161" y="124"/>
                    <a:pt x="161" y="124"/>
                  </a:cubicBezTo>
                  <a:cubicBezTo>
                    <a:pt x="161" y="124"/>
                    <a:pt x="161" y="124"/>
                    <a:pt x="162" y="124"/>
                  </a:cubicBezTo>
                  <a:cubicBezTo>
                    <a:pt x="162" y="123"/>
                    <a:pt x="162" y="123"/>
                    <a:pt x="162" y="123"/>
                  </a:cubicBezTo>
                  <a:cubicBezTo>
                    <a:pt x="163" y="122"/>
                    <a:pt x="164" y="121"/>
                    <a:pt x="165" y="120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5" y="119"/>
                    <a:pt x="165" y="119"/>
                    <a:pt x="166" y="119"/>
                  </a:cubicBezTo>
                  <a:cubicBezTo>
                    <a:pt x="166" y="118"/>
                    <a:pt x="166" y="118"/>
                    <a:pt x="166" y="118"/>
                  </a:cubicBezTo>
                  <a:cubicBezTo>
                    <a:pt x="166" y="118"/>
                    <a:pt x="166" y="118"/>
                    <a:pt x="166" y="118"/>
                  </a:cubicBezTo>
                  <a:cubicBezTo>
                    <a:pt x="166" y="113"/>
                    <a:pt x="167" y="109"/>
                    <a:pt x="167" y="105"/>
                  </a:cubicBezTo>
                  <a:cubicBezTo>
                    <a:pt x="167" y="105"/>
                    <a:pt x="167" y="105"/>
                    <a:pt x="167" y="105"/>
                  </a:cubicBezTo>
                  <a:cubicBezTo>
                    <a:pt x="167" y="104"/>
                    <a:pt x="167" y="103"/>
                    <a:pt x="167" y="102"/>
                  </a:cubicBezTo>
                  <a:cubicBezTo>
                    <a:pt x="168" y="102"/>
                    <a:pt x="168" y="102"/>
                    <a:pt x="168" y="102"/>
                  </a:cubicBezTo>
                  <a:cubicBezTo>
                    <a:pt x="168" y="101"/>
                    <a:pt x="168" y="100"/>
                    <a:pt x="168" y="99"/>
                  </a:cubicBezTo>
                  <a:cubicBezTo>
                    <a:pt x="168" y="99"/>
                    <a:pt x="168" y="99"/>
                    <a:pt x="168" y="99"/>
                  </a:cubicBezTo>
                  <a:cubicBezTo>
                    <a:pt x="168" y="96"/>
                    <a:pt x="168" y="94"/>
                    <a:pt x="168" y="91"/>
                  </a:cubicBezTo>
                  <a:cubicBezTo>
                    <a:pt x="169" y="89"/>
                    <a:pt x="168" y="86"/>
                    <a:pt x="169" y="84"/>
                  </a:cubicBezTo>
                  <a:cubicBezTo>
                    <a:pt x="169" y="82"/>
                    <a:pt x="169" y="78"/>
                    <a:pt x="169" y="75"/>
                  </a:cubicBezTo>
                  <a:cubicBezTo>
                    <a:pt x="169" y="72"/>
                    <a:pt x="169" y="69"/>
                    <a:pt x="168" y="66"/>
                  </a:cubicBezTo>
                  <a:cubicBezTo>
                    <a:pt x="168" y="65"/>
                    <a:pt x="168" y="64"/>
                    <a:pt x="168" y="62"/>
                  </a:cubicBezTo>
                  <a:cubicBezTo>
                    <a:pt x="168" y="62"/>
                    <a:pt x="168" y="62"/>
                    <a:pt x="168" y="62"/>
                  </a:cubicBezTo>
                  <a:cubicBezTo>
                    <a:pt x="168" y="61"/>
                    <a:pt x="168" y="60"/>
                    <a:pt x="168" y="59"/>
                  </a:cubicBezTo>
                  <a:cubicBezTo>
                    <a:pt x="168" y="59"/>
                    <a:pt x="168" y="59"/>
                    <a:pt x="167" y="59"/>
                  </a:cubicBezTo>
                  <a:cubicBezTo>
                    <a:pt x="167" y="58"/>
                    <a:pt x="167" y="57"/>
                    <a:pt x="167" y="56"/>
                  </a:cubicBezTo>
                  <a:cubicBezTo>
                    <a:pt x="168" y="56"/>
                    <a:pt x="168" y="56"/>
                    <a:pt x="168" y="56"/>
                  </a:cubicBezTo>
                  <a:cubicBezTo>
                    <a:pt x="168" y="56"/>
                    <a:pt x="168" y="56"/>
                    <a:pt x="167" y="55"/>
                  </a:cubicBezTo>
                  <a:cubicBezTo>
                    <a:pt x="173" y="55"/>
                    <a:pt x="178" y="56"/>
                    <a:pt x="184" y="56"/>
                  </a:cubicBezTo>
                  <a:cubicBezTo>
                    <a:pt x="184" y="53"/>
                    <a:pt x="185" y="51"/>
                    <a:pt x="186" y="49"/>
                  </a:cubicBezTo>
                  <a:cubicBezTo>
                    <a:pt x="186" y="48"/>
                    <a:pt x="186" y="48"/>
                    <a:pt x="186" y="47"/>
                  </a:cubicBezTo>
                  <a:cubicBezTo>
                    <a:pt x="186" y="47"/>
                    <a:pt x="186" y="47"/>
                    <a:pt x="186" y="47"/>
                  </a:cubicBezTo>
                  <a:cubicBezTo>
                    <a:pt x="186" y="47"/>
                    <a:pt x="186" y="46"/>
                    <a:pt x="186" y="46"/>
                  </a:cubicBezTo>
                  <a:cubicBezTo>
                    <a:pt x="186" y="46"/>
                    <a:pt x="187" y="46"/>
                    <a:pt x="187" y="46"/>
                  </a:cubicBezTo>
                  <a:cubicBezTo>
                    <a:pt x="187" y="46"/>
                    <a:pt x="187" y="45"/>
                    <a:pt x="187" y="45"/>
                  </a:cubicBezTo>
                  <a:cubicBezTo>
                    <a:pt x="187" y="45"/>
                    <a:pt x="187" y="45"/>
                    <a:pt x="187" y="45"/>
                  </a:cubicBezTo>
                  <a:cubicBezTo>
                    <a:pt x="187" y="44"/>
                    <a:pt x="187" y="43"/>
                    <a:pt x="187" y="43"/>
                  </a:cubicBezTo>
                  <a:cubicBezTo>
                    <a:pt x="188" y="43"/>
                    <a:pt x="188" y="43"/>
                    <a:pt x="188" y="42"/>
                  </a:cubicBezTo>
                  <a:cubicBezTo>
                    <a:pt x="188" y="42"/>
                    <a:pt x="188" y="42"/>
                    <a:pt x="188" y="42"/>
                  </a:cubicBezTo>
                  <a:cubicBezTo>
                    <a:pt x="191" y="39"/>
                    <a:pt x="193" y="37"/>
                    <a:pt x="196" y="34"/>
                  </a:cubicBezTo>
                  <a:cubicBezTo>
                    <a:pt x="196" y="34"/>
                    <a:pt x="196" y="34"/>
                    <a:pt x="196" y="34"/>
                  </a:cubicBezTo>
                  <a:cubicBezTo>
                    <a:pt x="197" y="32"/>
                    <a:pt x="199" y="31"/>
                    <a:pt x="200" y="29"/>
                  </a:cubicBezTo>
                  <a:cubicBezTo>
                    <a:pt x="201" y="28"/>
                    <a:pt x="202" y="27"/>
                    <a:pt x="204" y="27"/>
                  </a:cubicBezTo>
                  <a:cubicBezTo>
                    <a:pt x="205" y="28"/>
                    <a:pt x="207" y="27"/>
                    <a:pt x="208" y="28"/>
                  </a:cubicBezTo>
                  <a:cubicBezTo>
                    <a:pt x="208" y="28"/>
                    <a:pt x="208" y="28"/>
                    <a:pt x="208" y="28"/>
                  </a:cubicBezTo>
                  <a:cubicBezTo>
                    <a:pt x="209" y="28"/>
                    <a:pt x="210" y="28"/>
                    <a:pt x="210" y="28"/>
                  </a:cubicBezTo>
                  <a:cubicBezTo>
                    <a:pt x="212" y="29"/>
                    <a:pt x="215" y="29"/>
                    <a:pt x="217" y="29"/>
                  </a:cubicBezTo>
                  <a:cubicBezTo>
                    <a:pt x="218" y="29"/>
                    <a:pt x="218" y="29"/>
                    <a:pt x="219" y="29"/>
                  </a:cubicBezTo>
                  <a:cubicBezTo>
                    <a:pt x="220" y="30"/>
                    <a:pt x="225" y="30"/>
                    <a:pt x="227" y="30"/>
                  </a:cubicBezTo>
                  <a:cubicBezTo>
                    <a:pt x="227" y="30"/>
                    <a:pt x="227" y="30"/>
                    <a:pt x="227" y="29"/>
                  </a:cubicBezTo>
                  <a:cubicBezTo>
                    <a:pt x="233" y="29"/>
                    <a:pt x="239" y="29"/>
                    <a:pt x="245" y="29"/>
                  </a:cubicBezTo>
                  <a:cubicBezTo>
                    <a:pt x="245" y="29"/>
                    <a:pt x="245" y="29"/>
                    <a:pt x="245" y="28"/>
                  </a:cubicBezTo>
                  <a:cubicBezTo>
                    <a:pt x="246" y="28"/>
                    <a:pt x="247" y="28"/>
                    <a:pt x="247" y="28"/>
                  </a:cubicBezTo>
                  <a:cubicBezTo>
                    <a:pt x="247" y="27"/>
                    <a:pt x="247" y="27"/>
                    <a:pt x="248" y="27"/>
                  </a:cubicBezTo>
                  <a:cubicBezTo>
                    <a:pt x="248" y="27"/>
                    <a:pt x="248" y="27"/>
                    <a:pt x="248" y="27"/>
                  </a:cubicBezTo>
                  <a:cubicBezTo>
                    <a:pt x="248" y="27"/>
                    <a:pt x="248" y="27"/>
                    <a:pt x="248" y="27"/>
                  </a:cubicBezTo>
                  <a:cubicBezTo>
                    <a:pt x="248" y="27"/>
                    <a:pt x="249" y="27"/>
                    <a:pt x="249" y="27"/>
                  </a:cubicBezTo>
                  <a:cubicBezTo>
                    <a:pt x="249" y="27"/>
                    <a:pt x="249" y="26"/>
                    <a:pt x="249" y="26"/>
                  </a:cubicBezTo>
                  <a:cubicBezTo>
                    <a:pt x="249" y="26"/>
                    <a:pt x="249" y="26"/>
                    <a:pt x="250" y="26"/>
                  </a:cubicBezTo>
                  <a:cubicBezTo>
                    <a:pt x="250" y="26"/>
                    <a:pt x="250" y="26"/>
                    <a:pt x="250" y="26"/>
                  </a:cubicBezTo>
                  <a:cubicBezTo>
                    <a:pt x="250" y="26"/>
                    <a:pt x="250" y="26"/>
                    <a:pt x="250" y="26"/>
                  </a:cubicBezTo>
                  <a:cubicBezTo>
                    <a:pt x="250" y="26"/>
                    <a:pt x="251" y="25"/>
                    <a:pt x="251" y="25"/>
                  </a:cubicBezTo>
                  <a:cubicBezTo>
                    <a:pt x="251" y="25"/>
                    <a:pt x="252" y="25"/>
                    <a:pt x="253" y="25"/>
                  </a:cubicBezTo>
                  <a:cubicBezTo>
                    <a:pt x="253" y="24"/>
                    <a:pt x="253" y="24"/>
                    <a:pt x="253" y="24"/>
                  </a:cubicBezTo>
                  <a:cubicBezTo>
                    <a:pt x="254" y="24"/>
                    <a:pt x="255" y="23"/>
                    <a:pt x="255" y="23"/>
                  </a:cubicBezTo>
                  <a:cubicBezTo>
                    <a:pt x="255" y="23"/>
                    <a:pt x="255" y="23"/>
                    <a:pt x="256" y="22"/>
                  </a:cubicBezTo>
                  <a:cubicBezTo>
                    <a:pt x="256" y="22"/>
                    <a:pt x="256" y="22"/>
                    <a:pt x="256" y="22"/>
                  </a:cubicBezTo>
                  <a:cubicBezTo>
                    <a:pt x="256" y="22"/>
                    <a:pt x="256" y="22"/>
                    <a:pt x="256" y="22"/>
                  </a:cubicBezTo>
                  <a:cubicBezTo>
                    <a:pt x="257" y="22"/>
                    <a:pt x="257" y="22"/>
                    <a:pt x="257" y="22"/>
                  </a:cubicBezTo>
                  <a:cubicBezTo>
                    <a:pt x="257" y="22"/>
                    <a:pt x="257" y="22"/>
                    <a:pt x="257" y="22"/>
                  </a:cubicBezTo>
                  <a:cubicBezTo>
                    <a:pt x="257" y="22"/>
                    <a:pt x="257" y="22"/>
                    <a:pt x="258" y="22"/>
                  </a:cubicBezTo>
                  <a:cubicBezTo>
                    <a:pt x="258" y="22"/>
                    <a:pt x="258" y="22"/>
                    <a:pt x="258" y="21"/>
                  </a:cubicBezTo>
                  <a:cubicBezTo>
                    <a:pt x="258" y="21"/>
                    <a:pt x="258" y="21"/>
                    <a:pt x="258" y="21"/>
                  </a:cubicBezTo>
                  <a:cubicBezTo>
                    <a:pt x="259" y="21"/>
                    <a:pt x="259" y="21"/>
                    <a:pt x="259" y="21"/>
                  </a:cubicBezTo>
                  <a:cubicBezTo>
                    <a:pt x="259" y="20"/>
                    <a:pt x="260" y="20"/>
                    <a:pt x="261" y="20"/>
                  </a:cubicBezTo>
                  <a:cubicBezTo>
                    <a:pt x="261" y="20"/>
                    <a:pt x="261" y="19"/>
                    <a:pt x="261" y="19"/>
                  </a:cubicBezTo>
                  <a:cubicBezTo>
                    <a:pt x="262" y="19"/>
                    <a:pt x="262" y="19"/>
                    <a:pt x="262" y="18"/>
                  </a:cubicBezTo>
                  <a:cubicBezTo>
                    <a:pt x="262" y="18"/>
                    <a:pt x="262" y="18"/>
                    <a:pt x="262" y="18"/>
                  </a:cubicBezTo>
                  <a:cubicBezTo>
                    <a:pt x="262" y="17"/>
                    <a:pt x="263" y="17"/>
                    <a:pt x="263" y="17"/>
                  </a:cubicBezTo>
                  <a:cubicBezTo>
                    <a:pt x="263" y="17"/>
                    <a:pt x="263" y="17"/>
                    <a:pt x="263" y="17"/>
                  </a:cubicBezTo>
                  <a:cubicBezTo>
                    <a:pt x="263" y="16"/>
                    <a:pt x="263" y="16"/>
                    <a:pt x="264" y="16"/>
                  </a:cubicBezTo>
                  <a:cubicBezTo>
                    <a:pt x="264" y="16"/>
                    <a:pt x="264" y="15"/>
                    <a:pt x="264" y="15"/>
                  </a:cubicBezTo>
                  <a:cubicBezTo>
                    <a:pt x="264" y="15"/>
                    <a:pt x="264" y="15"/>
                    <a:pt x="264" y="15"/>
                  </a:cubicBezTo>
                  <a:cubicBezTo>
                    <a:pt x="264" y="15"/>
                    <a:pt x="264" y="15"/>
                    <a:pt x="264" y="14"/>
                  </a:cubicBezTo>
                  <a:cubicBezTo>
                    <a:pt x="265" y="14"/>
                    <a:pt x="265" y="14"/>
                    <a:pt x="265" y="14"/>
                  </a:cubicBezTo>
                  <a:cubicBezTo>
                    <a:pt x="265" y="14"/>
                    <a:pt x="265" y="14"/>
                    <a:pt x="265" y="13"/>
                  </a:cubicBezTo>
                  <a:cubicBezTo>
                    <a:pt x="265" y="13"/>
                    <a:pt x="266" y="13"/>
                    <a:pt x="266" y="13"/>
                  </a:cubicBezTo>
                  <a:cubicBezTo>
                    <a:pt x="266" y="12"/>
                    <a:pt x="266" y="12"/>
                    <a:pt x="266" y="12"/>
                  </a:cubicBezTo>
                  <a:cubicBezTo>
                    <a:pt x="266" y="12"/>
                    <a:pt x="267" y="12"/>
                    <a:pt x="267" y="12"/>
                  </a:cubicBezTo>
                  <a:cubicBezTo>
                    <a:pt x="267" y="11"/>
                    <a:pt x="267" y="11"/>
                    <a:pt x="267" y="11"/>
                  </a:cubicBezTo>
                  <a:cubicBezTo>
                    <a:pt x="267" y="11"/>
                    <a:pt x="267" y="11"/>
                    <a:pt x="267" y="11"/>
                  </a:cubicBezTo>
                  <a:cubicBezTo>
                    <a:pt x="267" y="11"/>
                    <a:pt x="267" y="10"/>
                    <a:pt x="267" y="10"/>
                  </a:cubicBezTo>
                  <a:cubicBezTo>
                    <a:pt x="268" y="10"/>
                    <a:pt x="268" y="10"/>
                    <a:pt x="268" y="10"/>
                  </a:cubicBezTo>
                  <a:cubicBezTo>
                    <a:pt x="268" y="9"/>
                    <a:pt x="268" y="9"/>
                    <a:pt x="268" y="9"/>
                  </a:cubicBezTo>
                  <a:cubicBezTo>
                    <a:pt x="269" y="8"/>
                    <a:pt x="270" y="8"/>
                    <a:pt x="270" y="7"/>
                  </a:cubicBezTo>
                  <a:cubicBezTo>
                    <a:pt x="271" y="7"/>
                    <a:pt x="271" y="7"/>
                    <a:pt x="271" y="7"/>
                  </a:cubicBezTo>
                  <a:cubicBezTo>
                    <a:pt x="271" y="7"/>
                    <a:pt x="271" y="7"/>
                    <a:pt x="271" y="7"/>
                  </a:cubicBezTo>
                  <a:cubicBezTo>
                    <a:pt x="271" y="7"/>
                    <a:pt x="272" y="6"/>
                    <a:pt x="272" y="6"/>
                  </a:cubicBezTo>
                  <a:cubicBezTo>
                    <a:pt x="272" y="6"/>
                    <a:pt x="272" y="6"/>
                    <a:pt x="272" y="6"/>
                  </a:cubicBezTo>
                  <a:cubicBezTo>
                    <a:pt x="273" y="6"/>
                    <a:pt x="273" y="6"/>
                    <a:pt x="273" y="6"/>
                  </a:cubicBezTo>
                  <a:cubicBezTo>
                    <a:pt x="273" y="5"/>
                    <a:pt x="273" y="5"/>
                    <a:pt x="273" y="5"/>
                  </a:cubicBezTo>
                  <a:cubicBezTo>
                    <a:pt x="274" y="5"/>
                    <a:pt x="274" y="5"/>
                    <a:pt x="274" y="5"/>
                  </a:cubicBezTo>
                  <a:cubicBezTo>
                    <a:pt x="274" y="5"/>
                    <a:pt x="274" y="5"/>
                    <a:pt x="274" y="4"/>
                  </a:cubicBezTo>
                  <a:cubicBezTo>
                    <a:pt x="275" y="4"/>
                    <a:pt x="275" y="4"/>
                    <a:pt x="275" y="4"/>
                  </a:cubicBezTo>
                  <a:cubicBezTo>
                    <a:pt x="275" y="4"/>
                    <a:pt x="275" y="4"/>
                    <a:pt x="276" y="4"/>
                  </a:cubicBezTo>
                  <a:cubicBezTo>
                    <a:pt x="276" y="3"/>
                    <a:pt x="276" y="3"/>
                    <a:pt x="277" y="3"/>
                  </a:cubicBezTo>
                  <a:cubicBezTo>
                    <a:pt x="277" y="3"/>
                    <a:pt x="277" y="3"/>
                    <a:pt x="277" y="3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2"/>
                    <a:pt x="278" y="2"/>
                  </a:cubicBezTo>
                  <a:cubicBezTo>
                    <a:pt x="279" y="2"/>
                    <a:pt x="279" y="2"/>
                    <a:pt x="279" y="2"/>
                  </a:cubicBezTo>
                  <a:cubicBezTo>
                    <a:pt x="279" y="2"/>
                    <a:pt x="279" y="1"/>
                    <a:pt x="279" y="1"/>
                  </a:cubicBezTo>
                  <a:cubicBezTo>
                    <a:pt x="280" y="1"/>
                    <a:pt x="281" y="0"/>
                    <a:pt x="283" y="0"/>
                  </a:cubicBezTo>
                  <a:cubicBezTo>
                    <a:pt x="283" y="1"/>
                    <a:pt x="285" y="1"/>
                    <a:pt x="286" y="1"/>
                  </a:cubicBezTo>
                  <a:cubicBezTo>
                    <a:pt x="286" y="1"/>
                    <a:pt x="286" y="1"/>
                    <a:pt x="286" y="1"/>
                  </a:cubicBezTo>
                  <a:cubicBezTo>
                    <a:pt x="286" y="1"/>
                    <a:pt x="287" y="1"/>
                    <a:pt x="287" y="1"/>
                  </a:cubicBezTo>
                  <a:cubicBezTo>
                    <a:pt x="287" y="2"/>
                    <a:pt x="287" y="2"/>
                    <a:pt x="287" y="2"/>
                  </a:cubicBezTo>
                  <a:cubicBezTo>
                    <a:pt x="288" y="2"/>
                    <a:pt x="289" y="2"/>
                    <a:pt x="289" y="2"/>
                  </a:cubicBezTo>
                  <a:cubicBezTo>
                    <a:pt x="289" y="2"/>
                    <a:pt x="289" y="2"/>
                    <a:pt x="289" y="2"/>
                  </a:cubicBezTo>
                  <a:cubicBezTo>
                    <a:pt x="290" y="2"/>
                    <a:pt x="290" y="2"/>
                    <a:pt x="291" y="2"/>
                  </a:cubicBezTo>
                  <a:cubicBezTo>
                    <a:pt x="291" y="2"/>
                    <a:pt x="291" y="2"/>
                    <a:pt x="291" y="3"/>
                  </a:cubicBezTo>
                  <a:cubicBezTo>
                    <a:pt x="292" y="3"/>
                    <a:pt x="293" y="3"/>
                    <a:pt x="294" y="3"/>
                  </a:cubicBezTo>
                  <a:cubicBezTo>
                    <a:pt x="294" y="3"/>
                    <a:pt x="294" y="3"/>
                    <a:pt x="294" y="3"/>
                  </a:cubicBezTo>
                  <a:cubicBezTo>
                    <a:pt x="294" y="3"/>
                    <a:pt x="295" y="3"/>
                    <a:pt x="295" y="3"/>
                  </a:cubicBezTo>
                  <a:cubicBezTo>
                    <a:pt x="295" y="3"/>
                    <a:pt x="295" y="3"/>
                    <a:pt x="295" y="4"/>
                  </a:cubicBezTo>
                  <a:cubicBezTo>
                    <a:pt x="296" y="4"/>
                    <a:pt x="296" y="4"/>
                    <a:pt x="297" y="4"/>
                  </a:cubicBezTo>
                  <a:cubicBezTo>
                    <a:pt x="297" y="4"/>
                    <a:pt x="297" y="4"/>
                    <a:pt x="297" y="4"/>
                  </a:cubicBezTo>
                  <a:cubicBezTo>
                    <a:pt x="297" y="4"/>
                    <a:pt x="298" y="4"/>
                    <a:pt x="299" y="4"/>
                  </a:cubicBezTo>
                  <a:cubicBezTo>
                    <a:pt x="299" y="4"/>
                    <a:pt x="299" y="4"/>
                    <a:pt x="299" y="4"/>
                  </a:cubicBezTo>
                  <a:cubicBezTo>
                    <a:pt x="299" y="4"/>
                    <a:pt x="300" y="4"/>
                    <a:pt x="300" y="4"/>
                  </a:cubicBezTo>
                  <a:cubicBezTo>
                    <a:pt x="300" y="4"/>
                    <a:pt x="300" y="5"/>
                    <a:pt x="300" y="5"/>
                  </a:cubicBezTo>
                  <a:cubicBezTo>
                    <a:pt x="301" y="5"/>
                    <a:pt x="301" y="5"/>
                    <a:pt x="302" y="5"/>
                  </a:cubicBezTo>
                  <a:cubicBezTo>
                    <a:pt x="302" y="5"/>
                    <a:pt x="302" y="5"/>
                    <a:pt x="302" y="5"/>
                  </a:cubicBezTo>
                  <a:cubicBezTo>
                    <a:pt x="302" y="5"/>
                    <a:pt x="303" y="5"/>
                    <a:pt x="304" y="5"/>
                  </a:cubicBezTo>
                  <a:cubicBezTo>
                    <a:pt x="304" y="5"/>
                    <a:pt x="304" y="5"/>
                    <a:pt x="304" y="5"/>
                  </a:cubicBezTo>
                  <a:cubicBezTo>
                    <a:pt x="304" y="5"/>
                    <a:pt x="304" y="5"/>
                    <a:pt x="305" y="5"/>
                  </a:cubicBezTo>
                  <a:cubicBezTo>
                    <a:pt x="305" y="5"/>
                    <a:pt x="305" y="6"/>
                    <a:pt x="305" y="6"/>
                  </a:cubicBezTo>
                  <a:cubicBezTo>
                    <a:pt x="305" y="6"/>
                    <a:pt x="305" y="6"/>
                    <a:pt x="306" y="6"/>
                  </a:cubicBezTo>
                  <a:cubicBezTo>
                    <a:pt x="306" y="6"/>
                    <a:pt x="306" y="6"/>
                    <a:pt x="306" y="6"/>
                  </a:cubicBezTo>
                  <a:cubicBezTo>
                    <a:pt x="306" y="6"/>
                    <a:pt x="306" y="6"/>
                    <a:pt x="306" y="6"/>
                  </a:cubicBezTo>
                  <a:cubicBezTo>
                    <a:pt x="306" y="6"/>
                    <a:pt x="306" y="6"/>
                    <a:pt x="306" y="6"/>
                  </a:cubicBezTo>
                  <a:cubicBezTo>
                    <a:pt x="307" y="6"/>
                    <a:pt x="308" y="7"/>
                    <a:pt x="308" y="7"/>
                  </a:cubicBezTo>
                  <a:cubicBezTo>
                    <a:pt x="308" y="7"/>
                    <a:pt x="308" y="7"/>
                    <a:pt x="308" y="7"/>
                  </a:cubicBezTo>
                  <a:cubicBezTo>
                    <a:pt x="309" y="7"/>
                    <a:pt x="309" y="7"/>
                    <a:pt x="309" y="7"/>
                  </a:cubicBezTo>
                  <a:cubicBezTo>
                    <a:pt x="309" y="7"/>
                    <a:pt x="309" y="7"/>
                    <a:pt x="309" y="7"/>
                  </a:cubicBezTo>
                  <a:cubicBezTo>
                    <a:pt x="310" y="8"/>
                    <a:pt x="311" y="8"/>
                    <a:pt x="311" y="8"/>
                  </a:cubicBezTo>
                  <a:cubicBezTo>
                    <a:pt x="311" y="8"/>
                    <a:pt x="311" y="8"/>
                    <a:pt x="311" y="8"/>
                  </a:cubicBezTo>
                  <a:cubicBezTo>
                    <a:pt x="311" y="8"/>
                    <a:pt x="312" y="8"/>
                    <a:pt x="312" y="8"/>
                  </a:cubicBezTo>
                  <a:cubicBezTo>
                    <a:pt x="312" y="8"/>
                    <a:pt x="312" y="8"/>
                    <a:pt x="312" y="8"/>
                  </a:cubicBezTo>
                  <a:cubicBezTo>
                    <a:pt x="313" y="9"/>
                    <a:pt x="313" y="9"/>
                    <a:pt x="314" y="9"/>
                  </a:cubicBezTo>
                  <a:cubicBezTo>
                    <a:pt x="314" y="9"/>
                    <a:pt x="314" y="9"/>
                    <a:pt x="314" y="9"/>
                  </a:cubicBezTo>
                  <a:cubicBezTo>
                    <a:pt x="314" y="9"/>
                    <a:pt x="314" y="9"/>
                    <a:pt x="315" y="9"/>
                  </a:cubicBezTo>
                  <a:cubicBezTo>
                    <a:pt x="315" y="9"/>
                    <a:pt x="315" y="9"/>
                    <a:pt x="315" y="10"/>
                  </a:cubicBezTo>
                  <a:cubicBezTo>
                    <a:pt x="318" y="10"/>
                    <a:pt x="321" y="10"/>
                    <a:pt x="323" y="10"/>
                  </a:cubicBezTo>
                  <a:cubicBezTo>
                    <a:pt x="325" y="12"/>
                    <a:pt x="327" y="14"/>
                    <a:pt x="329" y="15"/>
                  </a:cubicBezTo>
                  <a:cubicBezTo>
                    <a:pt x="331" y="18"/>
                    <a:pt x="334" y="20"/>
                    <a:pt x="336" y="23"/>
                  </a:cubicBezTo>
                  <a:cubicBezTo>
                    <a:pt x="336" y="23"/>
                    <a:pt x="337" y="23"/>
                    <a:pt x="337" y="23"/>
                  </a:cubicBezTo>
                  <a:cubicBezTo>
                    <a:pt x="339" y="24"/>
                    <a:pt x="340" y="26"/>
                    <a:pt x="341" y="27"/>
                  </a:cubicBezTo>
                  <a:cubicBezTo>
                    <a:pt x="341" y="27"/>
                    <a:pt x="341" y="28"/>
                    <a:pt x="341" y="28"/>
                  </a:cubicBezTo>
                  <a:cubicBezTo>
                    <a:pt x="341" y="28"/>
                    <a:pt x="341" y="28"/>
                    <a:pt x="341" y="28"/>
                  </a:cubicBezTo>
                  <a:cubicBezTo>
                    <a:pt x="341" y="28"/>
                    <a:pt x="340" y="28"/>
                    <a:pt x="340" y="28"/>
                  </a:cubicBezTo>
                  <a:cubicBezTo>
                    <a:pt x="340" y="29"/>
                    <a:pt x="340" y="29"/>
                    <a:pt x="340" y="29"/>
                  </a:cubicBezTo>
                  <a:cubicBezTo>
                    <a:pt x="340" y="29"/>
                    <a:pt x="340" y="30"/>
                    <a:pt x="339" y="30"/>
                  </a:cubicBezTo>
                  <a:cubicBezTo>
                    <a:pt x="339" y="30"/>
                    <a:pt x="339" y="30"/>
                    <a:pt x="339" y="31"/>
                  </a:cubicBezTo>
                  <a:cubicBezTo>
                    <a:pt x="339" y="31"/>
                    <a:pt x="338" y="31"/>
                    <a:pt x="338" y="31"/>
                  </a:cubicBezTo>
                  <a:cubicBezTo>
                    <a:pt x="338" y="31"/>
                    <a:pt x="338" y="32"/>
                    <a:pt x="338" y="32"/>
                  </a:cubicBezTo>
                  <a:cubicBezTo>
                    <a:pt x="338" y="32"/>
                    <a:pt x="337" y="32"/>
                    <a:pt x="337" y="33"/>
                  </a:cubicBezTo>
                  <a:cubicBezTo>
                    <a:pt x="337" y="33"/>
                    <a:pt x="337" y="33"/>
                    <a:pt x="337" y="33"/>
                  </a:cubicBezTo>
                  <a:cubicBezTo>
                    <a:pt x="337" y="34"/>
                    <a:pt x="336" y="34"/>
                    <a:pt x="336" y="34"/>
                  </a:cubicBezTo>
                  <a:cubicBezTo>
                    <a:pt x="336" y="34"/>
                    <a:pt x="336" y="34"/>
                    <a:pt x="336" y="35"/>
                  </a:cubicBezTo>
                  <a:cubicBezTo>
                    <a:pt x="336" y="35"/>
                    <a:pt x="335" y="35"/>
                    <a:pt x="335" y="35"/>
                  </a:cubicBezTo>
                  <a:cubicBezTo>
                    <a:pt x="335" y="36"/>
                    <a:pt x="335" y="36"/>
                    <a:pt x="335" y="36"/>
                  </a:cubicBezTo>
                  <a:cubicBezTo>
                    <a:pt x="335" y="36"/>
                    <a:pt x="334" y="37"/>
                    <a:pt x="334" y="37"/>
                  </a:cubicBezTo>
                  <a:cubicBezTo>
                    <a:pt x="334" y="37"/>
                    <a:pt x="334" y="37"/>
                    <a:pt x="334" y="38"/>
                  </a:cubicBezTo>
                  <a:cubicBezTo>
                    <a:pt x="334" y="38"/>
                    <a:pt x="333" y="38"/>
                    <a:pt x="333" y="38"/>
                  </a:cubicBezTo>
                  <a:cubicBezTo>
                    <a:pt x="333" y="38"/>
                    <a:pt x="333" y="39"/>
                    <a:pt x="333" y="39"/>
                  </a:cubicBezTo>
                  <a:cubicBezTo>
                    <a:pt x="333" y="39"/>
                    <a:pt x="332" y="39"/>
                    <a:pt x="332" y="40"/>
                  </a:cubicBezTo>
                  <a:cubicBezTo>
                    <a:pt x="332" y="40"/>
                    <a:pt x="332" y="40"/>
                    <a:pt x="332" y="40"/>
                  </a:cubicBezTo>
                  <a:cubicBezTo>
                    <a:pt x="331" y="41"/>
                    <a:pt x="331" y="41"/>
                    <a:pt x="331" y="41"/>
                  </a:cubicBezTo>
                  <a:cubicBezTo>
                    <a:pt x="331" y="41"/>
                    <a:pt x="331" y="41"/>
                    <a:pt x="331" y="42"/>
                  </a:cubicBezTo>
                  <a:cubicBezTo>
                    <a:pt x="331" y="42"/>
                    <a:pt x="330" y="42"/>
                    <a:pt x="330" y="42"/>
                  </a:cubicBezTo>
                  <a:cubicBezTo>
                    <a:pt x="330" y="42"/>
                    <a:pt x="330" y="43"/>
                    <a:pt x="330" y="43"/>
                  </a:cubicBezTo>
                  <a:cubicBezTo>
                    <a:pt x="330" y="43"/>
                    <a:pt x="330" y="43"/>
                    <a:pt x="329" y="43"/>
                  </a:cubicBezTo>
                  <a:cubicBezTo>
                    <a:pt x="329" y="44"/>
                    <a:pt x="329" y="44"/>
                    <a:pt x="329" y="45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</a:ln>
            <a:effectLst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64800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4000" b="1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0000"/>
                </a:solidFill>
                <a:latin typeface="UKIJ Qolyazma" pitchFamily="18" charset="0"/>
                <a:cs typeface="UKIJ Qolyazma" pitchFamily="18" charset="0"/>
              </a:endParaRPr>
            </a:p>
          </p:txBody>
        </p:sp>
        <p:sp>
          <p:nvSpPr>
            <p:cNvPr id="123" name="Freeform 34">
              <a:extLst>
                <a:ext uri="{FF2B5EF4-FFF2-40B4-BE49-F238E27FC236}">
                  <a16:creationId xmlns:a16="http://schemas.microsoft.com/office/drawing/2014/main" id="{01E502DC-D8F9-8CF1-DD0B-A5F696F799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8881" y="3072280"/>
              <a:ext cx="818323" cy="885230"/>
            </a:xfrm>
            <a:custGeom>
              <a:avLst/>
              <a:gdLst>
                <a:gd name="T0" fmla="*/ 198 w 376"/>
                <a:gd name="T1" fmla="*/ 2 h 407"/>
                <a:gd name="T2" fmla="*/ 207 w 376"/>
                <a:gd name="T3" fmla="*/ 5 h 407"/>
                <a:gd name="T4" fmla="*/ 216 w 376"/>
                <a:gd name="T5" fmla="*/ 8 h 407"/>
                <a:gd name="T6" fmla="*/ 267 w 376"/>
                <a:gd name="T7" fmla="*/ 10 h 407"/>
                <a:gd name="T8" fmla="*/ 283 w 376"/>
                <a:gd name="T9" fmla="*/ 16 h 407"/>
                <a:gd name="T10" fmla="*/ 296 w 376"/>
                <a:gd name="T11" fmla="*/ 21 h 407"/>
                <a:gd name="T12" fmla="*/ 305 w 376"/>
                <a:gd name="T13" fmla="*/ 24 h 407"/>
                <a:gd name="T14" fmla="*/ 316 w 376"/>
                <a:gd name="T15" fmla="*/ 29 h 407"/>
                <a:gd name="T16" fmla="*/ 328 w 376"/>
                <a:gd name="T17" fmla="*/ 33 h 407"/>
                <a:gd name="T18" fmla="*/ 335 w 376"/>
                <a:gd name="T19" fmla="*/ 36 h 407"/>
                <a:gd name="T20" fmla="*/ 354 w 376"/>
                <a:gd name="T21" fmla="*/ 54 h 407"/>
                <a:gd name="T22" fmla="*/ 373 w 376"/>
                <a:gd name="T23" fmla="*/ 129 h 407"/>
                <a:gd name="T24" fmla="*/ 370 w 376"/>
                <a:gd name="T25" fmla="*/ 156 h 407"/>
                <a:gd name="T26" fmla="*/ 363 w 376"/>
                <a:gd name="T27" fmla="*/ 166 h 407"/>
                <a:gd name="T28" fmla="*/ 356 w 376"/>
                <a:gd name="T29" fmla="*/ 254 h 407"/>
                <a:gd name="T30" fmla="*/ 330 w 376"/>
                <a:gd name="T31" fmla="*/ 271 h 407"/>
                <a:gd name="T32" fmla="*/ 314 w 376"/>
                <a:gd name="T33" fmla="*/ 285 h 407"/>
                <a:gd name="T34" fmla="*/ 299 w 376"/>
                <a:gd name="T35" fmla="*/ 299 h 407"/>
                <a:gd name="T36" fmla="*/ 297 w 376"/>
                <a:gd name="T37" fmla="*/ 309 h 407"/>
                <a:gd name="T38" fmla="*/ 296 w 376"/>
                <a:gd name="T39" fmla="*/ 340 h 407"/>
                <a:gd name="T40" fmla="*/ 262 w 376"/>
                <a:gd name="T41" fmla="*/ 347 h 407"/>
                <a:gd name="T42" fmla="*/ 252 w 376"/>
                <a:gd name="T43" fmla="*/ 352 h 407"/>
                <a:gd name="T44" fmla="*/ 238 w 376"/>
                <a:gd name="T45" fmla="*/ 356 h 407"/>
                <a:gd name="T46" fmla="*/ 221 w 376"/>
                <a:gd name="T47" fmla="*/ 365 h 407"/>
                <a:gd name="T48" fmla="*/ 191 w 376"/>
                <a:gd name="T49" fmla="*/ 384 h 407"/>
                <a:gd name="T50" fmla="*/ 179 w 376"/>
                <a:gd name="T51" fmla="*/ 385 h 407"/>
                <a:gd name="T52" fmla="*/ 162 w 376"/>
                <a:gd name="T53" fmla="*/ 390 h 407"/>
                <a:gd name="T54" fmla="*/ 133 w 376"/>
                <a:gd name="T55" fmla="*/ 402 h 407"/>
                <a:gd name="T56" fmla="*/ 117 w 376"/>
                <a:gd name="T57" fmla="*/ 402 h 407"/>
                <a:gd name="T58" fmla="*/ 111 w 376"/>
                <a:gd name="T59" fmla="*/ 391 h 407"/>
                <a:gd name="T60" fmla="*/ 99 w 376"/>
                <a:gd name="T61" fmla="*/ 378 h 407"/>
                <a:gd name="T62" fmla="*/ 82 w 376"/>
                <a:gd name="T63" fmla="*/ 351 h 407"/>
                <a:gd name="T64" fmla="*/ 65 w 376"/>
                <a:gd name="T65" fmla="*/ 331 h 407"/>
                <a:gd name="T66" fmla="*/ 70 w 376"/>
                <a:gd name="T67" fmla="*/ 301 h 407"/>
                <a:gd name="T68" fmla="*/ 77 w 376"/>
                <a:gd name="T69" fmla="*/ 298 h 407"/>
                <a:gd name="T70" fmla="*/ 86 w 376"/>
                <a:gd name="T71" fmla="*/ 293 h 407"/>
                <a:gd name="T72" fmla="*/ 96 w 376"/>
                <a:gd name="T73" fmla="*/ 286 h 407"/>
                <a:gd name="T74" fmla="*/ 106 w 376"/>
                <a:gd name="T75" fmla="*/ 280 h 407"/>
                <a:gd name="T76" fmla="*/ 115 w 376"/>
                <a:gd name="T77" fmla="*/ 264 h 407"/>
                <a:gd name="T78" fmla="*/ 105 w 376"/>
                <a:gd name="T79" fmla="*/ 226 h 407"/>
                <a:gd name="T80" fmla="*/ 95 w 376"/>
                <a:gd name="T81" fmla="*/ 218 h 407"/>
                <a:gd name="T82" fmla="*/ 85 w 376"/>
                <a:gd name="T83" fmla="*/ 212 h 407"/>
                <a:gd name="T84" fmla="*/ 76 w 376"/>
                <a:gd name="T85" fmla="*/ 205 h 407"/>
                <a:gd name="T86" fmla="*/ 43 w 376"/>
                <a:gd name="T87" fmla="*/ 174 h 407"/>
                <a:gd name="T88" fmla="*/ 34 w 376"/>
                <a:gd name="T89" fmla="*/ 168 h 407"/>
                <a:gd name="T90" fmla="*/ 24 w 376"/>
                <a:gd name="T91" fmla="*/ 161 h 407"/>
                <a:gd name="T92" fmla="*/ 15 w 376"/>
                <a:gd name="T93" fmla="*/ 154 h 407"/>
                <a:gd name="T94" fmla="*/ 8 w 376"/>
                <a:gd name="T95" fmla="*/ 143 h 407"/>
                <a:gd name="T96" fmla="*/ 7 w 376"/>
                <a:gd name="T97" fmla="*/ 110 h 407"/>
                <a:gd name="T98" fmla="*/ 10 w 376"/>
                <a:gd name="T99" fmla="*/ 87 h 407"/>
                <a:gd name="T100" fmla="*/ 6 w 376"/>
                <a:gd name="T101" fmla="*/ 72 h 407"/>
                <a:gd name="T102" fmla="*/ 8 w 376"/>
                <a:gd name="T103" fmla="*/ 50 h 407"/>
                <a:gd name="T104" fmla="*/ 15 w 376"/>
                <a:gd name="T105" fmla="*/ 38 h 407"/>
                <a:gd name="T106" fmla="*/ 24 w 376"/>
                <a:gd name="T107" fmla="*/ 29 h 407"/>
                <a:gd name="T108" fmla="*/ 38 w 376"/>
                <a:gd name="T109" fmla="*/ 21 h 407"/>
                <a:gd name="T110" fmla="*/ 70 w 376"/>
                <a:gd name="T111" fmla="*/ 13 h 407"/>
                <a:gd name="T112" fmla="*/ 92 w 376"/>
                <a:gd name="T113" fmla="*/ 30 h 407"/>
                <a:gd name="T114" fmla="*/ 134 w 376"/>
                <a:gd name="T115" fmla="*/ 35 h 407"/>
                <a:gd name="T116" fmla="*/ 146 w 376"/>
                <a:gd name="T117" fmla="*/ 31 h 407"/>
                <a:gd name="T118" fmla="*/ 161 w 376"/>
                <a:gd name="T119" fmla="*/ 11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6" h="407">
                  <a:moveTo>
                    <a:pt x="166" y="0"/>
                  </a:moveTo>
                  <a:cubicBezTo>
                    <a:pt x="174" y="0"/>
                    <a:pt x="182" y="0"/>
                    <a:pt x="190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192" y="0"/>
                    <a:pt x="192" y="0"/>
                    <a:pt x="192" y="1"/>
                  </a:cubicBezTo>
                  <a:cubicBezTo>
                    <a:pt x="193" y="1"/>
                    <a:pt x="193" y="1"/>
                    <a:pt x="193" y="1"/>
                  </a:cubicBezTo>
                  <a:cubicBezTo>
                    <a:pt x="193" y="1"/>
                    <a:pt x="193" y="1"/>
                    <a:pt x="193" y="1"/>
                  </a:cubicBezTo>
                  <a:cubicBezTo>
                    <a:pt x="194" y="1"/>
                    <a:pt x="194" y="1"/>
                    <a:pt x="194" y="1"/>
                  </a:cubicBezTo>
                  <a:cubicBezTo>
                    <a:pt x="194" y="1"/>
                    <a:pt x="194" y="1"/>
                    <a:pt x="194" y="1"/>
                  </a:cubicBezTo>
                  <a:cubicBezTo>
                    <a:pt x="195" y="1"/>
                    <a:pt x="195" y="1"/>
                    <a:pt x="196" y="1"/>
                  </a:cubicBezTo>
                  <a:cubicBezTo>
                    <a:pt x="196" y="1"/>
                    <a:pt x="196" y="2"/>
                    <a:pt x="196" y="2"/>
                  </a:cubicBezTo>
                  <a:cubicBezTo>
                    <a:pt x="196" y="2"/>
                    <a:pt x="197" y="2"/>
                    <a:pt x="197" y="2"/>
                  </a:cubicBezTo>
                  <a:cubicBezTo>
                    <a:pt x="197" y="2"/>
                    <a:pt x="197" y="2"/>
                    <a:pt x="197" y="2"/>
                  </a:cubicBezTo>
                  <a:cubicBezTo>
                    <a:pt x="197" y="2"/>
                    <a:pt x="198" y="2"/>
                    <a:pt x="198" y="2"/>
                  </a:cubicBezTo>
                  <a:cubicBezTo>
                    <a:pt x="198" y="2"/>
                    <a:pt x="198" y="2"/>
                    <a:pt x="198" y="2"/>
                  </a:cubicBezTo>
                  <a:cubicBezTo>
                    <a:pt x="198" y="2"/>
                    <a:pt x="199" y="2"/>
                    <a:pt x="199" y="2"/>
                  </a:cubicBezTo>
                  <a:cubicBezTo>
                    <a:pt x="199" y="2"/>
                    <a:pt x="199" y="3"/>
                    <a:pt x="199" y="3"/>
                  </a:cubicBezTo>
                  <a:cubicBezTo>
                    <a:pt x="199" y="3"/>
                    <a:pt x="200" y="3"/>
                    <a:pt x="200" y="3"/>
                  </a:cubicBezTo>
                  <a:cubicBezTo>
                    <a:pt x="200" y="3"/>
                    <a:pt x="200" y="3"/>
                    <a:pt x="200" y="3"/>
                  </a:cubicBezTo>
                  <a:cubicBezTo>
                    <a:pt x="200" y="3"/>
                    <a:pt x="201" y="3"/>
                    <a:pt x="201" y="3"/>
                  </a:cubicBezTo>
                  <a:cubicBezTo>
                    <a:pt x="201" y="3"/>
                    <a:pt x="201" y="3"/>
                    <a:pt x="201" y="3"/>
                  </a:cubicBezTo>
                  <a:cubicBezTo>
                    <a:pt x="202" y="3"/>
                    <a:pt x="202" y="3"/>
                    <a:pt x="203" y="3"/>
                  </a:cubicBezTo>
                  <a:cubicBezTo>
                    <a:pt x="203" y="4"/>
                    <a:pt x="203" y="4"/>
                    <a:pt x="203" y="4"/>
                  </a:cubicBezTo>
                  <a:cubicBezTo>
                    <a:pt x="203" y="4"/>
                    <a:pt x="203" y="4"/>
                    <a:pt x="204" y="4"/>
                  </a:cubicBezTo>
                  <a:cubicBezTo>
                    <a:pt x="204" y="4"/>
                    <a:pt x="204" y="4"/>
                    <a:pt x="204" y="4"/>
                  </a:cubicBezTo>
                  <a:cubicBezTo>
                    <a:pt x="204" y="4"/>
                    <a:pt x="204" y="4"/>
                    <a:pt x="205" y="4"/>
                  </a:cubicBezTo>
                  <a:cubicBezTo>
                    <a:pt x="205" y="4"/>
                    <a:pt x="205" y="4"/>
                    <a:pt x="205" y="4"/>
                  </a:cubicBezTo>
                  <a:cubicBezTo>
                    <a:pt x="205" y="4"/>
                    <a:pt x="205" y="4"/>
                    <a:pt x="206" y="4"/>
                  </a:cubicBezTo>
                  <a:cubicBezTo>
                    <a:pt x="206" y="5"/>
                    <a:pt x="206" y="5"/>
                    <a:pt x="206" y="5"/>
                  </a:cubicBezTo>
                  <a:cubicBezTo>
                    <a:pt x="206" y="5"/>
                    <a:pt x="206" y="5"/>
                    <a:pt x="207" y="5"/>
                  </a:cubicBezTo>
                  <a:cubicBezTo>
                    <a:pt x="207" y="5"/>
                    <a:pt x="207" y="5"/>
                    <a:pt x="207" y="5"/>
                  </a:cubicBezTo>
                  <a:cubicBezTo>
                    <a:pt x="207" y="5"/>
                    <a:pt x="207" y="5"/>
                    <a:pt x="208" y="5"/>
                  </a:cubicBezTo>
                  <a:cubicBezTo>
                    <a:pt x="208" y="5"/>
                    <a:pt x="208" y="5"/>
                    <a:pt x="208" y="6"/>
                  </a:cubicBezTo>
                  <a:cubicBezTo>
                    <a:pt x="208" y="6"/>
                    <a:pt x="209" y="6"/>
                    <a:pt x="209" y="6"/>
                  </a:cubicBezTo>
                  <a:cubicBezTo>
                    <a:pt x="209" y="6"/>
                    <a:pt x="209" y="6"/>
                    <a:pt x="209" y="6"/>
                  </a:cubicBezTo>
                  <a:cubicBezTo>
                    <a:pt x="210" y="6"/>
                    <a:pt x="210" y="6"/>
                    <a:pt x="210" y="6"/>
                  </a:cubicBezTo>
                  <a:cubicBezTo>
                    <a:pt x="210" y="6"/>
                    <a:pt x="210" y="6"/>
                    <a:pt x="210" y="6"/>
                  </a:cubicBezTo>
                  <a:cubicBezTo>
                    <a:pt x="211" y="6"/>
                    <a:pt x="211" y="6"/>
                    <a:pt x="211" y="6"/>
                  </a:cubicBezTo>
                  <a:cubicBezTo>
                    <a:pt x="211" y="6"/>
                    <a:pt x="211" y="6"/>
                    <a:pt x="211" y="7"/>
                  </a:cubicBezTo>
                  <a:cubicBezTo>
                    <a:pt x="212" y="7"/>
                    <a:pt x="212" y="7"/>
                    <a:pt x="212" y="7"/>
                  </a:cubicBezTo>
                  <a:cubicBezTo>
                    <a:pt x="212" y="7"/>
                    <a:pt x="212" y="7"/>
                    <a:pt x="212" y="7"/>
                  </a:cubicBezTo>
                  <a:cubicBezTo>
                    <a:pt x="213" y="7"/>
                    <a:pt x="213" y="7"/>
                    <a:pt x="213" y="7"/>
                  </a:cubicBezTo>
                  <a:cubicBezTo>
                    <a:pt x="213" y="7"/>
                    <a:pt x="213" y="7"/>
                    <a:pt x="213" y="7"/>
                  </a:cubicBezTo>
                  <a:cubicBezTo>
                    <a:pt x="214" y="7"/>
                    <a:pt x="214" y="7"/>
                    <a:pt x="214" y="7"/>
                  </a:cubicBezTo>
                  <a:cubicBezTo>
                    <a:pt x="214" y="7"/>
                    <a:pt x="214" y="7"/>
                    <a:pt x="214" y="8"/>
                  </a:cubicBezTo>
                  <a:cubicBezTo>
                    <a:pt x="215" y="8"/>
                    <a:pt x="215" y="8"/>
                    <a:pt x="216" y="8"/>
                  </a:cubicBezTo>
                  <a:cubicBezTo>
                    <a:pt x="216" y="8"/>
                    <a:pt x="216" y="8"/>
                    <a:pt x="216" y="8"/>
                  </a:cubicBezTo>
                  <a:cubicBezTo>
                    <a:pt x="216" y="8"/>
                    <a:pt x="217" y="8"/>
                    <a:pt x="217" y="8"/>
                  </a:cubicBezTo>
                  <a:cubicBezTo>
                    <a:pt x="217" y="8"/>
                    <a:pt x="217" y="8"/>
                    <a:pt x="217" y="8"/>
                  </a:cubicBezTo>
                  <a:cubicBezTo>
                    <a:pt x="217" y="8"/>
                    <a:pt x="218" y="8"/>
                    <a:pt x="218" y="8"/>
                  </a:cubicBezTo>
                  <a:cubicBezTo>
                    <a:pt x="218" y="8"/>
                    <a:pt x="218" y="9"/>
                    <a:pt x="218" y="9"/>
                  </a:cubicBezTo>
                  <a:cubicBezTo>
                    <a:pt x="218" y="9"/>
                    <a:pt x="219" y="9"/>
                    <a:pt x="219" y="9"/>
                  </a:cubicBezTo>
                  <a:cubicBezTo>
                    <a:pt x="219" y="9"/>
                    <a:pt x="219" y="9"/>
                    <a:pt x="219" y="9"/>
                  </a:cubicBezTo>
                  <a:cubicBezTo>
                    <a:pt x="219" y="9"/>
                    <a:pt x="220" y="9"/>
                    <a:pt x="220" y="9"/>
                  </a:cubicBezTo>
                  <a:cubicBezTo>
                    <a:pt x="220" y="9"/>
                    <a:pt x="220" y="9"/>
                    <a:pt x="220" y="9"/>
                  </a:cubicBezTo>
                  <a:cubicBezTo>
                    <a:pt x="220" y="9"/>
                    <a:pt x="221" y="9"/>
                    <a:pt x="221" y="9"/>
                  </a:cubicBezTo>
                  <a:cubicBezTo>
                    <a:pt x="221" y="9"/>
                    <a:pt x="221" y="10"/>
                    <a:pt x="221" y="10"/>
                  </a:cubicBezTo>
                  <a:cubicBezTo>
                    <a:pt x="235" y="9"/>
                    <a:pt x="249" y="9"/>
                    <a:pt x="263" y="9"/>
                  </a:cubicBezTo>
                  <a:cubicBezTo>
                    <a:pt x="263" y="9"/>
                    <a:pt x="263" y="9"/>
                    <a:pt x="263" y="9"/>
                  </a:cubicBezTo>
                  <a:cubicBezTo>
                    <a:pt x="264" y="9"/>
                    <a:pt x="264" y="9"/>
                    <a:pt x="264" y="9"/>
                  </a:cubicBezTo>
                  <a:cubicBezTo>
                    <a:pt x="264" y="9"/>
                    <a:pt x="264" y="10"/>
                    <a:pt x="264" y="10"/>
                  </a:cubicBezTo>
                  <a:cubicBezTo>
                    <a:pt x="265" y="10"/>
                    <a:pt x="266" y="10"/>
                    <a:pt x="267" y="10"/>
                  </a:cubicBezTo>
                  <a:cubicBezTo>
                    <a:pt x="267" y="11"/>
                    <a:pt x="267" y="11"/>
                    <a:pt x="267" y="11"/>
                  </a:cubicBezTo>
                  <a:cubicBezTo>
                    <a:pt x="267" y="11"/>
                    <a:pt x="268" y="11"/>
                    <a:pt x="268" y="11"/>
                  </a:cubicBezTo>
                  <a:cubicBezTo>
                    <a:pt x="268" y="11"/>
                    <a:pt x="268" y="11"/>
                    <a:pt x="268" y="11"/>
                  </a:cubicBezTo>
                  <a:cubicBezTo>
                    <a:pt x="269" y="11"/>
                    <a:pt x="270" y="12"/>
                    <a:pt x="271" y="12"/>
                  </a:cubicBezTo>
                  <a:cubicBezTo>
                    <a:pt x="271" y="12"/>
                    <a:pt x="271" y="12"/>
                    <a:pt x="271" y="12"/>
                  </a:cubicBezTo>
                  <a:cubicBezTo>
                    <a:pt x="271" y="12"/>
                    <a:pt x="272" y="12"/>
                    <a:pt x="272" y="12"/>
                  </a:cubicBezTo>
                  <a:cubicBezTo>
                    <a:pt x="272" y="12"/>
                    <a:pt x="272" y="12"/>
                    <a:pt x="272" y="13"/>
                  </a:cubicBezTo>
                  <a:cubicBezTo>
                    <a:pt x="273" y="13"/>
                    <a:pt x="274" y="13"/>
                    <a:pt x="275" y="13"/>
                  </a:cubicBezTo>
                  <a:cubicBezTo>
                    <a:pt x="275" y="13"/>
                    <a:pt x="275" y="13"/>
                    <a:pt x="275" y="14"/>
                  </a:cubicBezTo>
                  <a:cubicBezTo>
                    <a:pt x="275" y="14"/>
                    <a:pt x="275" y="14"/>
                    <a:pt x="276" y="14"/>
                  </a:cubicBezTo>
                  <a:cubicBezTo>
                    <a:pt x="276" y="14"/>
                    <a:pt x="276" y="14"/>
                    <a:pt x="276" y="14"/>
                  </a:cubicBezTo>
                  <a:cubicBezTo>
                    <a:pt x="277" y="14"/>
                    <a:pt x="278" y="14"/>
                    <a:pt x="279" y="15"/>
                  </a:cubicBezTo>
                  <a:cubicBezTo>
                    <a:pt x="279" y="15"/>
                    <a:pt x="279" y="15"/>
                    <a:pt x="279" y="15"/>
                  </a:cubicBezTo>
                  <a:cubicBezTo>
                    <a:pt x="279" y="15"/>
                    <a:pt x="279" y="15"/>
                    <a:pt x="279" y="15"/>
                  </a:cubicBezTo>
                  <a:cubicBezTo>
                    <a:pt x="279" y="15"/>
                    <a:pt x="279" y="15"/>
                    <a:pt x="279" y="15"/>
                  </a:cubicBezTo>
                  <a:cubicBezTo>
                    <a:pt x="281" y="16"/>
                    <a:pt x="282" y="16"/>
                    <a:pt x="283" y="16"/>
                  </a:cubicBezTo>
                  <a:cubicBezTo>
                    <a:pt x="283" y="16"/>
                    <a:pt x="283" y="16"/>
                    <a:pt x="283" y="16"/>
                  </a:cubicBezTo>
                  <a:cubicBezTo>
                    <a:pt x="283" y="16"/>
                    <a:pt x="283" y="16"/>
                    <a:pt x="283" y="16"/>
                  </a:cubicBezTo>
                  <a:cubicBezTo>
                    <a:pt x="283" y="16"/>
                    <a:pt x="283" y="17"/>
                    <a:pt x="283" y="17"/>
                  </a:cubicBezTo>
                  <a:cubicBezTo>
                    <a:pt x="284" y="17"/>
                    <a:pt x="285" y="17"/>
                    <a:pt x="286" y="17"/>
                  </a:cubicBezTo>
                  <a:cubicBezTo>
                    <a:pt x="286" y="18"/>
                    <a:pt x="286" y="18"/>
                    <a:pt x="286" y="18"/>
                  </a:cubicBezTo>
                  <a:cubicBezTo>
                    <a:pt x="287" y="18"/>
                    <a:pt x="287" y="18"/>
                    <a:pt x="287" y="18"/>
                  </a:cubicBezTo>
                  <a:cubicBezTo>
                    <a:pt x="287" y="18"/>
                    <a:pt x="287" y="18"/>
                    <a:pt x="287" y="18"/>
                  </a:cubicBezTo>
                  <a:cubicBezTo>
                    <a:pt x="288" y="18"/>
                    <a:pt x="289" y="19"/>
                    <a:pt x="290" y="19"/>
                  </a:cubicBezTo>
                  <a:cubicBezTo>
                    <a:pt x="290" y="19"/>
                    <a:pt x="290" y="19"/>
                    <a:pt x="290" y="19"/>
                  </a:cubicBezTo>
                  <a:cubicBezTo>
                    <a:pt x="291" y="19"/>
                    <a:pt x="291" y="19"/>
                    <a:pt x="291" y="19"/>
                  </a:cubicBezTo>
                  <a:cubicBezTo>
                    <a:pt x="291" y="19"/>
                    <a:pt x="291" y="19"/>
                    <a:pt x="291" y="19"/>
                  </a:cubicBezTo>
                  <a:cubicBezTo>
                    <a:pt x="292" y="20"/>
                    <a:pt x="292" y="20"/>
                    <a:pt x="293" y="20"/>
                  </a:cubicBezTo>
                  <a:cubicBezTo>
                    <a:pt x="293" y="20"/>
                    <a:pt x="293" y="20"/>
                    <a:pt x="293" y="20"/>
                  </a:cubicBezTo>
                  <a:cubicBezTo>
                    <a:pt x="293" y="20"/>
                    <a:pt x="294" y="20"/>
                    <a:pt x="294" y="20"/>
                  </a:cubicBezTo>
                  <a:cubicBezTo>
                    <a:pt x="294" y="20"/>
                    <a:pt x="294" y="20"/>
                    <a:pt x="294" y="21"/>
                  </a:cubicBezTo>
                  <a:cubicBezTo>
                    <a:pt x="295" y="21"/>
                    <a:pt x="295" y="21"/>
                    <a:pt x="296" y="21"/>
                  </a:cubicBezTo>
                  <a:cubicBezTo>
                    <a:pt x="296" y="21"/>
                    <a:pt x="296" y="21"/>
                    <a:pt x="296" y="21"/>
                  </a:cubicBezTo>
                  <a:cubicBezTo>
                    <a:pt x="296" y="21"/>
                    <a:pt x="296" y="21"/>
                    <a:pt x="297" y="21"/>
                  </a:cubicBezTo>
                  <a:cubicBezTo>
                    <a:pt x="297" y="21"/>
                    <a:pt x="297" y="21"/>
                    <a:pt x="297" y="22"/>
                  </a:cubicBezTo>
                  <a:cubicBezTo>
                    <a:pt x="297" y="22"/>
                    <a:pt x="298" y="22"/>
                    <a:pt x="299" y="22"/>
                  </a:cubicBezTo>
                  <a:cubicBezTo>
                    <a:pt x="299" y="22"/>
                    <a:pt x="299" y="22"/>
                    <a:pt x="299" y="22"/>
                  </a:cubicBezTo>
                  <a:cubicBezTo>
                    <a:pt x="299" y="22"/>
                    <a:pt x="299" y="22"/>
                    <a:pt x="299" y="22"/>
                  </a:cubicBezTo>
                  <a:cubicBezTo>
                    <a:pt x="299" y="22"/>
                    <a:pt x="299" y="23"/>
                    <a:pt x="299" y="23"/>
                  </a:cubicBezTo>
                  <a:cubicBezTo>
                    <a:pt x="300" y="23"/>
                    <a:pt x="300" y="23"/>
                    <a:pt x="300" y="23"/>
                  </a:cubicBezTo>
                  <a:cubicBezTo>
                    <a:pt x="300" y="23"/>
                    <a:pt x="300" y="23"/>
                    <a:pt x="300" y="23"/>
                  </a:cubicBezTo>
                  <a:cubicBezTo>
                    <a:pt x="301" y="23"/>
                    <a:pt x="301" y="23"/>
                    <a:pt x="302" y="23"/>
                  </a:cubicBezTo>
                  <a:cubicBezTo>
                    <a:pt x="302" y="23"/>
                    <a:pt x="302" y="23"/>
                    <a:pt x="302" y="23"/>
                  </a:cubicBezTo>
                  <a:cubicBezTo>
                    <a:pt x="302" y="23"/>
                    <a:pt x="302" y="23"/>
                    <a:pt x="302" y="23"/>
                  </a:cubicBezTo>
                  <a:cubicBezTo>
                    <a:pt x="302" y="23"/>
                    <a:pt x="302" y="24"/>
                    <a:pt x="302" y="24"/>
                  </a:cubicBezTo>
                  <a:cubicBezTo>
                    <a:pt x="303" y="24"/>
                    <a:pt x="304" y="24"/>
                    <a:pt x="304" y="24"/>
                  </a:cubicBezTo>
                  <a:cubicBezTo>
                    <a:pt x="304" y="24"/>
                    <a:pt x="304" y="24"/>
                    <a:pt x="304" y="24"/>
                  </a:cubicBezTo>
                  <a:cubicBezTo>
                    <a:pt x="305" y="24"/>
                    <a:pt x="305" y="24"/>
                    <a:pt x="305" y="24"/>
                  </a:cubicBezTo>
                  <a:cubicBezTo>
                    <a:pt x="305" y="25"/>
                    <a:pt x="305" y="25"/>
                    <a:pt x="305" y="25"/>
                  </a:cubicBezTo>
                  <a:cubicBezTo>
                    <a:pt x="306" y="25"/>
                    <a:pt x="306" y="25"/>
                    <a:pt x="307" y="25"/>
                  </a:cubicBezTo>
                  <a:cubicBezTo>
                    <a:pt x="307" y="25"/>
                    <a:pt x="307" y="25"/>
                    <a:pt x="307" y="25"/>
                  </a:cubicBezTo>
                  <a:cubicBezTo>
                    <a:pt x="307" y="25"/>
                    <a:pt x="308" y="25"/>
                    <a:pt x="308" y="25"/>
                  </a:cubicBezTo>
                  <a:cubicBezTo>
                    <a:pt x="308" y="26"/>
                    <a:pt x="308" y="26"/>
                    <a:pt x="308" y="26"/>
                  </a:cubicBezTo>
                  <a:cubicBezTo>
                    <a:pt x="309" y="26"/>
                    <a:pt x="309" y="26"/>
                    <a:pt x="310" y="26"/>
                  </a:cubicBezTo>
                  <a:cubicBezTo>
                    <a:pt x="310" y="26"/>
                    <a:pt x="310" y="26"/>
                    <a:pt x="310" y="26"/>
                  </a:cubicBezTo>
                  <a:cubicBezTo>
                    <a:pt x="310" y="26"/>
                    <a:pt x="310" y="26"/>
                    <a:pt x="311" y="26"/>
                  </a:cubicBezTo>
                  <a:cubicBezTo>
                    <a:pt x="311" y="27"/>
                    <a:pt x="311" y="27"/>
                    <a:pt x="311" y="27"/>
                  </a:cubicBezTo>
                  <a:cubicBezTo>
                    <a:pt x="311" y="27"/>
                    <a:pt x="312" y="27"/>
                    <a:pt x="313" y="27"/>
                  </a:cubicBezTo>
                  <a:cubicBezTo>
                    <a:pt x="313" y="27"/>
                    <a:pt x="313" y="27"/>
                    <a:pt x="313" y="28"/>
                  </a:cubicBezTo>
                  <a:cubicBezTo>
                    <a:pt x="313" y="28"/>
                    <a:pt x="313" y="28"/>
                    <a:pt x="313" y="28"/>
                  </a:cubicBezTo>
                  <a:cubicBezTo>
                    <a:pt x="313" y="28"/>
                    <a:pt x="313" y="28"/>
                    <a:pt x="313" y="28"/>
                  </a:cubicBezTo>
                  <a:cubicBezTo>
                    <a:pt x="314" y="28"/>
                    <a:pt x="315" y="28"/>
                    <a:pt x="316" y="28"/>
                  </a:cubicBezTo>
                  <a:cubicBezTo>
                    <a:pt x="316" y="28"/>
                    <a:pt x="316" y="28"/>
                    <a:pt x="316" y="29"/>
                  </a:cubicBezTo>
                  <a:cubicBezTo>
                    <a:pt x="316" y="29"/>
                    <a:pt x="316" y="29"/>
                    <a:pt x="316" y="29"/>
                  </a:cubicBezTo>
                  <a:cubicBezTo>
                    <a:pt x="316" y="29"/>
                    <a:pt x="316" y="29"/>
                    <a:pt x="316" y="29"/>
                  </a:cubicBezTo>
                  <a:cubicBezTo>
                    <a:pt x="317" y="29"/>
                    <a:pt x="317" y="29"/>
                    <a:pt x="317" y="29"/>
                  </a:cubicBezTo>
                  <a:cubicBezTo>
                    <a:pt x="317" y="29"/>
                    <a:pt x="317" y="29"/>
                    <a:pt x="317" y="29"/>
                  </a:cubicBezTo>
                  <a:cubicBezTo>
                    <a:pt x="318" y="29"/>
                    <a:pt x="318" y="29"/>
                    <a:pt x="318" y="29"/>
                  </a:cubicBezTo>
                  <a:cubicBezTo>
                    <a:pt x="318" y="29"/>
                    <a:pt x="318" y="30"/>
                    <a:pt x="318" y="30"/>
                  </a:cubicBezTo>
                  <a:cubicBezTo>
                    <a:pt x="319" y="30"/>
                    <a:pt x="319" y="30"/>
                    <a:pt x="319" y="30"/>
                  </a:cubicBezTo>
                  <a:cubicBezTo>
                    <a:pt x="319" y="30"/>
                    <a:pt x="319" y="30"/>
                    <a:pt x="319" y="30"/>
                  </a:cubicBezTo>
                  <a:cubicBezTo>
                    <a:pt x="320" y="30"/>
                    <a:pt x="320" y="30"/>
                    <a:pt x="321" y="30"/>
                  </a:cubicBezTo>
                  <a:cubicBezTo>
                    <a:pt x="321" y="30"/>
                    <a:pt x="321" y="31"/>
                    <a:pt x="321" y="31"/>
                  </a:cubicBezTo>
                  <a:cubicBezTo>
                    <a:pt x="321" y="31"/>
                    <a:pt x="322" y="31"/>
                    <a:pt x="322" y="31"/>
                  </a:cubicBezTo>
                  <a:cubicBezTo>
                    <a:pt x="322" y="31"/>
                    <a:pt x="322" y="31"/>
                    <a:pt x="322" y="31"/>
                  </a:cubicBezTo>
                  <a:cubicBezTo>
                    <a:pt x="323" y="31"/>
                    <a:pt x="323" y="31"/>
                    <a:pt x="324" y="31"/>
                  </a:cubicBezTo>
                  <a:cubicBezTo>
                    <a:pt x="324" y="32"/>
                    <a:pt x="324" y="32"/>
                    <a:pt x="324" y="32"/>
                  </a:cubicBezTo>
                  <a:cubicBezTo>
                    <a:pt x="324" y="32"/>
                    <a:pt x="324" y="32"/>
                    <a:pt x="325" y="32"/>
                  </a:cubicBezTo>
                  <a:cubicBezTo>
                    <a:pt x="325" y="32"/>
                    <a:pt x="325" y="32"/>
                    <a:pt x="325" y="32"/>
                  </a:cubicBezTo>
                  <a:cubicBezTo>
                    <a:pt x="326" y="32"/>
                    <a:pt x="327" y="33"/>
                    <a:pt x="328" y="33"/>
                  </a:cubicBezTo>
                  <a:cubicBezTo>
                    <a:pt x="328" y="33"/>
                    <a:pt x="328" y="33"/>
                    <a:pt x="328" y="33"/>
                  </a:cubicBezTo>
                  <a:cubicBezTo>
                    <a:pt x="328" y="33"/>
                    <a:pt x="328" y="33"/>
                    <a:pt x="328" y="33"/>
                  </a:cubicBezTo>
                  <a:cubicBezTo>
                    <a:pt x="328" y="33"/>
                    <a:pt x="328" y="33"/>
                    <a:pt x="328" y="33"/>
                  </a:cubicBezTo>
                  <a:cubicBezTo>
                    <a:pt x="329" y="33"/>
                    <a:pt x="329" y="33"/>
                    <a:pt x="329" y="33"/>
                  </a:cubicBezTo>
                  <a:cubicBezTo>
                    <a:pt x="329" y="34"/>
                    <a:pt x="329" y="34"/>
                    <a:pt x="329" y="34"/>
                  </a:cubicBezTo>
                  <a:cubicBezTo>
                    <a:pt x="330" y="34"/>
                    <a:pt x="330" y="34"/>
                    <a:pt x="331" y="34"/>
                  </a:cubicBezTo>
                  <a:cubicBezTo>
                    <a:pt x="331" y="34"/>
                    <a:pt x="331" y="34"/>
                    <a:pt x="331" y="34"/>
                  </a:cubicBezTo>
                  <a:cubicBezTo>
                    <a:pt x="331" y="34"/>
                    <a:pt x="331" y="34"/>
                    <a:pt x="332" y="34"/>
                  </a:cubicBezTo>
                  <a:cubicBezTo>
                    <a:pt x="332" y="34"/>
                    <a:pt x="332" y="34"/>
                    <a:pt x="332" y="35"/>
                  </a:cubicBezTo>
                  <a:cubicBezTo>
                    <a:pt x="332" y="35"/>
                    <a:pt x="332" y="35"/>
                    <a:pt x="333" y="35"/>
                  </a:cubicBezTo>
                  <a:cubicBezTo>
                    <a:pt x="333" y="35"/>
                    <a:pt x="333" y="35"/>
                    <a:pt x="333" y="35"/>
                  </a:cubicBezTo>
                  <a:cubicBezTo>
                    <a:pt x="333" y="35"/>
                    <a:pt x="333" y="35"/>
                    <a:pt x="333" y="35"/>
                  </a:cubicBezTo>
                  <a:cubicBezTo>
                    <a:pt x="333" y="35"/>
                    <a:pt x="333" y="35"/>
                    <a:pt x="333" y="35"/>
                  </a:cubicBezTo>
                  <a:cubicBezTo>
                    <a:pt x="334" y="35"/>
                    <a:pt x="334" y="35"/>
                    <a:pt x="334" y="35"/>
                  </a:cubicBezTo>
                  <a:cubicBezTo>
                    <a:pt x="334" y="35"/>
                    <a:pt x="334" y="35"/>
                    <a:pt x="334" y="36"/>
                  </a:cubicBezTo>
                  <a:cubicBezTo>
                    <a:pt x="335" y="36"/>
                    <a:pt x="335" y="36"/>
                    <a:pt x="335" y="36"/>
                  </a:cubicBezTo>
                  <a:cubicBezTo>
                    <a:pt x="335" y="36"/>
                    <a:pt x="335" y="36"/>
                    <a:pt x="335" y="36"/>
                  </a:cubicBezTo>
                  <a:cubicBezTo>
                    <a:pt x="336" y="36"/>
                    <a:pt x="336" y="36"/>
                    <a:pt x="336" y="36"/>
                  </a:cubicBezTo>
                  <a:cubicBezTo>
                    <a:pt x="336" y="36"/>
                    <a:pt x="336" y="36"/>
                    <a:pt x="336" y="36"/>
                  </a:cubicBezTo>
                  <a:cubicBezTo>
                    <a:pt x="337" y="36"/>
                    <a:pt x="337" y="36"/>
                    <a:pt x="338" y="36"/>
                  </a:cubicBezTo>
                  <a:cubicBezTo>
                    <a:pt x="338" y="36"/>
                    <a:pt x="338" y="37"/>
                    <a:pt x="338" y="37"/>
                  </a:cubicBezTo>
                  <a:cubicBezTo>
                    <a:pt x="338" y="37"/>
                    <a:pt x="338" y="37"/>
                    <a:pt x="339" y="37"/>
                  </a:cubicBezTo>
                  <a:cubicBezTo>
                    <a:pt x="339" y="38"/>
                    <a:pt x="339" y="38"/>
                    <a:pt x="339" y="38"/>
                  </a:cubicBezTo>
                  <a:cubicBezTo>
                    <a:pt x="340" y="39"/>
                    <a:pt x="341" y="40"/>
                    <a:pt x="342" y="41"/>
                  </a:cubicBezTo>
                  <a:cubicBezTo>
                    <a:pt x="342" y="41"/>
                    <a:pt x="342" y="41"/>
                    <a:pt x="342" y="42"/>
                  </a:cubicBezTo>
                  <a:cubicBezTo>
                    <a:pt x="343" y="42"/>
                    <a:pt x="344" y="43"/>
                    <a:pt x="345" y="44"/>
                  </a:cubicBezTo>
                  <a:cubicBezTo>
                    <a:pt x="345" y="44"/>
                    <a:pt x="345" y="44"/>
                    <a:pt x="345" y="45"/>
                  </a:cubicBezTo>
                  <a:cubicBezTo>
                    <a:pt x="346" y="46"/>
                    <a:pt x="347" y="47"/>
                    <a:pt x="348" y="47"/>
                  </a:cubicBezTo>
                  <a:cubicBezTo>
                    <a:pt x="348" y="48"/>
                    <a:pt x="348" y="48"/>
                    <a:pt x="348" y="48"/>
                  </a:cubicBezTo>
                  <a:cubicBezTo>
                    <a:pt x="349" y="49"/>
                    <a:pt x="350" y="50"/>
                    <a:pt x="351" y="51"/>
                  </a:cubicBezTo>
                  <a:cubicBezTo>
                    <a:pt x="351" y="51"/>
                    <a:pt x="351" y="52"/>
                    <a:pt x="351" y="52"/>
                  </a:cubicBezTo>
                  <a:cubicBezTo>
                    <a:pt x="352" y="53"/>
                    <a:pt x="353" y="53"/>
                    <a:pt x="354" y="54"/>
                  </a:cubicBezTo>
                  <a:cubicBezTo>
                    <a:pt x="354" y="54"/>
                    <a:pt x="354" y="55"/>
                    <a:pt x="354" y="55"/>
                  </a:cubicBezTo>
                  <a:cubicBezTo>
                    <a:pt x="354" y="55"/>
                    <a:pt x="354" y="55"/>
                    <a:pt x="354" y="55"/>
                  </a:cubicBezTo>
                  <a:cubicBezTo>
                    <a:pt x="354" y="55"/>
                    <a:pt x="355" y="56"/>
                    <a:pt x="355" y="56"/>
                  </a:cubicBezTo>
                  <a:cubicBezTo>
                    <a:pt x="356" y="57"/>
                    <a:pt x="356" y="57"/>
                    <a:pt x="357" y="58"/>
                  </a:cubicBezTo>
                  <a:cubicBezTo>
                    <a:pt x="357" y="58"/>
                    <a:pt x="357" y="58"/>
                    <a:pt x="357" y="59"/>
                  </a:cubicBezTo>
                  <a:cubicBezTo>
                    <a:pt x="359" y="60"/>
                    <a:pt x="361" y="61"/>
                    <a:pt x="361" y="64"/>
                  </a:cubicBezTo>
                  <a:cubicBezTo>
                    <a:pt x="361" y="65"/>
                    <a:pt x="361" y="67"/>
                    <a:pt x="361" y="68"/>
                  </a:cubicBezTo>
                  <a:cubicBezTo>
                    <a:pt x="362" y="70"/>
                    <a:pt x="362" y="73"/>
                    <a:pt x="363" y="74"/>
                  </a:cubicBezTo>
                  <a:cubicBezTo>
                    <a:pt x="363" y="75"/>
                    <a:pt x="363" y="76"/>
                    <a:pt x="363" y="77"/>
                  </a:cubicBezTo>
                  <a:cubicBezTo>
                    <a:pt x="365" y="83"/>
                    <a:pt x="365" y="92"/>
                    <a:pt x="367" y="98"/>
                  </a:cubicBezTo>
                  <a:cubicBezTo>
                    <a:pt x="367" y="99"/>
                    <a:pt x="367" y="101"/>
                    <a:pt x="367" y="102"/>
                  </a:cubicBezTo>
                  <a:cubicBezTo>
                    <a:pt x="367" y="104"/>
                    <a:pt x="367" y="106"/>
                    <a:pt x="367" y="109"/>
                  </a:cubicBezTo>
                  <a:cubicBezTo>
                    <a:pt x="367" y="109"/>
                    <a:pt x="368" y="109"/>
                    <a:pt x="368" y="109"/>
                  </a:cubicBezTo>
                  <a:cubicBezTo>
                    <a:pt x="368" y="110"/>
                    <a:pt x="368" y="112"/>
                    <a:pt x="368" y="113"/>
                  </a:cubicBezTo>
                  <a:cubicBezTo>
                    <a:pt x="370" y="118"/>
                    <a:pt x="371" y="123"/>
                    <a:pt x="373" y="127"/>
                  </a:cubicBezTo>
                  <a:cubicBezTo>
                    <a:pt x="373" y="128"/>
                    <a:pt x="373" y="128"/>
                    <a:pt x="373" y="129"/>
                  </a:cubicBezTo>
                  <a:cubicBezTo>
                    <a:pt x="373" y="129"/>
                    <a:pt x="373" y="129"/>
                    <a:pt x="373" y="129"/>
                  </a:cubicBezTo>
                  <a:cubicBezTo>
                    <a:pt x="373" y="129"/>
                    <a:pt x="373" y="130"/>
                    <a:pt x="373" y="130"/>
                  </a:cubicBezTo>
                  <a:cubicBezTo>
                    <a:pt x="373" y="130"/>
                    <a:pt x="373" y="130"/>
                    <a:pt x="373" y="130"/>
                  </a:cubicBezTo>
                  <a:cubicBezTo>
                    <a:pt x="373" y="130"/>
                    <a:pt x="373" y="131"/>
                    <a:pt x="373" y="131"/>
                  </a:cubicBezTo>
                  <a:cubicBezTo>
                    <a:pt x="373" y="131"/>
                    <a:pt x="373" y="131"/>
                    <a:pt x="374" y="131"/>
                  </a:cubicBezTo>
                  <a:cubicBezTo>
                    <a:pt x="374" y="132"/>
                    <a:pt x="374" y="132"/>
                    <a:pt x="374" y="133"/>
                  </a:cubicBezTo>
                  <a:cubicBezTo>
                    <a:pt x="374" y="133"/>
                    <a:pt x="374" y="133"/>
                    <a:pt x="374" y="133"/>
                  </a:cubicBezTo>
                  <a:cubicBezTo>
                    <a:pt x="374" y="133"/>
                    <a:pt x="374" y="134"/>
                    <a:pt x="374" y="135"/>
                  </a:cubicBezTo>
                  <a:cubicBezTo>
                    <a:pt x="375" y="137"/>
                    <a:pt x="376" y="143"/>
                    <a:pt x="375" y="146"/>
                  </a:cubicBezTo>
                  <a:cubicBezTo>
                    <a:pt x="375" y="147"/>
                    <a:pt x="375" y="147"/>
                    <a:pt x="375" y="148"/>
                  </a:cubicBezTo>
                  <a:cubicBezTo>
                    <a:pt x="374" y="150"/>
                    <a:pt x="373" y="152"/>
                    <a:pt x="372" y="153"/>
                  </a:cubicBezTo>
                  <a:cubicBezTo>
                    <a:pt x="372" y="153"/>
                    <a:pt x="372" y="153"/>
                    <a:pt x="372" y="153"/>
                  </a:cubicBezTo>
                  <a:cubicBezTo>
                    <a:pt x="372" y="154"/>
                    <a:pt x="372" y="154"/>
                    <a:pt x="371" y="154"/>
                  </a:cubicBezTo>
                  <a:cubicBezTo>
                    <a:pt x="371" y="155"/>
                    <a:pt x="371" y="155"/>
                    <a:pt x="371" y="155"/>
                  </a:cubicBezTo>
                  <a:cubicBezTo>
                    <a:pt x="371" y="155"/>
                    <a:pt x="371" y="155"/>
                    <a:pt x="371" y="156"/>
                  </a:cubicBezTo>
                  <a:cubicBezTo>
                    <a:pt x="371" y="156"/>
                    <a:pt x="370" y="156"/>
                    <a:pt x="370" y="156"/>
                  </a:cubicBezTo>
                  <a:cubicBezTo>
                    <a:pt x="370" y="156"/>
                    <a:pt x="370" y="157"/>
                    <a:pt x="370" y="157"/>
                  </a:cubicBezTo>
                  <a:cubicBezTo>
                    <a:pt x="369" y="157"/>
                    <a:pt x="369" y="157"/>
                    <a:pt x="369" y="158"/>
                  </a:cubicBezTo>
                  <a:cubicBezTo>
                    <a:pt x="369" y="158"/>
                    <a:pt x="369" y="158"/>
                    <a:pt x="369" y="158"/>
                  </a:cubicBezTo>
                  <a:cubicBezTo>
                    <a:pt x="368" y="159"/>
                    <a:pt x="368" y="159"/>
                    <a:pt x="368" y="159"/>
                  </a:cubicBezTo>
                  <a:cubicBezTo>
                    <a:pt x="368" y="159"/>
                    <a:pt x="368" y="160"/>
                    <a:pt x="368" y="160"/>
                  </a:cubicBezTo>
                  <a:cubicBezTo>
                    <a:pt x="367" y="160"/>
                    <a:pt x="367" y="160"/>
                    <a:pt x="367" y="160"/>
                  </a:cubicBezTo>
                  <a:cubicBezTo>
                    <a:pt x="367" y="161"/>
                    <a:pt x="367" y="161"/>
                    <a:pt x="367" y="161"/>
                  </a:cubicBezTo>
                  <a:cubicBezTo>
                    <a:pt x="366" y="161"/>
                    <a:pt x="366" y="161"/>
                    <a:pt x="366" y="161"/>
                  </a:cubicBezTo>
                  <a:cubicBezTo>
                    <a:pt x="366" y="162"/>
                    <a:pt x="366" y="162"/>
                    <a:pt x="366" y="162"/>
                  </a:cubicBezTo>
                  <a:cubicBezTo>
                    <a:pt x="366" y="162"/>
                    <a:pt x="365" y="162"/>
                    <a:pt x="365" y="163"/>
                  </a:cubicBezTo>
                  <a:cubicBezTo>
                    <a:pt x="365" y="163"/>
                    <a:pt x="365" y="163"/>
                    <a:pt x="365" y="163"/>
                  </a:cubicBezTo>
                  <a:cubicBezTo>
                    <a:pt x="365" y="163"/>
                    <a:pt x="365" y="163"/>
                    <a:pt x="364" y="164"/>
                  </a:cubicBezTo>
                  <a:cubicBezTo>
                    <a:pt x="364" y="164"/>
                    <a:pt x="364" y="164"/>
                    <a:pt x="364" y="164"/>
                  </a:cubicBezTo>
                  <a:cubicBezTo>
                    <a:pt x="364" y="164"/>
                    <a:pt x="364" y="164"/>
                    <a:pt x="364" y="164"/>
                  </a:cubicBezTo>
                  <a:cubicBezTo>
                    <a:pt x="364" y="165"/>
                    <a:pt x="364" y="165"/>
                    <a:pt x="364" y="166"/>
                  </a:cubicBezTo>
                  <a:cubicBezTo>
                    <a:pt x="364" y="166"/>
                    <a:pt x="364" y="166"/>
                    <a:pt x="363" y="166"/>
                  </a:cubicBezTo>
                  <a:cubicBezTo>
                    <a:pt x="363" y="167"/>
                    <a:pt x="363" y="168"/>
                    <a:pt x="363" y="169"/>
                  </a:cubicBezTo>
                  <a:cubicBezTo>
                    <a:pt x="363" y="169"/>
                    <a:pt x="362" y="169"/>
                    <a:pt x="362" y="169"/>
                  </a:cubicBezTo>
                  <a:cubicBezTo>
                    <a:pt x="362" y="173"/>
                    <a:pt x="361" y="178"/>
                    <a:pt x="361" y="182"/>
                  </a:cubicBezTo>
                  <a:cubicBezTo>
                    <a:pt x="361" y="182"/>
                    <a:pt x="361" y="182"/>
                    <a:pt x="361" y="182"/>
                  </a:cubicBezTo>
                  <a:cubicBezTo>
                    <a:pt x="361" y="182"/>
                    <a:pt x="361" y="183"/>
                    <a:pt x="361" y="184"/>
                  </a:cubicBezTo>
                  <a:cubicBezTo>
                    <a:pt x="361" y="184"/>
                    <a:pt x="360" y="184"/>
                    <a:pt x="360" y="184"/>
                  </a:cubicBezTo>
                  <a:cubicBezTo>
                    <a:pt x="360" y="185"/>
                    <a:pt x="360" y="185"/>
                    <a:pt x="360" y="186"/>
                  </a:cubicBezTo>
                  <a:cubicBezTo>
                    <a:pt x="360" y="186"/>
                    <a:pt x="360" y="186"/>
                    <a:pt x="360" y="186"/>
                  </a:cubicBezTo>
                  <a:cubicBezTo>
                    <a:pt x="360" y="187"/>
                    <a:pt x="360" y="187"/>
                    <a:pt x="360" y="188"/>
                  </a:cubicBezTo>
                  <a:cubicBezTo>
                    <a:pt x="357" y="197"/>
                    <a:pt x="357" y="209"/>
                    <a:pt x="357" y="222"/>
                  </a:cubicBezTo>
                  <a:cubicBezTo>
                    <a:pt x="357" y="227"/>
                    <a:pt x="357" y="232"/>
                    <a:pt x="357" y="237"/>
                  </a:cubicBezTo>
                  <a:cubicBezTo>
                    <a:pt x="357" y="239"/>
                    <a:pt x="358" y="242"/>
                    <a:pt x="357" y="244"/>
                  </a:cubicBezTo>
                  <a:cubicBezTo>
                    <a:pt x="357" y="246"/>
                    <a:pt x="357" y="249"/>
                    <a:pt x="357" y="251"/>
                  </a:cubicBezTo>
                  <a:cubicBezTo>
                    <a:pt x="357" y="251"/>
                    <a:pt x="357" y="251"/>
                    <a:pt x="357" y="251"/>
                  </a:cubicBezTo>
                  <a:cubicBezTo>
                    <a:pt x="357" y="252"/>
                    <a:pt x="357" y="253"/>
                    <a:pt x="357" y="254"/>
                  </a:cubicBezTo>
                  <a:cubicBezTo>
                    <a:pt x="357" y="254"/>
                    <a:pt x="357" y="254"/>
                    <a:pt x="356" y="254"/>
                  </a:cubicBezTo>
                  <a:cubicBezTo>
                    <a:pt x="356" y="255"/>
                    <a:pt x="356" y="255"/>
                    <a:pt x="356" y="256"/>
                  </a:cubicBezTo>
                  <a:cubicBezTo>
                    <a:pt x="356" y="256"/>
                    <a:pt x="356" y="256"/>
                    <a:pt x="356" y="256"/>
                  </a:cubicBezTo>
                  <a:cubicBezTo>
                    <a:pt x="356" y="256"/>
                    <a:pt x="356" y="256"/>
                    <a:pt x="356" y="257"/>
                  </a:cubicBezTo>
                  <a:cubicBezTo>
                    <a:pt x="356" y="257"/>
                    <a:pt x="356" y="257"/>
                    <a:pt x="356" y="257"/>
                  </a:cubicBezTo>
                  <a:cubicBezTo>
                    <a:pt x="356" y="257"/>
                    <a:pt x="356" y="257"/>
                    <a:pt x="356" y="258"/>
                  </a:cubicBezTo>
                  <a:cubicBezTo>
                    <a:pt x="356" y="258"/>
                    <a:pt x="355" y="258"/>
                    <a:pt x="355" y="258"/>
                  </a:cubicBezTo>
                  <a:cubicBezTo>
                    <a:pt x="355" y="258"/>
                    <a:pt x="355" y="258"/>
                    <a:pt x="355" y="258"/>
                  </a:cubicBezTo>
                  <a:cubicBezTo>
                    <a:pt x="355" y="258"/>
                    <a:pt x="355" y="258"/>
                    <a:pt x="355" y="258"/>
                  </a:cubicBezTo>
                  <a:cubicBezTo>
                    <a:pt x="355" y="259"/>
                    <a:pt x="355" y="259"/>
                    <a:pt x="355" y="259"/>
                  </a:cubicBezTo>
                  <a:cubicBezTo>
                    <a:pt x="354" y="262"/>
                    <a:pt x="353" y="264"/>
                    <a:pt x="352" y="267"/>
                  </a:cubicBezTo>
                  <a:cubicBezTo>
                    <a:pt x="351" y="268"/>
                    <a:pt x="349" y="268"/>
                    <a:pt x="347" y="269"/>
                  </a:cubicBezTo>
                  <a:cubicBezTo>
                    <a:pt x="345" y="269"/>
                    <a:pt x="343" y="269"/>
                    <a:pt x="341" y="269"/>
                  </a:cubicBezTo>
                  <a:cubicBezTo>
                    <a:pt x="338" y="269"/>
                    <a:pt x="333" y="269"/>
                    <a:pt x="331" y="270"/>
                  </a:cubicBezTo>
                  <a:cubicBezTo>
                    <a:pt x="331" y="270"/>
                    <a:pt x="331" y="270"/>
                    <a:pt x="331" y="271"/>
                  </a:cubicBezTo>
                  <a:cubicBezTo>
                    <a:pt x="330" y="271"/>
                    <a:pt x="330" y="271"/>
                    <a:pt x="330" y="271"/>
                  </a:cubicBezTo>
                  <a:cubicBezTo>
                    <a:pt x="330" y="271"/>
                    <a:pt x="330" y="271"/>
                    <a:pt x="330" y="271"/>
                  </a:cubicBezTo>
                  <a:cubicBezTo>
                    <a:pt x="330" y="271"/>
                    <a:pt x="329" y="271"/>
                    <a:pt x="329" y="271"/>
                  </a:cubicBezTo>
                  <a:cubicBezTo>
                    <a:pt x="329" y="271"/>
                    <a:pt x="329" y="271"/>
                    <a:pt x="329" y="272"/>
                  </a:cubicBezTo>
                  <a:cubicBezTo>
                    <a:pt x="329" y="272"/>
                    <a:pt x="328" y="272"/>
                    <a:pt x="328" y="272"/>
                  </a:cubicBezTo>
                  <a:cubicBezTo>
                    <a:pt x="328" y="272"/>
                    <a:pt x="328" y="272"/>
                    <a:pt x="328" y="272"/>
                  </a:cubicBezTo>
                  <a:cubicBezTo>
                    <a:pt x="328" y="272"/>
                    <a:pt x="327" y="272"/>
                    <a:pt x="327" y="272"/>
                  </a:cubicBezTo>
                  <a:cubicBezTo>
                    <a:pt x="326" y="273"/>
                    <a:pt x="326" y="274"/>
                    <a:pt x="325" y="275"/>
                  </a:cubicBezTo>
                  <a:cubicBezTo>
                    <a:pt x="325" y="275"/>
                    <a:pt x="324" y="275"/>
                    <a:pt x="324" y="275"/>
                  </a:cubicBezTo>
                  <a:cubicBezTo>
                    <a:pt x="324" y="275"/>
                    <a:pt x="324" y="275"/>
                    <a:pt x="324" y="276"/>
                  </a:cubicBezTo>
                  <a:cubicBezTo>
                    <a:pt x="323" y="276"/>
                    <a:pt x="323" y="276"/>
                    <a:pt x="323" y="277"/>
                  </a:cubicBezTo>
                  <a:cubicBezTo>
                    <a:pt x="323" y="277"/>
                    <a:pt x="323" y="277"/>
                    <a:pt x="323" y="277"/>
                  </a:cubicBezTo>
                  <a:cubicBezTo>
                    <a:pt x="322" y="278"/>
                    <a:pt x="321" y="278"/>
                    <a:pt x="321" y="279"/>
                  </a:cubicBezTo>
                  <a:cubicBezTo>
                    <a:pt x="320" y="280"/>
                    <a:pt x="319" y="281"/>
                    <a:pt x="318" y="282"/>
                  </a:cubicBezTo>
                  <a:cubicBezTo>
                    <a:pt x="318" y="282"/>
                    <a:pt x="317" y="282"/>
                    <a:pt x="317" y="282"/>
                  </a:cubicBezTo>
                  <a:cubicBezTo>
                    <a:pt x="317" y="282"/>
                    <a:pt x="316" y="283"/>
                    <a:pt x="316" y="284"/>
                  </a:cubicBezTo>
                  <a:cubicBezTo>
                    <a:pt x="316" y="284"/>
                    <a:pt x="315" y="284"/>
                    <a:pt x="315" y="284"/>
                  </a:cubicBezTo>
                  <a:cubicBezTo>
                    <a:pt x="315" y="284"/>
                    <a:pt x="315" y="284"/>
                    <a:pt x="314" y="285"/>
                  </a:cubicBezTo>
                  <a:cubicBezTo>
                    <a:pt x="314" y="285"/>
                    <a:pt x="314" y="285"/>
                    <a:pt x="313" y="285"/>
                  </a:cubicBezTo>
                  <a:cubicBezTo>
                    <a:pt x="312" y="286"/>
                    <a:pt x="312" y="287"/>
                    <a:pt x="311" y="288"/>
                  </a:cubicBezTo>
                  <a:cubicBezTo>
                    <a:pt x="311" y="288"/>
                    <a:pt x="311" y="288"/>
                    <a:pt x="311" y="288"/>
                  </a:cubicBezTo>
                  <a:cubicBezTo>
                    <a:pt x="310" y="288"/>
                    <a:pt x="310" y="288"/>
                    <a:pt x="310" y="288"/>
                  </a:cubicBezTo>
                  <a:cubicBezTo>
                    <a:pt x="308" y="289"/>
                    <a:pt x="307" y="290"/>
                    <a:pt x="305" y="291"/>
                  </a:cubicBezTo>
                  <a:cubicBezTo>
                    <a:pt x="305" y="291"/>
                    <a:pt x="304" y="291"/>
                    <a:pt x="304" y="292"/>
                  </a:cubicBezTo>
                  <a:cubicBezTo>
                    <a:pt x="304" y="292"/>
                    <a:pt x="304" y="292"/>
                    <a:pt x="304" y="292"/>
                  </a:cubicBezTo>
                  <a:cubicBezTo>
                    <a:pt x="303" y="292"/>
                    <a:pt x="303" y="292"/>
                    <a:pt x="303" y="292"/>
                  </a:cubicBezTo>
                  <a:cubicBezTo>
                    <a:pt x="303" y="293"/>
                    <a:pt x="302" y="293"/>
                    <a:pt x="302" y="294"/>
                  </a:cubicBezTo>
                  <a:cubicBezTo>
                    <a:pt x="302" y="294"/>
                    <a:pt x="302" y="294"/>
                    <a:pt x="302" y="294"/>
                  </a:cubicBezTo>
                  <a:cubicBezTo>
                    <a:pt x="301" y="295"/>
                    <a:pt x="301" y="295"/>
                    <a:pt x="301" y="295"/>
                  </a:cubicBezTo>
                  <a:cubicBezTo>
                    <a:pt x="301" y="295"/>
                    <a:pt x="300" y="296"/>
                    <a:pt x="300" y="297"/>
                  </a:cubicBezTo>
                  <a:cubicBezTo>
                    <a:pt x="300" y="297"/>
                    <a:pt x="300" y="297"/>
                    <a:pt x="300" y="297"/>
                  </a:cubicBezTo>
                  <a:cubicBezTo>
                    <a:pt x="300" y="297"/>
                    <a:pt x="300" y="297"/>
                    <a:pt x="300" y="298"/>
                  </a:cubicBezTo>
                  <a:cubicBezTo>
                    <a:pt x="300" y="298"/>
                    <a:pt x="300" y="298"/>
                    <a:pt x="299" y="298"/>
                  </a:cubicBezTo>
                  <a:cubicBezTo>
                    <a:pt x="299" y="298"/>
                    <a:pt x="299" y="298"/>
                    <a:pt x="299" y="299"/>
                  </a:cubicBezTo>
                  <a:cubicBezTo>
                    <a:pt x="299" y="299"/>
                    <a:pt x="299" y="299"/>
                    <a:pt x="299" y="299"/>
                  </a:cubicBezTo>
                  <a:cubicBezTo>
                    <a:pt x="299" y="299"/>
                    <a:pt x="299" y="299"/>
                    <a:pt x="299" y="300"/>
                  </a:cubicBezTo>
                  <a:cubicBezTo>
                    <a:pt x="299" y="300"/>
                    <a:pt x="299" y="300"/>
                    <a:pt x="299" y="300"/>
                  </a:cubicBezTo>
                  <a:cubicBezTo>
                    <a:pt x="299" y="300"/>
                    <a:pt x="299" y="300"/>
                    <a:pt x="299" y="301"/>
                  </a:cubicBezTo>
                  <a:cubicBezTo>
                    <a:pt x="299" y="301"/>
                    <a:pt x="298" y="301"/>
                    <a:pt x="298" y="301"/>
                  </a:cubicBezTo>
                  <a:cubicBezTo>
                    <a:pt x="298" y="301"/>
                    <a:pt x="298" y="301"/>
                    <a:pt x="298" y="302"/>
                  </a:cubicBezTo>
                  <a:cubicBezTo>
                    <a:pt x="298" y="302"/>
                    <a:pt x="298" y="302"/>
                    <a:pt x="298" y="302"/>
                  </a:cubicBezTo>
                  <a:cubicBezTo>
                    <a:pt x="298" y="302"/>
                    <a:pt x="298" y="303"/>
                    <a:pt x="298" y="303"/>
                  </a:cubicBezTo>
                  <a:cubicBezTo>
                    <a:pt x="298" y="303"/>
                    <a:pt x="298" y="303"/>
                    <a:pt x="298" y="303"/>
                  </a:cubicBezTo>
                  <a:cubicBezTo>
                    <a:pt x="298" y="304"/>
                    <a:pt x="298" y="304"/>
                    <a:pt x="298" y="305"/>
                  </a:cubicBezTo>
                  <a:cubicBezTo>
                    <a:pt x="298" y="305"/>
                    <a:pt x="297" y="305"/>
                    <a:pt x="297" y="305"/>
                  </a:cubicBezTo>
                  <a:cubicBezTo>
                    <a:pt x="297" y="305"/>
                    <a:pt x="297" y="306"/>
                    <a:pt x="297" y="306"/>
                  </a:cubicBezTo>
                  <a:cubicBezTo>
                    <a:pt x="297" y="306"/>
                    <a:pt x="297" y="306"/>
                    <a:pt x="297" y="306"/>
                  </a:cubicBezTo>
                  <a:cubicBezTo>
                    <a:pt x="297" y="307"/>
                    <a:pt x="297" y="307"/>
                    <a:pt x="297" y="308"/>
                  </a:cubicBezTo>
                  <a:cubicBezTo>
                    <a:pt x="297" y="308"/>
                    <a:pt x="297" y="308"/>
                    <a:pt x="297" y="308"/>
                  </a:cubicBezTo>
                  <a:cubicBezTo>
                    <a:pt x="297" y="308"/>
                    <a:pt x="297" y="309"/>
                    <a:pt x="297" y="309"/>
                  </a:cubicBezTo>
                  <a:cubicBezTo>
                    <a:pt x="297" y="309"/>
                    <a:pt x="296" y="309"/>
                    <a:pt x="296" y="309"/>
                  </a:cubicBezTo>
                  <a:cubicBezTo>
                    <a:pt x="296" y="310"/>
                    <a:pt x="296" y="310"/>
                    <a:pt x="296" y="311"/>
                  </a:cubicBezTo>
                  <a:cubicBezTo>
                    <a:pt x="296" y="311"/>
                    <a:pt x="296" y="311"/>
                    <a:pt x="296" y="311"/>
                  </a:cubicBezTo>
                  <a:cubicBezTo>
                    <a:pt x="296" y="311"/>
                    <a:pt x="296" y="312"/>
                    <a:pt x="296" y="312"/>
                  </a:cubicBezTo>
                  <a:cubicBezTo>
                    <a:pt x="296" y="312"/>
                    <a:pt x="296" y="312"/>
                    <a:pt x="296" y="312"/>
                  </a:cubicBezTo>
                  <a:cubicBezTo>
                    <a:pt x="296" y="313"/>
                    <a:pt x="296" y="313"/>
                    <a:pt x="296" y="313"/>
                  </a:cubicBezTo>
                  <a:cubicBezTo>
                    <a:pt x="295" y="313"/>
                    <a:pt x="295" y="313"/>
                    <a:pt x="295" y="313"/>
                  </a:cubicBezTo>
                  <a:cubicBezTo>
                    <a:pt x="295" y="314"/>
                    <a:pt x="295" y="314"/>
                    <a:pt x="295" y="315"/>
                  </a:cubicBezTo>
                  <a:cubicBezTo>
                    <a:pt x="295" y="315"/>
                    <a:pt x="295" y="315"/>
                    <a:pt x="295" y="315"/>
                  </a:cubicBezTo>
                  <a:cubicBezTo>
                    <a:pt x="295" y="316"/>
                    <a:pt x="295" y="318"/>
                    <a:pt x="295" y="319"/>
                  </a:cubicBezTo>
                  <a:cubicBezTo>
                    <a:pt x="295" y="323"/>
                    <a:pt x="295" y="326"/>
                    <a:pt x="296" y="329"/>
                  </a:cubicBezTo>
                  <a:cubicBezTo>
                    <a:pt x="296" y="331"/>
                    <a:pt x="296" y="332"/>
                    <a:pt x="296" y="333"/>
                  </a:cubicBezTo>
                  <a:cubicBezTo>
                    <a:pt x="296" y="334"/>
                    <a:pt x="297" y="335"/>
                    <a:pt x="296" y="337"/>
                  </a:cubicBezTo>
                  <a:cubicBezTo>
                    <a:pt x="296" y="337"/>
                    <a:pt x="296" y="337"/>
                    <a:pt x="296" y="337"/>
                  </a:cubicBezTo>
                  <a:cubicBezTo>
                    <a:pt x="296" y="338"/>
                    <a:pt x="296" y="339"/>
                    <a:pt x="296" y="340"/>
                  </a:cubicBezTo>
                  <a:cubicBezTo>
                    <a:pt x="296" y="340"/>
                    <a:pt x="296" y="340"/>
                    <a:pt x="296" y="340"/>
                  </a:cubicBezTo>
                  <a:cubicBezTo>
                    <a:pt x="295" y="340"/>
                    <a:pt x="295" y="341"/>
                    <a:pt x="295" y="342"/>
                  </a:cubicBezTo>
                  <a:cubicBezTo>
                    <a:pt x="293" y="342"/>
                    <a:pt x="291" y="343"/>
                    <a:pt x="290" y="343"/>
                  </a:cubicBezTo>
                  <a:cubicBezTo>
                    <a:pt x="288" y="343"/>
                    <a:pt x="287" y="343"/>
                    <a:pt x="286" y="343"/>
                  </a:cubicBezTo>
                  <a:cubicBezTo>
                    <a:pt x="286" y="343"/>
                    <a:pt x="286" y="343"/>
                    <a:pt x="286" y="343"/>
                  </a:cubicBezTo>
                  <a:cubicBezTo>
                    <a:pt x="285" y="343"/>
                    <a:pt x="283" y="343"/>
                    <a:pt x="282" y="343"/>
                  </a:cubicBezTo>
                  <a:cubicBezTo>
                    <a:pt x="282" y="343"/>
                    <a:pt x="282" y="344"/>
                    <a:pt x="282" y="344"/>
                  </a:cubicBezTo>
                  <a:cubicBezTo>
                    <a:pt x="280" y="344"/>
                    <a:pt x="279" y="344"/>
                    <a:pt x="277" y="344"/>
                  </a:cubicBezTo>
                  <a:cubicBezTo>
                    <a:pt x="277" y="344"/>
                    <a:pt x="277" y="344"/>
                    <a:pt x="277" y="344"/>
                  </a:cubicBezTo>
                  <a:cubicBezTo>
                    <a:pt x="276" y="344"/>
                    <a:pt x="275" y="344"/>
                    <a:pt x="274" y="344"/>
                  </a:cubicBezTo>
                  <a:cubicBezTo>
                    <a:pt x="271" y="345"/>
                    <a:pt x="269" y="345"/>
                    <a:pt x="267" y="345"/>
                  </a:cubicBezTo>
                  <a:cubicBezTo>
                    <a:pt x="266" y="345"/>
                    <a:pt x="266" y="345"/>
                    <a:pt x="265" y="345"/>
                  </a:cubicBezTo>
                  <a:cubicBezTo>
                    <a:pt x="265" y="346"/>
                    <a:pt x="265" y="346"/>
                    <a:pt x="265" y="346"/>
                  </a:cubicBezTo>
                  <a:cubicBezTo>
                    <a:pt x="264" y="346"/>
                    <a:pt x="264" y="346"/>
                    <a:pt x="263" y="346"/>
                  </a:cubicBezTo>
                  <a:cubicBezTo>
                    <a:pt x="263" y="346"/>
                    <a:pt x="263" y="346"/>
                    <a:pt x="263" y="346"/>
                  </a:cubicBezTo>
                  <a:cubicBezTo>
                    <a:pt x="263" y="346"/>
                    <a:pt x="263" y="346"/>
                    <a:pt x="262" y="346"/>
                  </a:cubicBezTo>
                  <a:cubicBezTo>
                    <a:pt x="262" y="347"/>
                    <a:pt x="262" y="347"/>
                    <a:pt x="262" y="347"/>
                  </a:cubicBezTo>
                  <a:cubicBezTo>
                    <a:pt x="262" y="347"/>
                    <a:pt x="262" y="347"/>
                    <a:pt x="261" y="347"/>
                  </a:cubicBezTo>
                  <a:cubicBezTo>
                    <a:pt x="261" y="347"/>
                    <a:pt x="261" y="347"/>
                    <a:pt x="261" y="347"/>
                  </a:cubicBezTo>
                  <a:cubicBezTo>
                    <a:pt x="261" y="347"/>
                    <a:pt x="260" y="348"/>
                    <a:pt x="259" y="348"/>
                  </a:cubicBezTo>
                  <a:cubicBezTo>
                    <a:pt x="259" y="348"/>
                    <a:pt x="259" y="348"/>
                    <a:pt x="259" y="348"/>
                  </a:cubicBezTo>
                  <a:cubicBezTo>
                    <a:pt x="259" y="348"/>
                    <a:pt x="259" y="348"/>
                    <a:pt x="259" y="348"/>
                  </a:cubicBezTo>
                  <a:cubicBezTo>
                    <a:pt x="259" y="348"/>
                    <a:pt x="259" y="348"/>
                    <a:pt x="259" y="349"/>
                  </a:cubicBezTo>
                  <a:cubicBezTo>
                    <a:pt x="258" y="349"/>
                    <a:pt x="258" y="349"/>
                    <a:pt x="258" y="349"/>
                  </a:cubicBezTo>
                  <a:cubicBezTo>
                    <a:pt x="258" y="349"/>
                    <a:pt x="258" y="349"/>
                    <a:pt x="258" y="349"/>
                  </a:cubicBezTo>
                  <a:cubicBezTo>
                    <a:pt x="257" y="349"/>
                    <a:pt x="256" y="349"/>
                    <a:pt x="256" y="350"/>
                  </a:cubicBezTo>
                  <a:cubicBezTo>
                    <a:pt x="256" y="350"/>
                    <a:pt x="255" y="350"/>
                    <a:pt x="255" y="350"/>
                  </a:cubicBezTo>
                  <a:cubicBezTo>
                    <a:pt x="255" y="350"/>
                    <a:pt x="255" y="350"/>
                    <a:pt x="255" y="350"/>
                  </a:cubicBezTo>
                  <a:cubicBezTo>
                    <a:pt x="255" y="350"/>
                    <a:pt x="255" y="351"/>
                    <a:pt x="255" y="351"/>
                  </a:cubicBezTo>
                  <a:cubicBezTo>
                    <a:pt x="254" y="351"/>
                    <a:pt x="254" y="351"/>
                    <a:pt x="253" y="351"/>
                  </a:cubicBezTo>
                  <a:cubicBezTo>
                    <a:pt x="253" y="351"/>
                    <a:pt x="253" y="351"/>
                    <a:pt x="253" y="351"/>
                  </a:cubicBezTo>
                  <a:cubicBezTo>
                    <a:pt x="253" y="351"/>
                    <a:pt x="253" y="351"/>
                    <a:pt x="252" y="351"/>
                  </a:cubicBezTo>
                  <a:cubicBezTo>
                    <a:pt x="252" y="352"/>
                    <a:pt x="252" y="352"/>
                    <a:pt x="252" y="352"/>
                  </a:cubicBezTo>
                  <a:cubicBezTo>
                    <a:pt x="252" y="352"/>
                    <a:pt x="251" y="352"/>
                    <a:pt x="251" y="352"/>
                  </a:cubicBezTo>
                  <a:cubicBezTo>
                    <a:pt x="251" y="352"/>
                    <a:pt x="251" y="352"/>
                    <a:pt x="251" y="352"/>
                  </a:cubicBezTo>
                  <a:cubicBezTo>
                    <a:pt x="250" y="353"/>
                    <a:pt x="249" y="353"/>
                    <a:pt x="249" y="353"/>
                  </a:cubicBezTo>
                  <a:cubicBezTo>
                    <a:pt x="249" y="353"/>
                    <a:pt x="249" y="353"/>
                    <a:pt x="249" y="353"/>
                  </a:cubicBezTo>
                  <a:cubicBezTo>
                    <a:pt x="248" y="353"/>
                    <a:pt x="248" y="353"/>
                    <a:pt x="247" y="353"/>
                  </a:cubicBezTo>
                  <a:cubicBezTo>
                    <a:pt x="247" y="353"/>
                    <a:pt x="247" y="354"/>
                    <a:pt x="247" y="354"/>
                  </a:cubicBezTo>
                  <a:cubicBezTo>
                    <a:pt x="246" y="354"/>
                    <a:pt x="246" y="354"/>
                    <a:pt x="246" y="355"/>
                  </a:cubicBezTo>
                  <a:cubicBezTo>
                    <a:pt x="246" y="355"/>
                    <a:pt x="246" y="355"/>
                    <a:pt x="246" y="355"/>
                  </a:cubicBezTo>
                  <a:cubicBezTo>
                    <a:pt x="245" y="355"/>
                    <a:pt x="245" y="355"/>
                    <a:pt x="245" y="355"/>
                  </a:cubicBezTo>
                  <a:cubicBezTo>
                    <a:pt x="245" y="355"/>
                    <a:pt x="245" y="355"/>
                    <a:pt x="245" y="355"/>
                  </a:cubicBezTo>
                  <a:cubicBezTo>
                    <a:pt x="244" y="355"/>
                    <a:pt x="244" y="355"/>
                    <a:pt x="243" y="355"/>
                  </a:cubicBezTo>
                  <a:cubicBezTo>
                    <a:pt x="243" y="355"/>
                    <a:pt x="243" y="355"/>
                    <a:pt x="243" y="356"/>
                  </a:cubicBezTo>
                  <a:cubicBezTo>
                    <a:pt x="243" y="356"/>
                    <a:pt x="243" y="356"/>
                    <a:pt x="242" y="356"/>
                  </a:cubicBezTo>
                  <a:cubicBezTo>
                    <a:pt x="242" y="356"/>
                    <a:pt x="242" y="356"/>
                    <a:pt x="242" y="356"/>
                  </a:cubicBezTo>
                  <a:cubicBezTo>
                    <a:pt x="241" y="356"/>
                    <a:pt x="239" y="356"/>
                    <a:pt x="238" y="356"/>
                  </a:cubicBezTo>
                  <a:cubicBezTo>
                    <a:pt x="238" y="356"/>
                    <a:pt x="238" y="356"/>
                    <a:pt x="238" y="356"/>
                  </a:cubicBezTo>
                  <a:cubicBezTo>
                    <a:pt x="236" y="356"/>
                    <a:pt x="234" y="356"/>
                    <a:pt x="233" y="356"/>
                  </a:cubicBezTo>
                  <a:cubicBezTo>
                    <a:pt x="233" y="356"/>
                    <a:pt x="233" y="357"/>
                    <a:pt x="233" y="357"/>
                  </a:cubicBezTo>
                  <a:cubicBezTo>
                    <a:pt x="232" y="357"/>
                    <a:pt x="231" y="357"/>
                    <a:pt x="231" y="357"/>
                  </a:cubicBezTo>
                  <a:cubicBezTo>
                    <a:pt x="231" y="357"/>
                    <a:pt x="231" y="357"/>
                    <a:pt x="231" y="357"/>
                  </a:cubicBezTo>
                  <a:cubicBezTo>
                    <a:pt x="230" y="357"/>
                    <a:pt x="230" y="357"/>
                    <a:pt x="229" y="357"/>
                  </a:cubicBezTo>
                  <a:cubicBezTo>
                    <a:pt x="229" y="357"/>
                    <a:pt x="229" y="357"/>
                    <a:pt x="229" y="357"/>
                  </a:cubicBezTo>
                  <a:cubicBezTo>
                    <a:pt x="229" y="357"/>
                    <a:pt x="229" y="358"/>
                    <a:pt x="228" y="358"/>
                  </a:cubicBezTo>
                  <a:cubicBezTo>
                    <a:pt x="228" y="358"/>
                    <a:pt x="228" y="358"/>
                    <a:pt x="228" y="358"/>
                  </a:cubicBezTo>
                  <a:cubicBezTo>
                    <a:pt x="228" y="358"/>
                    <a:pt x="228" y="358"/>
                    <a:pt x="227" y="358"/>
                  </a:cubicBezTo>
                  <a:cubicBezTo>
                    <a:pt x="227" y="358"/>
                    <a:pt x="227" y="358"/>
                    <a:pt x="227" y="358"/>
                  </a:cubicBezTo>
                  <a:cubicBezTo>
                    <a:pt x="227" y="359"/>
                    <a:pt x="226" y="359"/>
                    <a:pt x="225" y="360"/>
                  </a:cubicBezTo>
                  <a:cubicBezTo>
                    <a:pt x="225" y="361"/>
                    <a:pt x="223" y="362"/>
                    <a:pt x="222" y="363"/>
                  </a:cubicBezTo>
                  <a:cubicBezTo>
                    <a:pt x="222" y="363"/>
                    <a:pt x="222" y="364"/>
                    <a:pt x="222" y="364"/>
                  </a:cubicBezTo>
                  <a:cubicBezTo>
                    <a:pt x="222" y="364"/>
                    <a:pt x="222" y="364"/>
                    <a:pt x="222" y="364"/>
                  </a:cubicBezTo>
                  <a:cubicBezTo>
                    <a:pt x="222" y="364"/>
                    <a:pt x="221" y="365"/>
                    <a:pt x="221" y="365"/>
                  </a:cubicBezTo>
                  <a:cubicBezTo>
                    <a:pt x="221" y="365"/>
                    <a:pt x="221" y="365"/>
                    <a:pt x="221" y="365"/>
                  </a:cubicBezTo>
                  <a:cubicBezTo>
                    <a:pt x="221" y="365"/>
                    <a:pt x="220" y="366"/>
                    <a:pt x="220" y="366"/>
                  </a:cubicBezTo>
                  <a:cubicBezTo>
                    <a:pt x="220" y="366"/>
                    <a:pt x="220" y="367"/>
                    <a:pt x="220" y="367"/>
                  </a:cubicBezTo>
                  <a:cubicBezTo>
                    <a:pt x="220" y="367"/>
                    <a:pt x="219" y="367"/>
                    <a:pt x="219" y="367"/>
                  </a:cubicBezTo>
                  <a:cubicBezTo>
                    <a:pt x="219" y="370"/>
                    <a:pt x="219" y="374"/>
                    <a:pt x="219" y="377"/>
                  </a:cubicBezTo>
                  <a:cubicBezTo>
                    <a:pt x="216" y="377"/>
                    <a:pt x="213" y="378"/>
                    <a:pt x="211" y="378"/>
                  </a:cubicBezTo>
                  <a:cubicBezTo>
                    <a:pt x="211" y="378"/>
                    <a:pt x="211" y="379"/>
                    <a:pt x="211" y="379"/>
                  </a:cubicBezTo>
                  <a:cubicBezTo>
                    <a:pt x="206" y="379"/>
                    <a:pt x="201" y="380"/>
                    <a:pt x="197" y="381"/>
                  </a:cubicBezTo>
                  <a:cubicBezTo>
                    <a:pt x="197" y="381"/>
                    <a:pt x="197" y="381"/>
                    <a:pt x="197" y="381"/>
                  </a:cubicBezTo>
                  <a:cubicBezTo>
                    <a:pt x="197" y="381"/>
                    <a:pt x="196" y="381"/>
                    <a:pt x="196" y="381"/>
                  </a:cubicBezTo>
                  <a:cubicBezTo>
                    <a:pt x="196" y="382"/>
                    <a:pt x="196" y="382"/>
                    <a:pt x="196" y="382"/>
                  </a:cubicBezTo>
                  <a:cubicBezTo>
                    <a:pt x="196" y="382"/>
                    <a:pt x="195" y="382"/>
                    <a:pt x="195" y="382"/>
                  </a:cubicBezTo>
                  <a:cubicBezTo>
                    <a:pt x="195" y="382"/>
                    <a:pt x="195" y="382"/>
                    <a:pt x="195" y="382"/>
                  </a:cubicBezTo>
                  <a:cubicBezTo>
                    <a:pt x="194" y="382"/>
                    <a:pt x="193" y="383"/>
                    <a:pt x="192" y="383"/>
                  </a:cubicBezTo>
                  <a:cubicBezTo>
                    <a:pt x="192" y="383"/>
                    <a:pt x="192" y="383"/>
                    <a:pt x="192" y="383"/>
                  </a:cubicBezTo>
                  <a:cubicBezTo>
                    <a:pt x="192" y="383"/>
                    <a:pt x="192" y="383"/>
                    <a:pt x="191" y="383"/>
                  </a:cubicBezTo>
                  <a:cubicBezTo>
                    <a:pt x="191" y="383"/>
                    <a:pt x="191" y="383"/>
                    <a:pt x="191" y="384"/>
                  </a:cubicBezTo>
                  <a:cubicBezTo>
                    <a:pt x="191" y="384"/>
                    <a:pt x="191" y="384"/>
                    <a:pt x="190" y="384"/>
                  </a:cubicBezTo>
                  <a:cubicBezTo>
                    <a:pt x="190" y="384"/>
                    <a:pt x="190" y="384"/>
                    <a:pt x="190" y="384"/>
                  </a:cubicBezTo>
                  <a:cubicBezTo>
                    <a:pt x="190" y="384"/>
                    <a:pt x="190" y="384"/>
                    <a:pt x="189" y="384"/>
                  </a:cubicBezTo>
                  <a:cubicBezTo>
                    <a:pt x="189" y="384"/>
                    <a:pt x="189" y="384"/>
                    <a:pt x="189" y="384"/>
                  </a:cubicBezTo>
                  <a:cubicBezTo>
                    <a:pt x="189" y="384"/>
                    <a:pt x="189" y="384"/>
                    <a:pt x="188" y="384"/>
                  </a:cubicBezTo>
                  <a:cubicBezTo>
                    <a:pt x="188" y="384"/>
                    <a:pt x="188" y="385"/>
                    <a:pt x="188" y="385"/>
                  </a:cubicBezTo>
                  <a:cubicBezTo>
                    <a:pt x="188" y="385"/>
                    <a:pt x="188" y="385"/>
                    <a:pt x="187" y="385"/>
                  </a:cubicBezTo>
                  <a:cubicBezTo>
                    <a:pt x="187" y="385"/>
                    <a:pt x="187" y="385"/>
                    <a:pt x="187" y="385"/>
                  </a:cubicBezTo>
                  <a:cubicBezTo>
                    <a:pt x="187" y="385"/>
                    <a:pt x="187" y="385"/>
                    <a:pt x="186" y="385"/>
                  </a:cubicBezTo>
                  <a:cubicBezTo>
                    <a:pt x="186" y="385"/>
                    <a:pt x="186" y="385"/>
                    <a:pt x="186" y="385"/>
                  </a:cubicBezTo>
                  <a:cubicBezTo>
                    <a:pt x="186" y="385"/>
                    <a:pt x="185" y="386"/>
                    <a:pt x="184" y="386"/>
                  </a:cubicBezTo>
                  <a:cubicBezTo>
                    <a:pt x="184" y="386"/>
                    <a:pt x="184" y="386"/>
                    <a:pt x="184" y="386"/>
                  </a:cubicBezTo>
                  <a:cubicBezTo>
                    <a:pt x="183" y="386"/>
                    <a:pt x="182" y="386"/>
                    <a:pt x="181" y="385"/>
                  </a:cubicBezTo>
                  <a:cubicBezTo>
                    <a:pt x="181" y="385"/>
                    <a:pt x="180" y="385"/>
                    <a:pt x="180" y="385"/>
                  </a:cubicBezTo>
                  <a:cubicBezTo>
                    <a:pt x="180" y="385"/>
                    <a:pt x="180" y="385"/>
                    <a:pt x="180" y="385"/>
                  </a:cubicBezTo>
                  <a:cubicBezTo>
                    <a:pt x="179" y="385"/>
                    <a:pt x="179" y="385"/>
                    <a:pt x="179" y="385"/>
                  </a:cubicBezTo>
                  <a:cubicBezTo>
                    <a:pt x="179" y="385"/>
                    <a:pt x="179" y="385"/>
                    <a:pt x="179" y="385"/>
                  </a:cubicBezTo>
                  <a:cubicBezTo>
                    <a:pt x="178" y="385"/>
                    <a:pt x="178" y="385"/>
                    <a:pt x="178" y="385"/>
                  </a:cubicBezTo>
                  <a:cubicBezTo>
                    <a:pt x="178" y="385"/>
                    <a:pt x="178" y="384"/>
                    <a:pt x="178" y="384"/>
                  </a:cubicBezTo>
                  <a:cubicBezTo>
                    <a:pt x="177" y="384"/>
                    <a:pt x="177" y="384"/>
                    <a:pt x="176" y="384"/>
                  </a:cubicBezTo>
                  <a:cubicBezTo>
                    <a:pt x="176" y="384"/>
                    <a:pt x="176" y="384"/>
                    <a:pt x="176" y="384"/>
                  </a:cubicBezTo>
                  <a:cubicBezTo>
                    <a:pt x="175" y="384"/>
                    <a:pt x="173" y="383"/>
                    <a:pt x="171" y="383"/>
                  </a:cubicBezTo>
                  <a:cubicBezTo>
                    <a:pt x="171" y="384"/>
                    <a:pt x="169" y="385"/>
                    <a:pt x="168" y="386"/>
                  </a:cubicBezTo>
                  <a:cubicBezTo>
                    <a:pt x="167" y="386"/>
                    <a:pt x="167" y="386"/>
                    <a:pt x="167" y="386"/>
                  </a:cubicBezTo>
                  <a:cubicBezTo>
                    <a:pt x="167" y="386"/>
                    <a:pt x="167" y="386"/>
                    <a:pt x="167" y="386"/>
                  </a:cubicBezTo>
                  <a:cubicBezTo>
                    <a:pt x="166" y="387"/>
                    <a:pt x="166" y="387"/>
                    <a:pt x="166" y="387"/>
                  </a:cubicBezTo>
                  <a:cubicBezTo>
                    <a:pt x="166" y="387"/>
                    <a:pt x="165" y="387"/>
                    <a:pt x="165" y="387"/>
                  </a:cubicBezTo>
                  <a:cubicBezTo>
                    <a:pt x="165" y="388"/>
                    <a:pt x="165" y="388"/>
                    <a:pt x="165" y="388"/>
                  </a:cubicBezTo>
                  <a:cubicBezTo>
                    <a:pt x="165" y="388"/>
                    <a:pt x="164" y="388"/>
                    <a:pt x="164" y="388"/>
                  </a:cubicBezTo>
                  <a:cubicBezTo>
                    <a:pt x="164" y="388"/>
                    <a:pt x="164" y="389"/>
                    <a:pt x="164" y="389"/>
                  </a:cubicBezTo>
                  <a:cubicBezTo>
                    <a:pt x="163" y="389"/>
                    <a:pt x="163" y="389"/>
                    <a:pt x="163" y="389"/>
                  </a:cubicBezTo>
                  <a:cubicBezTo>
                    <a:pt x="163" y="389"/>
                    <a:pt x="163" y="390"/>
                    <a:pt x="162" y="390"/>
                  </a:cubicBezTo>
                  <a:cubicBezTo>
                    <a:pt x="162" y="390"/>
                    <a:pt x="162" y="390"/>
                    <a:pt x="162" y="390"/>
                  </a:cubicBezTo>
                  <a:cubicBezTo>
                    <a:pt x="162" y="390"/>
                    <a:pt x="161" y="390"/>
                    <a:pt x="161" y="391"/>
                  </a:cubicBezTo>
                  <a:cubicBezTo>
                    <a:pt x="161" y="391"/>
                    <a:pt x="161" y="391"/>
                    <a:pt x="161" y="391"/>
                  </a:cubicBezTo>
                  <a:cubicBezTo>
                    <a:pt x="160" y="391"/>
                    <a:pt x="160" y="391"/>
                    <a:pt x="160" y="392"/>
                  </a:cubicBezTo>
                  <a:cubicBezTo>
                    <a:pt x="160" y="392"/>
                    <a:pt x="159" y="392"/>
                    <a:pt x="159" y="392"/>
                  </a:cubicBezTo>
                  <a:cubicBezTo>
                    <a:pt x="159" y="392"/>
                    <a:pt x="159" y="392"/>
                    <a:pt x="159" y="392"/>
                  </a:cubicBezTo>
                  <a:cubicBezTo>
                    <a:pt x="159" y="392"/>
                    <a:pt x="158" y="392"/>
                    <a:pt x="158" y="392"/>
                  </a:cubicBezTo>
                  <a:cubicBezTo>
                    <a:pt x="158" y="392"/>
                    <a:pt x="158" y="393"/>
                    <a:pt x="158" y="393"/>
                  </a:cubicBezTo>
                  <a:cubicBezTo>
                    <a:pt x="153" y="393"/>
                    <a:pt x="148" y="394"/>
                    <a:pt x="143" y="394"/>
                  </a:cubicBezTo>
                  <a:cubicBezTo>
                    <a:pt x="142" y="395"/>
                    <a:pt x="141" y="396"/>
                    <a:pt x="140" y="397"/>
                  </a:cubicBezTo>
                  <a:cubicBezTo>
                    <a:pt x="139" y="398"/>
                    <a:pt x="138" y="399"/>
                    <a:pt x="136" y="401"/>
                  </a:cubicBezTo>
                  <a:cubicBezTo>
                    <a:pt x="136" y="401"/>
                    <a:pt x="136" y="401"/>
                    <a:pt x="135" y="401"/>
                  </a:cubicBezTo>
                  <a:cubicBezTo>
                    <a:pt x="135" y="401"/>
                    <a:pt x="135" y="402"/>
                    <a:pt x="135" y="402"/>
                  </a:cubicBezTo>
                  <a:cubicBezTo>
                    <a:pt x="134" y="402"/>
                    <a:pt x="134" y="402"/>
                    <a:pt x="133" y="402"/>
                  </a:cubicBezTo>
                  <a:cubicBezTo>
                    <a:pt x="133" y="402"/>
                    <a:pt x="133" y="402"/>
                    <a:pt x="133" y="402"/>
                  </a:cubicBezTo>
                  <a:cubicBezTo>
                    <a:pt x="133" y="402"/>
                    <a:pt x="133" y="402"/>
                    <a:pt x="133" y="402"/>
                  </a:cubicBezTo>
                  <a:cubicBezTo>
                    <a:pt x="133" y="403"/>
                    <a:pt x="133" y="403"/>
                    <a:pt x="133" y="403"/>
                  </a:cubicBezTo>
                  <a:cubicBezTo>
                    <a:pt x="132" y="403"/>
                    <a:pt x="132" y="403"/>
                    <a:pt x="132" y="403"/>
                  </a:cubicBezTo>
                  <a:cubicBezTo>
                    <a:pt x="132" y="403"/>
                    <a:pt x="132" y="403"/>
                    <a:pt x="132" y="404"/>
                  </a:cubicBezTo>
                  <a:cubicBezTo>
                    <a:pt x="131" y="404"/>
                    <a:pt x="130" y="404"/>
                    <a:pt x="129" y="404"/>
                  </a:cubicBezTo>
                  <a:cubicBezTo>
                    <a:pt x="128" y="405"/>
                    <a:pt x="126" y="407"/>
                    <a:pt x="125" y="406"/>
                  </a:cubicBezTo>
                  <a:cubicBezTo>
                    <a:pt x="125" y="406"/>
                    <a:pt x="124" y="406"/>
                    <a:pt x="124" y="406"/>
                  </a:cubicBezTo>
                  <a:cubicBezTo>
                    <a:pt x="124" y="406"/>
                    <a:pt x="124" y="406"/>
                    <a:pt x="124" y="406"/>
                  </a:cubicBezTo>
                  <a:cubicBezTo>
                    <a:pt x="124" y="406"/>
                    <a:pt x="123" y="406"/>
                    <a:pt x="123" y="406"/>
                  </a:cubicBezTo>
                  <a:cubicBezTo>
                    <a:pt x="123" y="405"/>
                    <a:pt x="123" y="405"/>
                    <a:pt x="123" y="405"/>
                  </a:cubicBezTo>
                  <a:cubicBezTo>
                    <a:pt x="123" y="405"/>
                    <a:pt x="123" y="405"/>
                    <a:pt x="122" y="405"/>
                  </a:cubicBezTo>
                  <a:cubicBezTo>
                    <a:pt x="122" y="405"/>
                    <a:pt x="122" y="405"/>
                    <a:pt x="122" y="405"/>
                  </a:cubicBezTo>
                  <a:cubicBezTo>
                    <a:pt x="121" y="404"/>
                    <a:pt x="121" y="404"/>
                    <a:pt x="120" y="404"/>
                  </a:cubicBezTo>
                  <a:cubicBezTo>
                    <a:pt x="120" y="404"/>
                    <a:pt x="120" y="403"/>
                    <a:pt x="120" y="403"/>
                  </a:cubicBezTo>
                  <a:cubicBezTo>
                    <a:pt x="119" y="403"/>
                    <a:pt x="119" y="403"/>
                    <a:pt x="118" y="403"/>
                  </a:cubicBezTo>
                  <a:cubicBezTo>
                    <a:pt x="118" y="403"/>
                    <a:pt x="118" y="402"/>
                    <a:pt x="118" y="402"/>
                  </a:cubicBezTo>
                  <a:cubicBezTo>
                    <a:pt x="118" y="402"/>
                    <a:pt x="117" y="402"/>
                    <a:pt x="117" y="402"/>
                  </a:cubicBezTo>
                  <a:cubicBezTo>
                    <a:pt x="117" y="402"/>
                    <a:pt x="117" y="402"/>
                    <a:pt x="117" y="402"/>
                  </a:cubicBezTo>
                  <a:cubicBezTo>
                    <a:pt x="117" y="402"/>
                    <a:pt x="117" y="402"/>
                    <a:pt x="117" y="402"/>
                  </a:cubicBezTo>
                  <a:cubicBezTo>
                    <a:pt x="117" y="402"/>
                    <a:pt x="117" y="402"/>
                    <a:pt x="117" y="401"/>
                  </a:cubicBezTo>
                  <a:cubicBezTo>
                    <a:pt x="116" y="401"/>
                    <a:pt x="116" y="401"/>
                    <a:pt x="115" y="401"/>
                  </a:cubicBezTo>
                  <a:cubicBezTo>
                    <a:pt x="115" y="400"/>
                    <a:pt x="115" y="398"/>
                    <a:pt x="114" y="397"/>
                  </a:cubicBezTo>
                  <a:cubicBezTo>
                    <a:pt x="114" y="397"/>
                    <a:pt x="114" y="397"/>
                    <a:pt x="114" y="397"/>
                  </a:cubicBezTo>
                  <a:cubicBezTo>
                    <a:pt x="114" y="397"/>
                    <a:pt x="114" y="396"/>
                    <a:pt x="114" y="396"/>
                  </a:cubicBezTo>
                  <a:cubicBezTo>
                    <a:pt x="114" y="396"/>
                    <a:pt x="113" y="396"/>
                    <a:pt x="113" y="396"/>
                  </a:cubicBezTo>
                  <a:cubicBezTo>
                    <a:pt x="113" y="395"/>
                    <a:pt x="113" y="395"/>
                    <a:pt x="113" y="395"/>
                  </a:cubicBezTo>
                  <a:cubicBezTo>
                    <a:pt x="113" y="395"/>
                    <a:pt x="113" y="395"/>
                    <a:pt x="113" y="395"/>
                  </a:cubicBezTo>
                  <a:cubicBezTo>
                    <a:pt x="113" y="394"/>
                    <a:pt x="113" y="394"/>
                    <a:pt x="113" y="393"/>
                  </a:cubicBezTo>
                  <a:cubicBezTo>
                    <a:pt x="113" y="393"/>
                    <a:pt x="112" y="393"/>
                    <a:pt x="112" y="393"/>
                  </a:cubicBezTo>
                  <a:cubicBezTo>
                    <a:pt x="112" y="393"/>
                    <a:pt x="112" y="393"/>
                    <a:pt x="112" y="392"/>
                  </a:cubicBezTo>
                  <a:cubicBezTo>
                    <a:pt x="112" y="392"/>
                    <a:pt x="112" y="392"/>
                    <a:pt x="112" y="392"/>
                  </a:cubicBezTo>
                  <a:cubicBezTo>
                    <a:pt x="112" y="392"/>
                    <a:pt x="112" y="391"/>
                    <a:pt x="112" y="391"/>
                  </a:cubicBezTo>
                  <a:cubicBezTo>
                    <a:pt x="111" y="391"/>
                    <a:pt x="111" y="391"/>
                    <a:pt x="111" y="391"/>
                  </a:cubicBezTo>
                  <a:cubicBezTo>
                    <a:pt x="111" y="391"/>
                    <a:pt x="111" y="390"/>
                    <a:pt x="111" y="390"/>
                  </a:cubicBezTo>
                  <a:cubicBezTo>
                    <a:pt x="111" y="390"/>
                    <a:pt x="111" y="390"/>
                    <a:pt x="111" y="390"/>
                  </a:cubicBezTo>
                  <a:cubicBezTo>
                    <a:pt x="111" y="390"/>
                    <a:pt x="111" y="389"/>
                    <a:pt x="111" y="389"/>
                  </a:cubicBezTo>
                  <a:cubicBezTo>
                    <a:pt x="111" y="389"/>
                    <a:pt x="111" y="389"/>
                    <a:pt x="111" y="389"/>
                  </a:cubicBezTo>
                  <a:cubicBezTo>
                    <a:pt x="110" y="388"/>
                    <a:pt x="110" y="387"/>
                    <a:pt x="110" y="386"/>
                  </a:cubicBezTo>
                  <a:cubicBezTo>
                    <a:pt x="109" y="386"/>
                    <a:pt x="109" y="386"/>
                    <a:pt x="108" y="386"/>
                  </a:cubicBezTo>
                  <a:cubicBezTo>
                    <a:pt x="108" y="385"/>
                    <a:pt x="108" y="385"/>
                    <a:pt x="107" y="384"/>
                  </a:cubicBezTo>
                  <a:cubicBezTo>
                    <a:pt x="107" y="384"/>
                    <a:pt x="107" y="384"/>
                    <a:pt x="107" y="384"/>
                  </a:cubicBezTo>
                  <a:cubicBezTo>
                    <a:pt x="106" y="384"/>
                    <a:pt x="106" y="383"/>
                    <a:pt x="106" y="383"/>
                  </a:cubicBezTo>
                  <a:cubicBezTo>
                    <a:pt x="105" y="383"/>
                    <a:pt x="105" y="383"/>
                    <a:pt x="105" y="383"/>
                  </a:cubicBezTo>
                  <a:cubicBezTo>
                    <a:pt x="105" y="382"/>
                    <a:pt x="104" y="382"/>
                    <a:pt x="104" y="381"/>
                  </a:cubicBezTo>
                  <a:cubicBezTo>
                    <a:pt x="104" y="381"/>
                    <a:pt x="103" y="381"/>
                    <a:pt x="103" y="381"/>
                  </a:cubicBezTo>
                  <a:cubicBezTo>
                    <a:pt x="103" y="381"/>
                    <a:pt x="102" y="380"/>
                    <a:pt x="102" y="380"/>
                  </a:cubicBezTo>
                  <a:cubicBezTo>
                    <a:pt x="102" y="380"/>
                    <a:pt x="101" y="380"/>
                    <a:pt x="101" y="380"/>
                  </a:cubicBezTo>
                  <a:cubicBezTo>
                    <a:pt x="101" y="379"/>
                    <a:pt x="100" y="379"/>
                    <a:pt x="100" y="378"/>
                  </a:cubicBezTo>
                  <a:cubicBezTo>
                    <a:pt x="100" y="378"/>
                    <a:pt x="100" y="378"/>
                    <a:pt x="99" y="378"/>
                  </a:cubicBezTo>
                  <a:cubicBezTo>
                    <a:pt x="99" y="378"/>
                    <a:pt x="99" y="377"/>
                    <a:pt x="98" y="377"/>
                  </a:cubicBezTo>
                  <a:cubicBezTo>
                    <a:pt x="97" y="376"/>
                    <a:pt x="95" y="377"/>
                    <a:pt x="93" y="376"/>
                  </a:cubicBezTo>
                  <a:cubicBezTo>
                    <a:pt x="93" y="376"/>
                    <a:pt x="93" y="376"/>
                    <a:pt x="93" y="376"/>
                  </a:cubicBezTo>
                  <a:cubicBezTo>
                    <a:pt x="92" y="376"/>
                    <a:pt x="91" y="376"/>
                    <a:pt x="90" y="376"/>
                  </a:cubicBezTo>
                  <a:cubicBezTo>
                    <a:pt x="90" y="376"/>
                    <a:pt x="90" y="376"/>
                    <a:pt x="90" y="376"/>
                  </a:cubicBezTo>
                  <a:cubicBezTo>
                    <a:pt x="89" y="376"/>
                    <a:pt x="88" y="376"/>
                    <a:pt x="87" y="376"/>
                  </a:cubicBezTo>
                  <a:cubicBezTo>
                    <a:pt x="87" y="375"/>
                    <a:pt x="87" y="375"/>
                    <a:pt x="87" y="375"/>
                  </a:cubicBezTo>
                  <a:cubicBezTo>
                    <a:pt x="86" y="375"/>
                    <a:pt x="84" y="376"/>
                    <a:pt x="84" y="375"/>
                  </a:cubicBezTo>
                  <a:cubicBezTo>
                    <a:pt x="84" y="374"/>
                    <a:pt x="84" y="373"/>
                    <a:pt x="84" y="372"/>
                  </a:cubicBezTo>
                  <a:cubicBezTo>
                    <a:pt x="82" y="371"/>
                    <a:pt x="84" y="366"/>
                    <a:pt x="83" y="364"/>
                  </a:cubicBezTo>
                  <a:cubicBezTo>
                    <a:pt x="83" y="364"/>
                    <a:pt x="83" y="364"/>
                    <a:pt x="83" y="364"/>
                  </a:cubicBezTo>
                  <a:cubicBezTo>
                    <a:pt x="83" y="362"/>
                    <a:pt x="83" y="361"/>
                    <a:pt x="83" y="359"/>
                  </a:cubicBezTo>
                  <a:cubicBezTo>
                    <a:pt x="82" y="359"/>
                    <a:pt x="82" y="359"/>
                    <a:pt x="82" y="359"/>
                  </a:cubicBezTo>
                  <a:cubicBezTo>
                    <a:pt x="82" y="358"/>
                    <a:pt x="82" y="357"/>
                    <a:pt x="82" y="355"/>
                  </a:cubicBezTo>
                  <a:cubicBezTo>
                    <a:pt x="82" y="355"/>
                    <a:pt x="82" y="355"/>
                    <a:pt x="82" y="355"/>
                  </a:cubicBezTo>
                  <a:cubicBezTo>
                    <a:pt x="82" y="354"/>
                    <a:pt x="82" y="352"/>
                    <a:pt x="82" y="351"/>
                  </a:cubicBezTo>
                  <a:cubicBezTo>
                    <a:pt x="82" y="351"/>
                    <a:pt x="82" y="351"/>
                    <a:pt x="82" y="351"/>
                  </a:cubicBezTo>
                  <a:cubicBezTo>
                    <a:pt x="81" y="349"/>
                    <a:pt x="81" y="347"/>
                    <a:pt x="81" y="344"/>
                  </a:cubicBezTo>
                  <a:cubicBezTo>
                    <a:pt x="80" y="344"/>
                    <a:pt x="79" y="343"/>
                    <a:pt x="78" y="342"/>
                  </a:cubicBezTo>
                  <a:cubicBezTo>
                    <a:pt x="78" y="342"/>
                    <a:pt x="78" y="342"/>
                    <a:pt x="78" y="342"/>
                  </a:cubicBezTo>
                  <a:cubicBezTo>
                    <a:pt x="78" y="342"/>
                    <a:pt x="78" y="342"/>
                    <a:pt x="77" y="342"/>
                  </a:cubicBezTo>
                  <a:cubicBezTo>
                    <a:pt x="77" y="341"/>
                    <a:pt x="76" y="340"/>
                    <a:pt x="76" y="340"/>
                  </a:cubicBezTo>
                  <a:cubicBezTo>
                    <a:pt x="75" y="340"/>
                    <a:pt x="75" y="340"/>
                    <a:pt x="75" y="340"/>
                  </a:cubicBezTo>
                  <a:cubicBezTo>
                    <a:pt x="74" y="339"/>
                    <a:pt x="74" y="338"/>
                    <a:pt x="73" y="337"/>
                  </a:cubicBezTo>
                  <a:cubicBezTo>
                    <a:pt x="73" y="337"/>
                    <a:pt x="73" y="337"/>
                    <a:pt x="72" y="337"/>
                  </a:cubicBezTo>
                  <a:cubicBezTo>
                    <a:pt x="72" y="337"/>
                    <a:pt x="71" y="336"/>
                    <a:pt x="71" y="335"/>
                  </a:cubicBezTo>
                  <a:cubicBezTo>
                    <a:pt x="70" y="335"/>
                    <a:pt x="70" y="335"/>
                    <a:pt x="70" y="335"/>
                  </a:cubicBezTo>
                  <a:cubicBezTo>
                    <a:pt x="69" y="335"/>
                    <a:pt x="69" y="334"/>
                    <a:pt x="68" y="333"/>
                  </a:cubicBezTo>
                  <a:cubicBezTo>
                    <a:pt x="68" y="333"/>
                    <a:pt x="68" y="333"/>
                    <a:pt x="68" y="333"/>
                  </a:cubicBezTo>
                  <a:cubicBezTo>
                    <a:pt x="67" y="333"/>
                    <a:pt x="66" y="332"/>
                    <a:pt x="66" y="331"/>
                  </a:cubicBezTo>
                  <a:cubicBezTo>
                    <a:pt x="66" y="331"/>
                    <a:pt x="65" y="331"/>
                    <a:pt x="65" y="331"/>
                  </a:cubicBezTo>
                  <a:cubicBezTo>
                    <a:pt x="65" y="331"/>
                    <a:pt x="65" y="331"/>
                    <a:pt x="65" y="331"/>
                  </a:cubicBezTo>
                  <a:cubicBezTo>
                    <a:pt x="64" y="330"/>
                    <a:pt x="64" y="330"/>
                    <a:pt x="63" y="329"/>
                  </a:cubicBezTo>
                  <a:cubicBezTo>
                    <a:pt x="63" y="321"/>
                    <a:pt x="63" y="313"/>
                    <a:pt x="63" y="305"/>
                  </a:cubicBezTo>
                  <a:cubicBezTo>
                    <a:pt x="64" y="305"/>
                    <a:pt x="64" y="305"/>
                    <a:pt x="65" y="305"/>
                  </a:cubicBezTo>
                  <a:cubicBezTo>
                    <a:pt x="65" y="304"/>
                    <a:pt x="65" y="304"/>
                    <a:pt x="65" y="304"/>
                  </a:cubicBezTo>
                  <a:cubicBezTo>
                    <a:pt x="66" y="304"/>
                    <a:pt x="66" y="304"/>
                    <a:pt x="66" y="304"/>
                  </a:cubicBezTo>
                  <a:cubicBezTo>
                    <a:pt x="66" y="304"/>
                    <a:pt x="66" y="304"/>
                    <a:pt x="66" y="303"/>
                  </a:cubicBezTo>
                  <a:cubicBezTo>
                    <a:pt x="66" y="303"/>
                    <a:pt x="67" y="303"/>
                    <a:pt x="67" y="303"/>
                  </a:cubicBezTo>
                  <a:cubicBezTo>
                    <a:pt x="67" y="303"/>
                    <a:pt x="67" y="303"/>
                    <a:pt x="67" y="303"/>
                  </a:cubicBezTo>
                  <a:cubicBezTo>
                    <a:pt x="67" y="303"/>
                    <a:pt x="67" y="303"/>
                    <a:pt x="68" y="303"/>
                  </a:cubicBezTo>
                  <a:cubicBezTo>
                    <a:pt x="68" y="303"/>
                    <a:pt x="68" y="303"/>
                    <a:pt x="68" y="303"/>
                  </a:cubicBezTo>
                  <a:cubicBezTo>
                    <a:pt x="68" y="303"/>
                    <a:pt x="68" y="303"/>
                    <a:pt x="68" y="303"/>
                  </a:cubicBezTo>
                  <a:cubicBezTo>
                    <a:pt x="68" y="303"/>
                    <a:pt x="68" y="303"/>
                    <a:pt x="68" y="302"/>
                  </a:cubicBezTo>
                  <a:cubicBezTo>
                    <a:pt x="68" y="302"/>
                    <a:pt x="69" y="302"/>
                    <a:pt x="69" y="302"/>
                  </a:cubicBezTo>
                  <a:cubicBezTo>
                    <a:pt x="69" y="302"/>
                    <a:pt x="69" y="302"/>
                    <a:pt x="69" y="302"/>
                  </a:cubicBezTo>
                  <a:cubicBezTo>
                    <a:pt x="70" y="302"/>
                    <a:pt x="70" y="302"/>
                    <a:pt x="70" y="302"/>
                  </a:cubicBezTo>
                  <a:cubicBezTo>
                    <a:pt x="70" y="302"/>
                    <a:pt x="70" y="301"/>
                    <a:pt x="70" y="301"/>
                  </a:cubicBezTo>
                  <a:cubicBezTo>
                    <a:pt x="70" y="301"/>
                    <a:pt x="70" y="301"/>
                    <a:pt x="71" y="301"/>
                  </a:cubicBezTo>
                  <a:cubicBezTo>
                    <a:pt x="71" y="301"/>
                    <a:pt x="71" y="301"/>
                    <a:pt x="71" y="301"/>
                  </a:cubicBezTo>
                  <a:cubicBezTo>
                    <a:pt x="71" y="301"/>
                    <a:pt x="71" y="301"/>
                    <a:pt x="71" y="301"/>
                  </a:cubicBezTo>
                  <a:cubicBezTo>
                    <a:pt x="71" y="301"/>
                    <a:pt x="71" y="301"/>
                    <a:pt x="71" y="301"/>
                  </a:cubicBezTo>
                  <a:cubicBezTo>
                    <a:pt x="72" y="301"/>
                    <a:pt x="72" y="301"/>
                    <a:pt x="72" y="301"/>
                  </a:cubicBezTo>
                  <a:cubicBezTo>
                    <a:pt x="72" y="301"/>
                    <a:pt x="72" y="300"/>
                    <a:pt x="72" y="300"/>
                  </a:cubicBezTo>
                  <a:cubicBezTo>
                    <a:pt x="73" y="300"/>
                    <a:pt x="73" y="300"/>
                    <a:pt x="73" y="300"/>
                  </a:cubicBezTo>
                  <a:cubicBezTo>
                    <a:pt x="74" y="300"/>
                    <a:pt x="74" y="300"/>
                    <a:pt x="74" y="299"/>
                  </a:cubicBezTo>
                  <a:cubicBezTo>
                    <a:pt x="74" y="299"/>
                    <a:pt x="74" y="299"/>
                    <a:pt x="75" y="299"/>
                  </a:cubicBezTo>
                  <a:cubicBezTo>
                    <a:pt x="75" y="299"/>
                    <a:pt x="75" y="299"/>
                    <a:pt x="75" y="299"/>
                  </a:cubicBezTo>
                  <a:cubicBezTo>
                    <a:pt x="75" y="299"/>
                    <a:pt x="75" y="299"/>
                    <a:pt x="75" y="299"/>
                  </a:cubicBezTo>
                  <a:cubicBezTo>
                    <a:pt x="75" y="299"/>
                    <a:pt x="75" y="299"/>
                    <a:pt x="75" y="299"/>
                  </a:cubicBezTo>
                  <a:cubicBezTo>
                    <a:pt x="75" y="299"/>
                    <a:pt x="76" y="299"/>
                    <a:pt x="76" y="299"/>
                  </a:cubicBezTo>
                  <a:cubicBezTo>
                    <a:pt x="76" y="298"/>
                    <a:pt x="76" y="298"/>
                    <a:pt x="76" y="298"/>
                  </a:cubicBezTo>
                  <a:cubicBezTo>
                    <a:pt x="76" y="298"/>
                    <a:pt x="76" y="298"/>
                    <a:pt x="77" y="298"/>
                  </a:cubicBezTo>
                  <a:cubicBezTo>
                    <a:pt x="77" y="298"/>
                    <a:pt x="77" y="298"/>
                    <a:pt x="77" y="298"/>
                  </a:cubicBezTo>
                  <a:cubicBezTo>
                    <a:pt x="77" y="298"/>
                    <a:pt x="77" y="298"/>
                    <a:pt x="77" y="298"/>
                  </a:cubicBezTo>
                  <a:cubicBezTo>
                    <a:pt x="77" y="298"/>
                    <a:pt x="78" y="297"/>
                    <a:pt x="78" y="297"/>
                  </a:cubicBezTo>
                  <a:cubicBezTo>
                    <a:pt x="78" y="297"/>
                    <a:pt x="78" y="297"/>
                    <a:pt x="78" y="297"/>
                  </a:cubicBezTo>
                  <a:cubicBezTo>
                    <a:pt x="78" y="297"/>
                    <a:pt x="78" y="297"/>
                    <a:pt x="78" y="297"/>
                  </a:cubicBezTo>
                  <a:cubicBezTo>
                    <a:pt x="79" y="297"/>
                    <a:pt x="79" y="297"/>
                    <a:pt x="79" y="297"/>
                  </a:cubicBezTo>
                  <a:cubicBezTo>
                    <a:pt x="79" y="297"/>
                    <a:pt x="79" y="297"/>
                    <a:pt x="79" y="296"/>
                  </a:cubicBezTo>
                  <a:cubicBezTo>
                    <a:pt x="79" y="296"/>
                    <a:pt x="80" y="296"/>
                    <a:pt x="80" y="296"/>
                  </a:cubicBezTo>
                  <a:cubicBezTo>
                    <a:pt x="80" y="296"/>
                    <a:pt x="80" y="296"/>
                    <a:pt x="80" y="296"/>
                  </a:cubicBezTo>
                  <a:cubicBezTo>
                    <a:pt x="80" y="296"/>
                    <a:pt x="80" y="296"/>
                    <a:pt x="80" y="296"/>
                  </a:cubicBezTo>
                  <a:cubicBezTo>
                    <a:pt x="80" y="296"/>
                    <a:pt x="80" y="296"/>
                    <a:pt x="80" y="296"/>
                  </a:cubicBezTo>
                  <a:cubicBezTo>
                    <a:pt x="81" y="296"/>
                    <a:pt x="81" y="296"/>
                    <a:pt x="82" y="295"/>
                  </a:cubicBezTo>
                  <a:cubicBezTo>
                    <a:pt x="82" y="295"/>
                    <a:pt x="82" y="295"/>
                    <a:pt x="82" y="295"/>
                  </a:cubicBezTo>
                  <a:cubicBezTo>
                    <a:pt x="83" y="295"/>
                    <a:pt x="84" y="294"/>
                    <a:pt x="84" y="294"/>
                  </a:cubicBezTo>
                  <a:cubicBezTo>
                    <a:pt x="84" y="294"/>
                    <a:pt x="85" y="294"/>
                    <a:pt x="85" y="293"/>
                  </a:cubicBezTo>
                  <a:cubicBezTo>
                    <a:pt x="85" y="293"/>
                    <a:pt x="85" y="293"/>
                    <a:pt x="85" y="293"/>
                  </a:cubicBezTo>
                  <a:cubicBezTo>
                    <a:pt x="85" y="293"/>
                    <a:pt x="86" y="293"/>
                    <a:pt x="86" y="293"/>
                  </a:cubicBezTo>
                  <a:cubicBezTo>
                    <a:pt x="86" y="293"/>
                    <a:pt x="86" y="293"/>
                    <a:pt x="86" y="293"/>
                  </a:cubicBezTo>
                  <a:cubicBezTo>
                    <a:pt x="87" y="292"/>
                    <a:pt x="87" y="292"/>
                    <a:pt x="87" y="292"/>
                  </a:cubicBezTo>
                  <a:cubicBezTo>
                    <a:pt x="87" y="292"/>
                    <a:pt x="88" y="292"/>
                    <a:pt x="88" y="292"/>
                  </a:cubicBezTo>
                  <a:cubicBezTo>
                    <a:pt x="88" y="291"/>
                    <a:pt x="88" y="291"/>
                    <a:pt x="89" y="291"/>
                  </a:cubicBezTo>
                  <a:cubicBezTo>
                    <a:pt x="89" y="291"/>
                    <a:pt x="89" y="291"/>
                    <a:pt x="89" y="291"/>
                  </a:cubicBezTo>
                  <a:cubicBezTo>
                    <a:pt x="89" y="291"/>
                    <a:pt x="89" y="290"/>
                    <a:pt x="90" y="290"/>
                  </a:cubicBezTo>
                  <a:cubicBezTo>
                    <a:pt x="90" y="290"/>
                    <a:pt x="90" y="290"/>
                    <a:pt x="90" y="290"/>
                  </a:cubicBezTo>
                  <a:cubicBezTo>
                    <a:pt x="90" y="290"/>
                    <a:pt x="91" y="290"/>
                    <a:pt x="91" y="289"/>
                  </a:cubicBezTo>
                  <a:cubicBezTo>
                    <a:pt x="91" y="289"/>
                    <a:pt x="92" y="289"/>
                    <a:pt x="92" y="289"/>
                  </a:cubicBezTo>
                  <a:cubicBezTo>
                    <a:pt x="92" y="289"/>
                    <a:pt x="92" y="289"/>
                    <a:pt x="92" y="289"/>
                  </a:cubicBezTo>
                  <a:cubicBezTo>
                    <a:pt x="92" y="289"/>
                    <a:pt x="93" y="289"/>
                    <a:pt x="93" y="288"/>
                  </a:cubicBezTo>
                  <a:cubicBezTo>
                    <a:pt x="93" y="288"/>
                    <a:pt x="93" y="288"/>
                    <a:pt x="93" y="288"/>
                  </a:cubicBezTo>
                  <a:cubicBezTo>
                    <a:pt x="94" y="288"/>
                    <a:pt x="94" y="288"/>
                    <a:pt x="94" y="288"/>
                  </a:cubicBezTo>
                  <a:cubicBezTo>
                    <a:pt x="94" y="288"/>
                    <a:pt x="94" y="287"/>
                    <a:pt x="94" y="287"/>
                  </a:cubicBezTo>
                  <a:cubicBezTo>
                    <a:pt x="95" y="287"/>
                    <a:pt x="95" y="287"/>
                    <a:pt x="96" y="287"/>
                  </a:cubicBezTo>
                  <a:cubicBezTo>
                    <a:pt x="96" y="287"/>
                    <a:pt x="96" y="286"/>
                    <a:pt x="96" y="286"/>
                  </a:cubicBezTo>
                  <a:cubicBezTo>
                    <a:pt x="96" y="286"/>
                    <a:pt x="96" y="286"/>
                    <a:pt x="97" y="286"/>
                  </a:cubicBezTo>
                  <a:cubicBezTo>
                    <a:pt x="97" y="286"/>
                    <a:pt x="97" y="286"/>
                    <a:pt x="97" y="285"/>
                  </a:cubicBezTo>
                  <a:cubicBezTo>
                    <a:pt x="98" y="285"/>
                    <a:pt x="98" y="285"/>
                    <a:pt x="98" y="285"/>
                  </a:cubicBezTo>
                  <a:cubicBezTo>
                    <a:pt x="98" y="285"/>
                    <a:pt x="98" y="285"/>
                    <a:pt x="98" y="285"/>
                  </a:cubicBezTo>
                  <a:cubicBezTo>
                    <a:pt x="99" y="284"/>
                    <a:pt x="99" y="284"/>
                    <a:pt x="99" y="284"/>
                  </a:cubicBezTo>
                  <a:cubicBezTo>
                    <a:pt x="99" y="284"/>
                    <a:pt x="99" y="284"/>
                    <a:pt x="99" y="284"/>
                  </a:cubicBezTo>
                  <a:cubicBezTo>
                    <a:pt x="100" y="284"/>
                    <a:pt x="100" y="284"/>
                    <a:pt x="101" y="284"/>
                  </a:cubicBezTo>
                  <a:cubicBezTo>
                    <a:pt x="101" y="283"/>
                    <a:pt x="101" y="283"/>
                    <a:pt x="101" y="283"/>
                  </a:cubicBezTo>
                  <a:cubicBezTo>
                    <a:pt x="101" y="283"/>
                    <a:pt x="101" y="283"/>
                    <a:pt x="102" y="283"/>
                  </a:cubicBezTo>
                  <a:cubicBezTo>
                    <a:pt x="102" y="283"/>
                    <a:pt x="102" y="282"/>
                    <a:pt x="102" y="282"/>
                  </a:cubicBezTo>
                  <a:cubicBezTo>
                    <a:pt x="102" y="282"/>
                    <a:pt x="103" y="282"/>
                    <a:pt x="103" y="282"/>
                  </a:cubicBezTo>
                  <a:cubicBezTo>
                    <a:pt x="103" y="282"/>
                    <a:pt x="103" y="282"/>
                    <a:pt x="103" y="281"/>
                  </a:cubicBezTo>
                  <a:cubicBezTo>
                    <a:pt x="104" y="281"/>
                    <a:pt x="104" y="281"/>
                    <a:pt x="104" y="281"/>
                  </a:cubicBezTo>
                  <a:cubicBezTo>
                    <a:pt x="104" y="281"/>
                    <a:pt x="104" y="281"/>
                    <a:pt x="104" y="281"/>
                  </a:cubicBezTo>
                  <a:cubicBezTo>
                    <a:pt x="105" y="281"/>
                    <a:pt x="105" y="281"/>
                    <a:pt x="106" y="280"/>
                  </a:cubicBezTo>
                  <a:cubicBezTo>
                    <a:pt x="106" y="280"/>
                    <a:pt x="106" y="280"/>
                    <a:pt x="106" y="280"/>
                  </a:cubicBezTo>
                  <a:cubicBezTo>
                    <a:pt x="106" y="280"/>
                    <a:pt x="106" y="280"/>
                    <a:pt x="107" y="280"/>
                  </a:cubicBezTo>
                  <a:cubicBezTo>
                    <a:pt x="107" y="279"/>
                    <a:pt x="107" y="279"/>
                    <a:pt x="107" y="279"/>
                  </a:cubicBezTo>
                  <a:cubicBezTo>
                    <a:pt x="107" y="279"/>
                    <a:pt x="108" y="279"/>
                    <a:pt x="108" y="279"/>
                  </a:cubicBezTo>
                  <a:cubicBezTo>
                    <a:pt x="108" y="279"/>
                    <a:pt x="108" y="278"/>
                    <a:pt x="108" y="278"/>
                  </a:cubicBezTo>
                  <a:cubicBezTo>
                    <a:pt x="109" y="278"/>
                    <a:pt x="109" y="278"/>
                    <a:pt x="110" y="278"/>
                  </a:cubicBezTo>
                  <a:cubicBezTo>
                    <a:pt x="110" y="278"/>
                    <a:pt x="110" y="278"/>
                    <a:pt x="110" y="278"/>
                  </a:cubicBezTo>
                  <a:cubicBezTo>
                    <a:pt x="110" y="277"/>
                    <a:pt x="110" y="277"/>
                    <a:pt x="111" y="277"/>
                  </a:cubicBezTo>
                  <a:cubicBezTo>
                    <a:pt x="111" y="277"/>
                    <a:pt x="111" y="277"/>
                    <a:pt x="111" y="277"/>
                  </a:cubicBezTo>
                  <a:cubicBezTo>
                    <a:pt x="111" y="277"/>
                    <a:pt x="111" y="277"/>
                    <a:pt x="112" y="277"/>
                  </a:cubicBezTo>
                  <a:cubicBezTo>
                    <a:pt x="112" y="276"/>
                    <a:pt x="112" y="276"/>
                    <a:pt x="112" y="276"/>
                  </a:cubicBezTo>
                  <a:cubicBezTo>
                    <a:pt x="112" y="276"/>
                    <a:pt x="112" y="276"/>
                    <a:pt x="113" y="276"/>
                  </a:cubicBezTo>
                  <a:cubicBezTo>
                    <a:pt x="113" y="276"/>
                    <a:pt x="113" y="276"/>
                    <a:pt x="113" y="276"/>
                  </a:cubicBezTo>
                  <a:cubicBezTo>
                    <a:pt x="113" y="276"/>
                    <a:pt x="113" y="276"/>
                    <a:pt x="113" y="276"/>
                  </a:cubicBezTo>
                  <a:cubicBezTo>
                    <a:pt x="113" y="275"/>
                    <a:pt x="114" y="275"/>
                    <a:pt x="114" y="275"/>
                  </a:cubicBezTo>
                  <a:cubicBezTo>
                    <a:pt x="114" y="275"/>
                    <a:pt x="114" y="275"/>
                    <a:pt x="115" y="274"/>
                  </a:cubicBezTo>
                  <a:cubicBezTo>
                    <a:pt x="115" y="271"/>
                    <a:pt x="115" y="267"/>
                    <a:pt x="115" y="264"/>
                  </a:cubicBezTo>
                  <a:cubicBezTo>
                    <a:pt x="114" y="263"/>
                    <a:pt x="114" y="257"/>
                    <a:pt x="114" y="255"/>
                  </a:cubicBezTo>
                  <a:cubicBezTo>
                    <a:pt x="114" y="247"/>
                    <a:pt x="114" y="239"/>
                    <a:pt x="114" y="232"/>
                  </a:cubicBezTo>
                  <a:cubicBezTo>
                    <a:pt x="114" y="232"/>
                    <a:pt x="114" y="231"/>
                    <a:pt x="113" y="231"/>
                  </a:cubicBezTo>
                  <a:cubicBezTo>
                    <a:pt x="113" y="231"/>
                    <a:pt x="113" y="231"/>
                    <a:pt x="113" y="231"/>
                  </a:cubicBezTo>
                  <a:cubicBezTo>
                    <a:pt x="112" y="231"/>
                    <a:pt x="112" y="230"/>
                    <a:pt x="112" y="230"/>
                  </a:cubicBezTo>
                  <a:cubicBezTo>
                    <a:pt x="112" y="230"/>
                    <a:pt x="111" y="230"/>
                    <a:pt x="111" y="230"/>
                  </a:cubicBezTo>
                  <a:cubicBezTo>
                    <a:pt x="111" y="230"/>
                    <a:pt x="111" y="230"/>
                    <a:pt x="111" y="229"/>
                  </a:cubicBezTo>
                  <a:cubicBezTo>
                    <a:pt x="111" y="229"/>
                    <a:pt x="110" y="229"/>
                    <a:pt x="110" y="229"/>
                  </a:cubicBezTo>
                  <a:cubicBezTo>
                    <a:pt x="110" y="229"/>
                    <a:pt x="110" y="229"/>
                    <a:pt x="110" y="228"/>
                  </a:cubicBezTo>
                  <a:cubicBezTo>
                    <a:pt x="109" y="228"/>
                    <a:pt x="109" y="228"/>
                    <a:pt x="109" y="228"/>
                  </a:cubicBezTo>
                  <a:cubicBezTo>
                    <a:pt x="109" y="228"/>
                    <a:pt x="109" y="228"/>
                    <a:pt x="108" y="228"/>
                  </a:cubicBezTo>
                  <a:cubicBezTo>
                    <a:pt x="108" y="228"/>
                    <a:pt x="108" y="228"/>
                    <a:pt x="108" y="228"/>
                  </a:cubicBezTo>
                  <a:cubicBezTo>
                    <a:pt x="108" y="227"/>
                    <a:pt x="107" y="227"/>
                    <a:pt x="107" y="227"/>
                  </a:cubicBezTo>
                  <a:cubicBezTo>
                    <a:pt x="107" y="227"/>
                    <a:pt x="107" y="227"/>
                    <a:pt x="106" y="227"/>
                  </a:cubicBezTo>
                  <a:cubicBezTo>
                    <a:pt x="106" y="226"/>
                    <a:pt x="106" y="226"/>
                    <a:pt x="106" y="226"/>
                  </a:cubicBezTo>
                  <a:cubicBezTo>
                    <a:pt x="106" y="226"/>
                    <a:pt x="106" y="226"/>
                    <a:pt x="105" y="226"/>
                  </a:cubicBezTo>
                  <a:cubicBezTo>
                    <a:pt x="105" y="225"/>
                    <a:pt x="105" y="225"/>
                    <a:pt x="105" y="225"/>
                  </a:cubicBezTo>
                  <a:cubicBezTo>
                    <a:pt x="104" y="225"/>
                    <a:pt x="104" y="225"/>
                    <a:pt x="104" y="225"/>
                  </a:cubicBezTo>
                  <a:cubicBezTo>
                    <a:pt x="104" y="224"/>
                    <a:pt x="103" y="224"/>
                    <a:pt x="103" y="224"/>
                  </a:cubicBezTo>
                  <a:cubicBezTo>
                    <a:pt x="103" y="224"/>
                    <a:pt x="103" y="224"/>
                    <a:pt x="103" y="224"/>
                  </a:cubicBezTo>
                  <a:cubicBezTo>
                    <a:pt x="102" y="224"/>
                    <a:pt x="102" y="223"/>
                    <a:pt x="102" y="223"/>
                  </a:cubicBezTo>
                  <a:cubicBezTo>
                    <a:pt x="102" y="223"/>
                    <a:pt x="102" y="223"/>
                    <a:pt x="101" y="223"/>
                  </a:cubicBezTo>
                  <a:cubicBezTo>
                    <a:pt x="101" y="223"/>
                    <a:pt x="101" y="222"/>
                    <a:pt x="101" y="222"/>
                  </a:cubicBezTo>
                  <a:cubicBezTo>
                    <a:pt x="101" y="222"/>
                    <a:pt x="100" y="222"/>
                    <a:pt x="100" y="222"/>
                  </a:cubicBezTo>
                  <a:cubicBezTo>
                    <a:pt x="100" y="222"/>
                    <a:pt x="100" y="222"/>
                    <a:pt x="100" y="221"/>
                  </a:cubicBezTo>
                  <a:cubicBezTo>
                    <a:pt x="99" y="221"/>
                    <a:pt x="99" y="221"/>
                    <a:pt x="99" y="221"/>
                  </a:cubicBezTo>
                  <a:cubicBezTo>
                    <a:pt x="99" y="221"/>
                    <a:pt x="99" y="221"/>
                    <a:pt x="98" y="220"/>
                  </a:cubicBezTo>
                  <a:cubicBezTo>
                    <a:pt x="98" y="220"/>
                    <a:pt x="98" y="220"/>
                    <a:pt x="98" y="220"/>
                  </a:cubicBezTo>
                  <a:cubicBezTo>
                    <a:pt x="98" y="220"/>
                    <a:pt x="97" y="220"/>
                    <a:pt x="97" y="220"/>
                  </a:cubicBezTo>
                  <a:cubicBezTo>
                    <a:pt x="97" y="220"/>
                    <a:pt x="97" y="220"/>
                    <a:pt x="97" y="220"/>
                  </a:cubicBezTo>
                  <a:cubicBezTo>
                    <a:pt x="96" y="219"/>
                    <a:pt x="96" y="219"/>
                    <a:pt x="96" y="218"/>
                  </a:cubicBezTo>
                  <a:cubicBezTo>
                    <a:pt x="96" y="218"/>
                    <a:pt x="95" y="218"/>
                    <a:pt x="95" y="218"/>
                  </a:cubicBezTo>
                  <a:cubicBezTo>
                    <a:pt x="95" y="218"/>
                    <a:pt x="95" y="218"/>
                    <a:pt x="95" y="218"/>
                  </a:cubicBezTo>
                  <a:cubicBezTo>
                    <a:pt x="95" y="218"/>
                    <a:pt x="94" y="218"/>
                    <a:pt x="94" y="218"/>
                  </a:cubicBezTo>
                  <a:cubicBezTo>
                    <a:pt x="94" y="217"/>
                    <a:pt x="94" y="217"/>
                    <a:pt x="93" y="217"/>
                  </a:cubicBezTo>
                  <a:cubicBezTo>
                    <a:pt x="93" y="217"/>
                    <a:pt x="93" y="217"/>
                    <a:pt x="93" y="217"/>
                  </a:cubicBezTo>
                  <a:cubicBezTo>
                    <a:pt x="93" y="217"/>
                    <a:pt x="92" y="216"/>
                    <a:pt x="92" y="216"/>
                  </a:cubicBezTo>
                  <a:cubicBezTo>
                    <a:pt x="92" y="216"/>
                    <a:pt x="92" y="216"/>
                    <a:pt x="92" y="216"/>
                  </a:cubicBezTo>
                  <a:cubicBezTo>
                    <a:pt x="91" y="216"/>
                    <a:pt x="91" y="215"/>
                    <a:pt x="91" y="215"/>
                  </a:cubicBezTo>
                  <a:cubicBezTo>
                    <a:pt x="91" y="215"/>
                    <a:pt x="91" y="215"/>
                    <a:pt x="90" y="215"/>
                  </a:cubicBezTo>
                  <a:cubicBezTo>
                    <a:pt x="90" y="215"/>
                    <a:pt x="90" y="215"/>
                    <a:pt x="90" y="214"/>
                  </a:cubicBezTo>
                  <a:cubicBezTo>
                    <a:pt x="90" y="214"/>
                    <a:pt x="89" y="214"/>
                    <a:pt x="89" y="214"/>
                  </a:cubicBezTo>
                  <a:cubicBezTo>
                    <a:pt x="89" y="214"/>
                    <a:pt x="89" y="214"/>
                    <a:pt x="89" y="214"/>
                  </a:cubicBezTo>
                  <a:cubicBezTo>
                    <a:pt x="89" y="213"/>
                    <a:pt x="88" y="213"/>
                    <a:pt x="88" y="213"/>
                  </a:cubicBezTo>
                  <a:cubicBezTo>
                    <a:pt x="88" y="213"/>
                    <a:pt x="87" y="213"/>
                    <a:pt x="87" y="212"/>
                  </a:cubicBezTo>
                  <a:cubicBezTo>
                    <a:pt x="87" y="212"/>
                    <a:pt x="87" y="212"/>
                    <a:pt x="86" y="212"/>
                  </a:cubicBezTo>
                  <a:cubicBezTo>
                    <a:pt x="86" y="212"/>
                    <a:pt x="86" y="212"/>
                    <a:pt x="86" y="212"/>
                  </a:cubicBezTo>
                  <a:cubicBezTo>
                    <a:pt x="86" y="212"/>
                    <a:pt x="86" y="212"/>
                    <a:pt x="85" y="212"/>
                  </a:cubicBezTo>
                  <a:cubicBezTo>
                    <a:pt x="85" y="211"/>
                    <a:pt x="85" y="211"/>
                    <a:pt x="85" y="210"/>
                  </a:cubicBezTo>
                  <a:cubicBezTo>
                    <a:pt x="84" y="210"/>
                    <a:pt x="84" y="210"/>
                    <a:pt x="84" y="210"/>
                  </a:cubicBezTo>
                  <a:cubicBezTo>
                    <a:pt x="84" y="210"/>
                    <a:pt x="84" y="210"/>
                    <a:pt x="84" y="210"/>
                  </a:cubicBezTo>
                  <a:cubicBezTo>
                    <a:pt x="83" y="210"/>
                    <a:pt x="83" y="210"/>
                    <a:pt x="83" y="210"/>
                  </a:cubicBezTo>
                  <a:cubicBezTo>
                    <a:pt x="83" y="209"/>
                    <a:pt x="82" y="209"/>
                    <a:pt x="82" y="209"/>
                  </a:cubicBezTo>
                  <a:cubicBezTo>
                    <a:pt x="82" y="209"/>
                    <a:pt x="82" y="209"/>
                    <a:pt x="82" y="209"/>
                  </a:cubicBezTo>
                  <a:cubicBezTo>
                    <a:pt x="81" y="208"/>
                    <a:pt x="81" y="208"/>
                    <a:pt x="81" y="208"/>
                  </a:cubicBezTo>
                  <a:cubicBezTo>
                    <a:pt x="81" y="208"/>
                    <a:pt x="81" y="208"/>
                    <a:pt x="80" y="208"/>
                  </a:cubicBezTo>
                  <a:cubicBezTo>
                    <a:pt x="80" y="208"/>
                    <a:pt x="80" y="207"/>
                    <a:pt x="80" y="207"/>
                  </a:cubicBezTo>
                  <a:cubicBezTo>
                    <a:pt x="80" y="207"/>
                    <a:pt x="79" y="207"/>
                    <a:pt x="79" y="207"/>
                  </a:cubicBezTo>
                  <a:cubicBezTo>
                    <a:pt x="79" y="207"/>
                    <a:pt x="79" y="206"/>
                    <a:pt x="79" y="206"/>
                  </a:cubicBezTo>
                  <a:cubicBezTo>
                    <a:pt x="79" y="206"/>
                    <a:pt x="78" y="206"/>
                    <a:pt x="78" y="206"/>
                  </a:cubicBezTo>
                  <a:cubicBezTo>
                    <a:pt x="78" y="206"/>
                    <a:pt x="78" y="206"/>
                    <a:pt x="77" y="205"/>
                  </a:cubicBezTo>
                  <a:cubicBezTo>
                    <a:pt x="77" y="205"/>
                    <a:pt x="77" y="205"/>
                    <a:pt x="77" y="205"/>
                  </a:cubicBezTo>
                  <a:cubicBezTo>
                    <a:pt x="77" y="205"/>
                    <a:pt x="76" y="205"/>
                    <a:pt x="76" y="205"/>
                  </a:cubicBezTo>
                  <a:cubicBezTo>
                    <a:pt x="76" y="205"/>
                    <a:pt x="76" y="205"/>
                    <a:pt x="76" y="205"/>
                  </a:cubicBezTo>
                  <a:cubicBezTo>
                    <a:pt x="75" y="204"/>
                    <a:pt x="75" y="204"/>
                    <a:pt x="75" y="203"/>
                  </a:cubicBezTo>
                  <a:cubicBezTo>
                    <a:pt x="75" y="203"/>
                    <a:pt x="74" y="203"/>
                    <a:pt x="74" y="203"/>
                  </a:cubicBezTo>
                  <a:cubicBezTo>
                    <a:pt x="74" y="203"/>
                    <a:pt x="74" y="203"/>
                    <a:pt x="74" y="203"/>
                  </a:cubicBezTo>
                  <a:cubicBezTo>
                    <a:pt x="72" y="203"/>
                    <a:pt x="71" y="203"/>
                    <a:pt x="69" y="203"/>
                  </a:cubicBezTo>
                  <a:cubicBezTo>
                    <a:pt x="64" y="201"/>
                    <a:pt x="58" y="202"/>
                    <a:pt x="54" y="201"/>
                  </a:cubicBezTo>
                  <a:cubicBezTo>
                    <a:pt x="53" y="201"/>
                    <a:pt x="52" y="201"/>
                    <a:pt x="51" y="201"/>
                  </a:cubicBezTo>
                  <a:cubicBezTo>
                    <a:pt x="51" y="201"/>
                    <a:pt x="51" y="200"/>
                    <a:pt x="51" y="200"/>
                  </a:cubicBezTo>
                  <a:cubicBezTo>
                    <a:pt x="50" y="200"/>
                    <a:pt x="49" y="200"/>
                    <a:pt x="48" y="200"/>
                  </a:cubicBezTo>
                  <a:cubicBezTo>
                    <a:pt x="48" y="200"/>
                    <a:pt x="48" y="200"/>
                    <a:pt x="48" y="200"/>
                  </a:cubicBezTo>
                  <a:cubicBezTo>
                    <a:pt x="47" y="200"/>
                    <a:pt x="46" y="200"/>
                    <a:pt x="45" y="200"/>
                  </a:cubicBezTo>
                  <a:cubicBezTo>
                    <a:pt x="45" y="200"/>
                    <a:pt x="45" y="200"/>
                    <a:pt x="45" y="200"/>
                  </a:cubicBezTo>
                  <a:cubicBezTo>
                    <a:pt x="44" y="199"/>
                    <a:pt x="45" y="191"/>
                    <a:pt x="45" y="189"/>
                  </a:cubicBezTo>
                  <a:cubicBezTo>
                    <a:pt x="44" y="189"/>
                    <a:pt x="44" y="187"/>
                    <a:pt x="44" y="185"/>
                  </a:cubicBezTo>
                  <a:cubicBezTo>
                    <a:pt x="44" y="182"/>
                    <a:pt x="44" y="178"/>
                    <a:pt x="44" y="175"/>
                  </a:cubicBezTo>
                  <a:cubicBezTo>
                    <a:pt x="44" y="175"/>
                    <a:pt x="44" y="174"/>
                    <a:pt x="43" y="174"/>
                  </a:cubicBezTo>
                  <a:cubicBezTo>
                    <a:pt x="43" y="174"/>
                    <a:pt x="43" y="174"/>
                    <a:pt x="43" y="174"/>
                  </a:cubicBezTo>
                  <a:cubicBezTo>
                    <a:pt x="43" y="174"/>
                    <a:pt x="42" y="174"/>
                    <a:pt x="42" y="173"/>
                  </a:cubicBezTo>
                  <a:cubicBezTo>
                    <a:pt x="42" y="173"/>
                    <a:pt x="42" y="173"/>
                    <a:pt x="42" y="173"/>
                  </a:cubicBezTo>
                  <a:cubicBezTo>
                    <a:pt x="42" y="173"/>
                    <a:pt x="41" y="173"/>
                    <a:pt x="41" y="173"/>
                  </a:cubicBezTo>
                  <a:cubicBezTo>
                    <a:pt x="41" y="173"/>
                    <a:pt x="41" y="173"/>
                    <a:pt x="41" y="173"/>
                  </a:cubicBezTo>
                  <a:cubicBezTo>
                    <a:pt x="40" y="172"/>
                    <a:pt x="40" y="172"/>
                    <a:pt x="40" y="172"/>
                  </a:cubicBezTo>
                  <a:cubicBezTo>
                    <a:pt x="40" y="172"/>
                    <a:pt x="39" y="172"/>
                    <a:pt x="39" y="172"/>
                  </a:cubicBezTo>
                  <a:cubicBezTo>
                    <a:pt x="39" y="172"/>
                    <a:pt x="39" y="171"/>
                    <a:pt x="39" y="171"/>
                  </a:cubicBezTo>
                  <a:cubicBezTo>
                    <a:pt x="39" y="171"/>
                    <a:pt x="39" y="171"/>
                    <a:pt x="38" y="171"/>
                  </a:cubicBezTo>
                  <a:cubicBezTo>
                    <a:pt x="38" y="171"/>
                    <a:pt x="38" y="170"/>
                    <a:pt x="38" y="170"/>
                  </a:cubicBezTo>
                  <a:cubicBezTo>
                    <a:pt x="38" y="170"/>
                    <a:pt x="37" y="170"/>
                    <a:pt x="37" y="170"/>
                  </a:cubicBezTo>
                  <a:cubicBezTo>
                    <a:pt x="37" y="170"/>
                    <a:pt x="37" y="170"/>
                    <a:pt x="36" y="169"/>
                  </a:cubicBezTo>
                  <a:cubicBezTo>
                    <a:pt x="36" y="169"/>
                    <a:pt x="36" y="169"/>
                    <a:pt x="36" y="169"/>
                  </a:cubicBezTo>
                  <a:cubicBezTo>
                    <a:pt x="36" y="169"/>
                    <a:pt x="35" y="169"/>
                    <a:pt x="35" y="168"/>
                  </a:cubicBezTo>
                  <a:cubicBezTo>
                    <a:pt x="35" y="168"/>
                    <a:pt x="35" y="168"/>
                    <a:pt x="35" y="168"/>
                  </a:cubicBezTo>
                  <a:cubicBezTo>
                    <a:pt x="35" y="168"/>
                    <a:pt x="35" y="168"/>
                    <a:pt x="35" y="168"/>
                  </a:cubicBezTo>
                  <a:cubicBezTo>
                    <a:pt x="34" y="168"/>
                    <a:pt x="34" y="168"/>
                    <a:pt x="34" y="168"/>
                  </a:cubicBezTo>
                  <a:cubicBezTo>
                    <a:pt x="34" y="168"/>
                    <a:pt x="33" y="167"/>
                    <a:pt x="33" y="167"/>
                  </a:cubicBezTo>
                  <a:cubicBezTo>
                    <a:pt x="33" y="167"/>
                    <a:pt x="33" y="167"/>
                    <a:pt x="33" y="167"/>
                  </a:cubicBezTo>
                  <a:cubicBezTo>
                    <a:pt x="32" y="167"/>
                    <a:pt x="32" y="166"/>
                    <a:pt x="32" y="166"/>
                  </a:cubicBezTo>
                  <a:cubicBezTo>
                    <a:pt x="32" y="166"/>
                    <a:pt x="31" y="166"/>
                    <a:pt x="31" y="166"/>
                  </a:cubicBezTo>
                  <a:cubicBezTo>
                    <a:pt x="31" y="166"/>
                    <a:pt x="31" y="166"/>
                    <a:pt x="31" y="166"/>
                  </a:cubicBezTo>
                  <a:cubicBezTo>
                    <a:pt x="31" y="166"/>
                    <a:pt x="30" y="165"/>
                    <a:pt x="30" y="165"/>
                  </a:cubicBezTo>
                  <a:cubicBezTo>
                    <a:pt x="30" y="165"/>
                    <a:pt x="30" y="165"/>
                    <a:pt x="30" y="165"/>
                  </a:cubicBezTo>
                  <a:cubicBezTo>
                    <a:pt x="30" y="165"/>
                    <a:pt x="29" y="165"/>
                    <a:pt x="29" y="165"/>
                  </a:cubicBezTo>
                  <a:cubicBezTo>
                    <a:pt x="29" y="164"/>
                    <a:pt x="29" y="164"/>
                    <a:pt x="28" y="164"/>
                  </a:cubicBezTo>
                  <a:cubicBezTo>
                    <a:pt x="28" y="164"/>
                    <a:pt x="28" y="164"/>
                    <a:pt x="28" y="164"/>
                  </a:cubicBezTo>
                  <a:cubicBezTo>
                    <a:pt x="28" y="163"/>
                    <a:pt x="28" y="163"/>
                    <a:pt x="28" y="163"/>
                  </a:cubicBezTo>
                  <a:cubicBezTo>
                    <a:pt x="27" y="163"/>
                    <a:pt x="27" y="163"/>
                    <a:pt x="27" y="163"/>
                  </a:cubicBezTo>
                  <a:cubicBezTo>
                    <a:pt x="27" y="163"/>
                    <a:pt x="26" y="162"/>
                    <a:pt x="26" y="162"/>
                  </a:cubicBezTo>
                  <a:cubicBezTo>
                    <a:pt x="26" y="162"/>
                    <a:pt x="26" y="162"/>
                    <a:pt x="26" y="162"/>
                  </a:cubicBezTo>
                  <a:cubicBezTo>
                    <a:pt x="25" y="162"/>
                    <a:pt x="25" y="161"/>
                    <a:pt x="25" y="161"/>
                  </a:cubicBezTo>
                  <a:cubicBezTo>
                    <a:pt x="25" y="161"/>
                    <a:pt x="24" y="161"/>
                    <a:pt x="24" y="161"/>
                  </a:cubicBezTo>
                  <a:cubicBezTo>
                    <a:pt x="24" y="161"/>
                    <a:pt x="24" y="161"/>
                    <a:pt x="24" y="160"/>
                  </a:cubicBezTo>
                  <a:cubicBezTo>
                    <a:pt x="24" y="160"/>
                    <a:pt x="23" y="160"/>
                    <a:pt x="23" y="160"/>
                  </a:cubicBezTo>
                  <a:cubicBezTo>
                    <a:pt x="23" y="160"/>
                    <a:pt x="23" y="160"/>
                    <a:pt x="23" y="160"/>
                  </a:cubicBezTo>
                  <a:cubicBezTo>
                    <a:pt x="23" y="160"/>
                    <a:pt x="22" y="160"/>
                    <a:pt x="22" y="160"/>
                  </a:cubicBezTo>
                  <a:cubicBezTo>
                    <a:pt x="22" y="160"/>
                    <a:pt x="22" y="159"/>
                    <a:pt x="22" y="159"/>
                  </a:cubicBezTo>
                  <a:cubicBezTo>
                    <a:pt x="21" y="159"/>
                    <a:pt x="21" y="159"/>
                    <a:pt x="21" y="159"/>
                  </a:cubicBezTo>
                  <a:cubicBezTo>
                    <a:pt x="21" y="159"/>
                    <a:pt x="21" y="158"/>
                    <a:pt x="20" y="158"/>
                  </a:cubicBezTo>
                  <a:cubicBezTo>
                    <a:pt x="20" y="158"/>
                    <a:pt x="20" y="158"/>
                    <a:pt x="20" y="158"/>
                  </a:cubicBezTo>
                  <a:cubicBezTo>
                    <a:pt x="20" y="158"/>
                    <a:pt x="20" y="158"/>
                    <a:pt x="20" y="158"/>
                  </a:cubicBezTo>
                  <a:cubicBezTo>
                    <a:pt x="19" y="158"/>
                    <a:pt x="19" y="157"/>
                    <a:pt x="19" y="157"/>
                  </a:cubicBezTo>
                  <a:cubicBezTo>
                    <a:pt x="18" y="157"/>
                    <a:pt x="18" y="157"/>
                    <a:pt x="18" y="157"/>
                  </a:cubicBezTo>
                  <a:cubicBezTo>
                    <a:pt x="18" y="157"/>
                    <a:pt x="18" y="157"/>
                    <a:pt x="18" y="157"/>
                  </a:cubicBezTo>
                  <a:cubicBezTo>
                    <a:pt x="17" y="156"/>
                    <a:pt x="17" y="156"/>
                    <a:pt x="17" y="156"/>
                  </a:cubicBezTo>
                  <a:cubicBezTo>
                    <a:pt x="17" y="156"/>
                    <a:pt x="16" y="156"/>
                    <a:pt x="16" y="156"/>
                  </a:cubicBezTo>
                  <a:cubicBezTo>
                    <a:pt x="16" y="155"/>
                    <a:pt x="16" y="155"/>
                    <a:pt x="16" y="155"/>
                  </a:cubicBezTo>
                  <a:cubicBezTo>
                    <a:pt x="16" y="155"/>
                    <a:pt x="15" y="155"/>
                    <a:pt x="15" y="154"/>
                  </a:cubicBezTo>
                  <a:cubicBezTo>
                    <a:pt x="15" y="154"/>
                    <a:pt x="15" y="153"/>
                    <a:pt x="14" y="152"/>
                  </a:cubicBezTo>
                  <a:cubicBezTo>
                    <a:pt x="14" y="152"/>
                    <a:pt x="14" y="152"/>
                    <a:pt x="14" y="152"/>
                  </a:cubicBezTo>
                  <a:cubicBezTo>
                    <a:pt x="14" y="152"/>
                    <a:pt x="13" y="151"/>
                    <a:pt x="13" y="151"/>
                  </a:cubicBezTo>
                  <a:cubicBezTo>
                    <a:pt x="13" y="151"/>
                    <a:pt x="13" y="150"/>
                    <a:pt x="13" y="150"/>
                  </a:cubicBezTo>
                  <a:cubicBezTo>
                    <a:pt x="13" y="150"/>
                    <a:pt x="12" y="149"/>
                    <a:pt x="12" y="149"/>
                  </a:cubicBezTo>
                  <a:cubicBezTo>
                    <a:pt x="12" y="149"/>
                    <a:pt x="12" y="149"/>
                    <a:pt x="12" y="149"/>
                  </a:cubicBezTo>
                  <a:cubicBezTo>
                    <a:pt x="11" y="148"/>
                    <a:pt x="11" y="147"/>
                    <a:pt x="11" y="146"/>
                  </a:cubicBezTo>
                  <a:cubicBezTo>
                    <a:pt x="11" y="146"/>
                    <a:pt x="10" y="146"/>
                    <a:pt x="10" y="146"/>
                  </a:cubicBezTo>
                  <a:cubicBezTo>
                    <a:pt x="10" y="146"/>
                    <a:pt x="10" y="146"/>
                    <a:pt x="10" y="145"/>
                  </a:cubicBezTo>
                  <a:cubicBezTo>
                    <a:pt x="10" y="145"/>
                    <a:pt x="10" y="145"/>
                    <a:pt x="10" y="145"/>
                  </a:cubicBezTo>
                  <a:cubicBezTo>
                    <a:pt x="10" y="145"/>
                    <a:pt x="10" y="145"/>
                    <a:pt x="10" y="145"/>
                  </a:cubicBezTo>
                  <a:cubicBezTo>
                    <a:pt x="10" y="145"/>
                    <a:pt x="9" y="144"/>
                    <a:pt x="9" y="144"/>
                  </a:cubicBezTo>
                  <a:cubicBezTo>
                    <a:pt x="9" y="144"/>
                    <a:pt x="9" y="144"/>
                    <a:pt x="9" y="144"/>
                  </a:cubicBezTo>
                  <a:cubicBezTo>
                    <a:pt x="9" y="144"/>
                    <a:pt x="9" y="144"/>
                    <a:pt x="9" y="144"/>
                  </a:cubicBezTo>
                  <a:cubicBezTo>
                    <a:pt x="9" y="143"/>
                    <a:pt x="9" y="143"/>
                    <a:pt x="9" y="143"/>
                  </a:cubicBezTo>
                  <a:cubicBezTo>
                    <a:pt x="9" y="143"/>
                    <a:pt x="8" y="143"/>
                    <a:pt x="8" y="143"/>
                  </a:cubicBezTo>
                  <a:cubicBezTo>
                    <a:pt x="8" y="142"/>
                    <a:pt x="8" y="142"/>
                    <a:pt x="8" y="142"/>
                  </a:cubicBezTo>
                  <a:cubicBezTo>
                    <a:pt x="8" y="142"/>
                    <a:pt x="8" y="142"/>
                    <a:pt x="8" y="142"/>
                  </a:cubicBezTo>
                  <a:cubicBezTo>
                    <a:pt x="7" y="141"/>
                    <a:pt x="8" y="141"/>
                    <a:pt x="7" y="141"/>
                  </a:cubicBezTo>
                  <a:cubicBezTo>
                    <a:pt x="8" y="137"/>
                    <a:pt x="10" y="133"/>
                    <a:pt x="11" y="129"/>
                  </a:cubicBezTo>
                  <a:cubicBezTo>
                    <a:pt x="11" y="129"/>
                    <a:pt x="11" y="129"/>
                    <a:pt x="11" y="128"/>
                  </a:cubicBezTo>
                  <a:cubicBezTo>
                    <a:pt x="11" y="128"/>
                    <a:pt x="11" y="128"/>
                    <a:pt x="12" y="128"/>
                  </a:cubicBezTo>
                  <a:cubicBezTo>
                    <a:pt x="12" y="128"/>
                    <a:pt x="12" y="128"/>
                    <a:pt x="12" y="127"/>
                  </a:cubicBezTo>
                  <a:cubicBezTo>
                    <a:pt x="12" y="127"/>
                    <a:pt x="12" y="127"/>
                    <a:pt x="12" y="127"/>
                  </a:cubicBezTo>
                  <a:cubicBezTo>
                    <a:pt x="12" y="127"/>
                    <a:pt x="12" y="127"/>
                    <a:pt x="12" y="126"/>
                  </a:cubicBezTo>
                  <a:cubicBezTo>
                    <a:pt x="12" y="126"/>
                    <a:pt x="12" y="126"/>
                    <a:pt x="12" y="126"/>
                  </a:cubicBezTo>
                  <a:cubicBezTo>
                    <a:pt x="12" y="126"/>
                    <a:pt x="12" y="125"/>
                    <a:pt x="12" y="125"/>
                  </a:cubicBezTo>
                  <a:cubicBezTo>
                    <a:pt x="12" y="125"/>
                    <a:pt x="13" y="125"/>
                    <a:pt x="13" y="125"/>
                  </a:cubicBezTo>
                  <a:cubicBezTo>
                    <a:pt x="13" y="124"/>
                    <a:pt x="13" y="123"/>
                    <a:pt x="13" y="122"/>
                  </a:cubicBezTo>
                  <a:cubicBezTo>
                    <a:pt x="14" y="121"/>
                    <a:pt x="15" y="120"/>
                    <a:pt x="15" y="118"/>
                  </a:cubicBezTo>
                  <a:cubicBezTo>
                    <a:pt x="13" y="117"/>
                    <a:pt x="13" y="116"/>
                    <a:pt x="12" y="115"/>
                  </a:cubicBezTo>
                  <a:cubicBezTo>
                    <a:pt x="10" y="113"/>
                    <a:pt x="9" y="112"/>
                    <a:pt x="7" y="110"/>
                  </a:cubicBezTo>
                  <a:cubicBezTo>
                    <a:pt x="7" y="110"/>
                    <a:pt x="7" y="110"/>
                    <a:pt x="7" y="109"/>
                  </a:cubicBezTo>
                  <a:cubicBezTo>
                    <a:pt x="7" y="109"/>
                    <a:pt x="6" y="109"/>
                    <a:pt x="6" y="109"/>
                  </a:cubicBezTo>
                  <a:cubicBezTo>
                    <a:pt x="5" y="108"/>
                    <a:pt x="5" y="107"/>
                    <a:pt x="4" y="106"/>
                  </a:cubicBezTo>
                  <a:cubicBezTo>
                    <a:pt x="2" y="105"/>
                    <a:pt x="0" y="104"/>
                    <a:pt x="0" y="101"/>
                  </a:cubicBezTo>
                  <a:cubicBezTo>
                    <a:pt x="1" y="100"/>
                    <a:pt x="3" y="99"/>
                    <a:pt x="4" y="97"/>
                  </a:cubicBezTo>
                  <a:cubicBezTo>
                    <a:pt x="4" y="97"/>
                    <a:pt x="5" y="97"/>
                    <a:pt x="5" y="96"/>
                  </a:cubicBezTo>
                  <a:cubicBezTo>
                    <a:pt x="5" y="96"/>
                    <a:pt x="5" y="96"/>
                    <a:pt x="5" y="96"/>
                  </a:cubicBezTo>
                  <a:cubicBezTo>
                    <a:pt x="6" y="96"/>
                    <a:pt x="6" y="96"/>
                    <a:pt x="6" y="96"/>
                  </a:cubicBezTo>
                  <a:cubicBezTo>
                    <a:pt x="7" y="95"/>
                    <a:pt x="8" y="94"/>
                    <a:pt x="8" y="93"/>
                  </a:cubicBezTo>
                  <a:cubicBezTo>
                    <a:pt x="9" y="93"/>
                    <a:pt x="9" y="93"/>
                    <a:pt x="10" y="92"/>
                  </a:cubicBezTo>
                  <a:cubicBezTo>
                    <a:pt x="10" y="92"/>
                    <a:pt x="10" y="92"/>
                    <a:pt x="10" y="92"/>
                  </a:cubicBezTo>
                  <a:cubicBezTo>
                    <a:pt x="11" y="91"/>
                    <a:pt x="11" y="91"/>
                    <a:pt x="11" y="91"/>
                  </a:cubicBezTo>
                  <a:cubicBezTo>
                    <a:pt x="11" y="91"/>
                    <a:pt x="11" y="90"/>
                    <a:pt x="11" y="89"/>
                  </a:cubicBezTo>
                  <a:cubicBezTo>
                    <a:pt x="11" y="89"/>
                    <a:pt x="11" y="89"/>
                    <a:pt x="11" y="89"/>
                  </a:cubicBezTo>
                  <a:cubicBezTo>
                    <a:pt x="11" y="89"/>
                    <a:pt x="11" y="88"/>
                    <a:pt x="11" y="87"/>
                  </a:cubicBezTo>
                  <a:cubicBezTo>
                    <a:pt x="10" y="87"/>
                    <a:pt x="10" y="87"/>
                    <a:pt x="10" y="87"/>
                  </a:cubicBezTo>
                  <a:cubicBezTo>
                    <a:pt x="10" y="87"/>
                    <a:pt x="10" y="86"/>
                    <a:pt x="10" y="86"/>
                  </a:cubicBezTo>
                  <a:cubicBezTo>
                    <a:pt x="10" y="86"/>
                    <a:pt x="10" y="86"/>
                    <a:pt x="10" y="86"/>
                  </a:cubicBezTo>
                  <a:cubicBezTo>
                    <a:pt x="10" y="86"/>
                    <a:pt x="10" y="85"/>
                    <a:pt x="10" y="85"/>
                  </a:cubicBezTo>
                  <a:cubicBezTo>
                    <a:pt x="10" y="85"/>
                    <a:pt x="10" y="85"/>
                    <a:pt x="9" y="85"/>
                  </a:cubicBezTo>
                  <a:cubicBezTo>
                    <a:pt x="9" y="84"/>
                    <a:pt x="9" y="83"/>
                    <a:pt x="9" y="81"/>
                  </a:cubicBezTo>
                  <a:cubicBezTo>
                    <a:pt x="9" y="81"/>
                    <a:pt x="9" y="81"/>
                    <a:pt x="8" y="81"/>
                  </a:cubicBezTo>
                  <a:cubicBezTo>
                    <a:pt x="8" y="81"/>
                    <a:pt x="8" y="81"/>
                    <a:pt x="8" y="80"/>
                  </a:cubicBezTo>
                  <a:cubicBezTo>
                    <a:pt x="8" y="80"/>
                    <a:pt x="8" y="80"/>
                    <a:pt x="8" y="80"/>
                  </a:cubicBezTo>
                  <a:cubicBezTo>
                    <a:pt x="8" y="80"/>
                    <a:pt x="8" y="79"/>
                    <a:pt x="8" y="78"/>
                  </a:cubicBezTo>
                  <a:cubicBezTo>
                    <a:pt x="8" y="78"/>
                    <a:pt x="8" y="78"/>
                    <a:pt x="7" y="78"/>
                  </a:cubicBezTo>
                  <a:cubicBezTo>
                    <a:pt x="7" y="78"/>
                    <a:pt x="7" y="77"/>
                    <a:pt x="7" y="77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7" y="77"/>
                    <a:pt x="7" y="76"/>
                    <a:pt x="7" y="76"/>
                  </a:cubicBezTo>
                  <a:cubicBezTo>
                    <a:pt x="7" y="76"/>
                    <a:pt x="7" y="76"/>
                    <a:pt x="7" y="76"/>
                  </a:cubicBezTo>
                  <a:cubicBezTo>
                    <a:pt x="6" y="75"/>
                    <a:pt x="6" y="73"/>
                    <a:pt x="6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5" y="71"/>
                    <a:pt x="5" y="69"/>
                    <a:pt x="5" y="68"/>
                  </a:cubicBezTo>
                  <a:cubicBezTo>
                    <a:pt x="4" y="68"/>
                    <a:pt x="4" y="68"/>
                    <a:pt x="4" y="68"/>
                  </a:cubicBezTo>
                  <a:cubicBezTo>
                    <a:pt x="4" y="67"/>
                    <a:pt x="4" y="67"/>
                    <a:pt x="4" y="66"/>
                  </a:cubicBezTo>
                  <a:cubicBezTo>
                    <a:pt x="3" y="64"/>
                    <a:pt x="2" y="62"/>
                    <a:pt x="2" y="59"/>
                  </a:cubicBezTo>
                  <a:cubicBezTo>
                    <a:pt x="3" y="58"/>
                    <a:pt x="3" y="57"/>
                    <a:pt x="4" y="56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4" y="56"/>
                    <a:pt x="4" y="56"/>
                    <a:pt x="5" y="56"/>
                  </a:cubicBezTo>
                  <a:cubicBezTo>
                    <a:pt x="5" y="55"/>
                    <a:pt x="5" y="55"/>
                    <a:pt x="5" y="54"/>
                  </a:cubicBezTo>
                  <a:cubicBezTo>
                    <a:pt x="5" y="54"/>
                    <a:pt x="5" y="54"/>
                    <a:pt x="6" y="54"/>
                  </a:cubicBezTo>
                  <a:cubicBezTo>
                    <a:pt x="6" y="54"/>
                    <a:pt x="6" y="53"/>
                    <a:pt x="6" y="53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6" y="52"/>
                    <a:pt x="7" y="52"/>
                    <a:pt x="7" y="52"/>
                  </a:cubicBezTo>
                  <a:cubicBezTo>
                    <a:pt x="7" y="52"/>
                    <a:pt x="7" y="51"/>
                    <a:pt x="7" y="51"/>
                  </a:cubicBezTo>
                  <a:cubicBezTo>
                    <a:pt x="8" y="51"/>
                    <a:pt x="8" y="50"/>
                    <a:pt x="8" y="50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8" y="50"/>
                    <a:pt x="8" y="49"/>
                    <a:pt x="8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48"/>
                    <a:pt x="9" y="48"/>
                    <a:pt x="9" y="47"/>
                  </a:cubicBezTo>
                  <a:cubicBezTo>
                    <a:pt x="10" y="47"/>
                    <a:pt x="10" y="47"/>
                    <a:pt x="10" y="47"/>
                  </a:cubicBezTo>
                  <a:cubicBezTo>
                    <a:pt x="10" y="47"/>
                    <a:pt x="10" y="46"/>
                    <a:pt x="10" y="46"/>
                  </a:cubicBezTo>
                  <a:cubicBezTo>
                    <a:pt x="10" y="46"/>
                    <a:pt x="11" y="46"/>
                    <a:pt x="11" y="46"/>
                  </a:cubicBezTo>
                  <a:cubicBezTo>
                    <a:pt x="11" y="45"/>
                    <a:pt x="11" y="45"/>
                    <a:pt x="11" y="44"/>
                  </a:cubicBezTo>
                  <a:cubicBezTo>
                    <a:pt x="11" y="44"/>
                    <a:pt x="12" y="44"/>
                    <a:pt x="12" y="44"/>
                  </a:cubicBezTo>
                  <a:cubicBezTo>
                    <a:pt x="12" y="44"/>
                    <a:pt x="12" y="44"/>
                    <a:pt x="12" y="43"/>
                  </a:cubicBezTo>
                  <a:cubicBezTo>
                    <a:pt x="12" y="43"/>
                    <a:pt x="12" y="43"/>
                    <a:pt x="13" y="43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41"/>
                    <a:pt x="14" y="41"/>
                    <a:pt x="14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5" y="40"/>
                    <a:pt x="15" y="39"/>
                    <a:pt x="15" y="39"/>
                  </a:cubicBezTo>
                  <a:cubicBezTo>
                    <a:pt x="15" y="39"/>
                    <a:pt x="15" y="38"/>
                    <a:pt x="15" y="38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6" y="38"/>
                    <a:pt x="16" y="37"/>
                    <a:pt x="16" y="37"/>
                  </a:cubicBezTo>
                  <a:cubicBezTo>
                    <a:pt x="16" y="37"/>
                    <a:pt x="16" y="36"/>
                    <a:pt x="16" y="36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8" y="35"/>
                    <a:pt x="18" y="35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3"/>
                    <a:pt x="18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19" y="33"/>
                    <a:pt x="19" y="32"/>
                    <a:pt x="19" y="32"/>
                  </a:cubicBezTo>
                  <a:cubicBezTo>
                    <a:pt x="20" y="32"/>
                    <a:pt x="21" y="31"/>
                    <a:pt x="21" y="31"/>
                  </a:cubicBezTo>
                  <a:cubicBezTo>
                    <a:pt x="22" y="31"/>
                    <a:pt x="22" y="31"/>
                    <a:pt x="22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3" y="30"/>
                    <a:pt x="23" y="30"/>
                    <a:pt x="24" y="30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5" y="29"/>
                    <a:pt x="25" y="29"/>
                    <a:pt x="26" y="29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7" y="28"/>
                    <a:pt x="27" y="27"/>
                    <a:pt x="28" y="27"/>
                  </a:cubicBezTo>
                  <a:cubicBezTo>
                    <a:pt x="28" y="27"/>
                    <a:pt x="28" y="27"/>
                    <a:pt x="28" y="26"/>
                  </a:cubicBezTo>
                  <a:cubicBezTo>
                    <a:pt x="29" y="26"/>
                    <a:pt x="29" y="26"/>
                    <a:pt x="30" y="26"/>
                  </a:cubicBezTo>
                  <a:cubicBezTo>
                    <a:pt x="30" y="26"/>
                    <a:pt x="30" y="26"/>
                    <a:pt x="30" y="25"/>
                  </a:cubicBezTo>
                  <a:cubicBezTo>
                    <a:pt x="30" y="25"/>
                    <a:pt x="31" y="25"/>
                    <a:pt x="31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25"/>
                    <a:pt x="31" y="25"/>
                    <a:pt x="32" y="25"/>
                  </a:cubicBezTo>
                  <a:cubicBezTo>
                    <a:pt x="32" y="25"/>
                    <a:pt x="32" y="25"/>
                    <a:pt x="32" y="24"/>
                  </a:cubicBezTo>
                  <a:cubicBezTo>
                    <a:pt x="33" y="24"/>
                    <a:pt x="33" y="24"/>
                    <a:pt x="34" y="24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5" y="23"/>
                    <a:pt x="35" y="23"/>
                    <a:pt x="36" y="23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7" y="22"/>
                    <a:pt x="37" y="22"/>
                    <a:pt x="37" y="22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9" y="21"/>
                    <a:pt x="39" y="20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1" y="19"/>
                    <a:pt x="41" y="19"/>
                    <a:pt x="42" y="19"/>
                  </a:cubicBezTo>
                  <a:cubicBezTo>
                    <a:pt x="42" y="19"/>
                    <a:pt x="42" y="19"/>
                    <a:pt x="42" y="18"/>
                  </a:cubicBezTo>
                  <a:cubicBezTo>
                    <a:pt x="42" y="18"/>
                    <a:pt x="43" y="18"/>
                    <a:pt x="43" y="18"/>
                  </a:cubicBezTo>
                  <a:cubicBezTo>
                    <a:pt x="44" y="18"/>
                    <a:pt x="44" y="18"/>
                    <a:pt x="44" y="17"/>
                  </a:cubicBezTo>
                  <a:cubicBezTo>
                    <a:pt x="44" y="17"/>
                    <a:pt x="45" y="17"/>
                    <a:pt x="46" y="17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7" y="16"/>
                    <a:pt x="47" y="16"/>
                    <a:pt x="48" y="16"/>
                  </a:cubicBezTo>
                  <a:cubicBezTo>
                    <a:pt x="48" y="15"/>
                    <a:pt x="48" y="15"/>
                    <a:pt x="48" y="15"/>
                  </a:cubicBezTo>
                  <a:cubicBezTo>
                    <a:pt x="51" y="15"/>
                    <a:pt x="54" y="14"/>
                    <a:pt x="56" y="14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60" y="13"/>
                    <a:pt x="63" y="13"/>
                    <a:pt x="66" y="12"/>
                  </a:cubicBezTo>
                  <a:cubicBezTo>
                    <a:pt x="67" y="12"/>
                    <a:pt x="69" y="12"/>
                    <a:pt x="70" y="11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71" y="13"/>
                    <a:pt x="70" y="12"/>
                    <a:pt x="70" y="13"/>
                  </a:cubicBezTo>
                  <a:cubicBezTo>
                    <a:pt x="71" y="13"/>
                    <a:pt x="72" y="14"/>
                    <a:pt x="72" y="15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3" y="16"/>
                    <a:pt x="74" y="16"/>
                    <a:pt x="75" y="17"/>
                  </a:cubicBezTo>
                  <a:cubicBezTo>
                    <a:pt x="75" y="17"/>
                    <a:pt x="75" y="18"/>
                    <a:pt x="75" y="18"/>
                  </a:cubicBezTo>
                  <a:cubicBezTo>
                    <a:pt x="75" y="18"/>
                    <a:pt x="76" y="19"/>
                    <a:pt x="77" y="19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77" y="21"/>
                    <a:pt x="78" y="21"/>
                    <a:pt x="79" y="22"/>
                  </a:cubicBezTo>
                  <a:cubicBezTo>
                    <a:pt x="79" y="22"/>
                    <a:pt x="79" y="22"/>
                    <a:pt x="79" y="23"/>
                  </a:cubicBezTo>
                  <a:cubicBezTo>
                    <a:pt x="79" y="23"/>
                    <a:pt x="80" y="24"/>
                    <a:pt x="81" y="24"/>
                  </a:cubicBezTo>
                  <a:cubicBezTo>
                    <a:pt x="81" y="25"/>
                    <a:pt x="81" y="25"/>
                    <a:pt x="81" y="25"/>
                  </a:cubicBezTo>
                  <a:cubicBezTo>
                    <a:pt x="82" y="26"/>
                    <a:pt x="82" y="26"/>
                    <a:pt x="83" y="27"/>
                  </a:cubicBezTo>
                  <a:cubicBezTo>
                    <a:pt x="83" y="27"/>
                    <a:pt x="83" y="27"/>
                    <a:pt x="83" y="28"/>
                  </a:cubicBezTo>
                  <a:cubicBezTo>
                    <a:pt x="83" y="28"/>
                    <a:pt x="83" y="28"/>
                    <a:pt x="83" y="28"/>
                  </a:cubicBezTo>
                  <a:cubicBezTo>
                    <a:pt x="84" y="28"/>
                    <a:pt x="84" y="29"/>
                    <a:pt x="85" y="30"/>
                  </a:cubicBezTo>
                  <a:cubicBezTo>
                    <a:pt x="86" y="30"/>
                    <a:pt x="87" y="30"/>
                    <a:pt x="87" y="30"/>
                  </a:cubicBezTo>
                  <a:cubicBezTo>
                    <a:pt x="88" y="30"/>
                    <a:pt x="91" y="30"/>
                    <a:pt x="92" y="30"/>
                  </a:cubicBezTo>
                  <a:cubicBezTo>
                    <a:pt x="92" y="30"/>
                    <a:pt x="92" y="30"/>
                    <a:pt x="92" y="30"/>
                  </a:cubicBezTo>
                  <a:cubicBezTo>
                    <a:pt x="93" y="30"/>
                    <a:pt x="95" y="30"/>
                    <a:pt x="96" y="30"/>
                  </a:cubicBezTo>
                  <a:cubicBezTo>
                    <a:pt x="97" y="30"/>
                    <a:pt x="97" y="31"/>
                    <a:pt x="97" y="31"/>
                  </a:cubicBezTo>
                  <a:cubicBezTo>
                    <a:pt x="98" y="31"/>
                    <a:pt x="100" y="31"/>
                    <a:pt x="101" y="31"/>
                  </a:cubicBezTo>
                  <a:cubicBezTo>
                    <a:pt x="101" y="31"/>
                    <a:pt x="101" y="31"/>
                    <a:pt x="101" y="31"/>
                  </a:cubicBezTo>
                  <a:cubicBezTo>
                    <a:pt x="103" y="31"/>
                    <a:pt x="104" y="31"/>
                    <a:pt x="106" y="31"/>
                  </a:cubicBezTo>
                  <a:cubicBezTo>
                    <a:pt x="106" y="31"/>
                    <a:pt x="106" y="31"/>
                    <a:pt x="106" y="31"/>
                  </a:cubicBezTo>
                  <a:cubicBezTo>
                    <a:pt x="107" y="31"/>
                    <a:pt x="108" y="31"/>
                    <a:pt x="109" y="31"/>
                  </a:cubicBezTo>
                  <a:cubicBezTo>
                    <a:pt x="112" y="32"/>
                    <a:pt x="117" y="33"/>
                    <a:pt x="121" y="34"/>
                  </a:cubicBezTo>
                  <a:cubicBezTo>
                    <a:pt x="122" y="34"/>
                    <a:pt x="124" y="34"/>
                    <a:pt x="125" y="34"/>
                  </a:cubicBezTo>
                  <a:cubicBezTo>
                    <a:pt x="125" y="34"/>
                    <a:pt x="125" y="34"/>
                    <a:pt x="125" y="35"/>
                  </a:cubicBezTo>
                  <a:cubicBezTo>
                    <a:pt x="126" y="35"/>
                    <a:pt x="126" y="35"/>
                    <a:pt x="127" y="35"/>
                  </a:cubicBezTo>
                  <a:cubicBezTo>
                    <a:pt x="128" y="35"/>
                    <a:pt x="132" y="36"/>
                    <a:pt x="134" y="36"/>
                  </a:cubicBezTo>
                  <a:cubicBezTo>
                    <a:pt x="134" y="35"/>
                    <a:pt x="134" y="35"/>
                    <a:pt x="134" y="35"/>
                  </a:cubicBezTo>
                  <a:cubicBezTo>
                    <a:pt x="134" y="35"/>
                    <a:pt x="134" y="35"/>
                    <a:pt x="134" y="35"/>
                  </a:cubicBezTo>
                  <a:cubicBezTo>
                    <a:pt x="134" y="35"/>
                    <a:pt x="134" y="35"/>
                    <a:pt x="134" y="35"/>
                  </a:cubicBezTo>
                  <a:cubicBezTo>
                    <a:pt x="135" y="35"/>
                    <a:pt x="136" y="35"/>
                    <a:pt x="136" y="35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7" y="34"/>
                    <a:pt x="137" y="34"/>
                    <a:pt x="137" y="34"/>
                  </a:cubicBezTo>
                  <a:cubicBezTo>
                    <a:pt x="137" y="34"/>
                    <a:pt x="137" y="34"/>
                    <a:pt x="137" y="34"/>
                  </a:cubicBezTo>
                  <a:cubicBezTo>
                    <a:pt x="138" y="34"/>
                    <a:pt x="139" y="34"/>
                    <a:pt x="139" y="33"/>
                  </a:cubicBezTo>
                  <a:cubicBezTo>
                    <a:pt x="139" y="33"/>
                    <a:pt x="139" y="33"/>
                    <a:pt x="139" y="33"/>
                  </a:cubicBezTo>
                  <a:cubicBezTo>
                    <a:pt x="139" y="33"/>
                    <a:pt x="140" y="33"/>
                    <a:pt x="140" y="33"/>
                  </a:cubicBezTo>
                  <a:cubicBezTo>
                    <a:pt x="140" y="33"/>
                    <a:pt x="140" y="33"/>
                    <a:pt x="140" y="33"/>
                  </a:cubicBezTo>
                  <a:cubicBezTo>
                    <a:pt x="141" y="33"/>
                    <a:pt x="141" y="33"/>
                    <a:pt x="142" y="32"/>
                  </a:cubicBezTo>
                  <a:cubicBezTo>
                    <a:pt x="142" y="32"/>
                    <a:pt x="142" y="32"/>
                    <a:pt x="142" y="32"/>
                  </a:cubicBezTo>
                  <a:cubicBezTo>
                    <a:pt x="142" y="32"/>
                    <a:pt x="143" y="32"/>
                    <a:pt x="143" y="32"/>
                  </a:cubicBezTo>
                  <a:cubicBezTo>
                    <a:pt x="143" y="32"/>
                    <a:pt x="143" y="32"/>
                    <a:pt x="143" y="32"/>
                  </a:cubicBezTo>
                  <a:cubicBezTo>
                    <a:pt x="143" y="32"/>
                    <a:pt x="144" y="32"/>
                    <a:pt x="145" y="31"/>
                  </a:cubicBezTo>
                  <a:cubicBezTo>
                    <a:pt x="145" y="31"/>
                    <a:pt x="145" y="31"/>
                    <a:pt x="145" y="31"/>
                  </a:cubicBezTo>
                  <a:cubicBezTo>
                    <a:pt x="145" y="31"/>
                    <a:pt x="145" y="31"/>
                    <a:pt x="146" y="31"/>
                  </a:cubicBezTo>
                  <a:cubicBezTo>
                    <a:pt x="146" y="31"/>
                    <a:pt x="146" y="31"/>
                    <a:pt x="146" y="31"/>
                  </a:cubicBezTo>
                  <a:cubicBezTo>
                    <a:pt x="146" y="31"/>
                    <a:pt x="147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29"/>
                    <a:pt x="149" y="29"/>
                  </a:cubicBezTo>
                  <a:cubicBezTo>
                    <a:pt x="151" y="29"/>
                    <a:pt x="152" y="28"/>
                    <a:pt x="154" y="28"/>
                  </a:cubicBezTo>
                  <a:cubicBezTo>
                    <a:pt x="155" y="24"/>
                    <a:pt x="157" y="20"/>
                    <a:pt x="159" y="16"/>
                  </a:cubicBezTo>
                  <a:cubicBezTo>
                    <a:pt x="159" y="16"/>
                    <a:pt x="159" y="15"/>
                    <a:pt x="159" y="15"/>
                  </a:cubicBezTo>
                  <a:cubicBezTo>
                    <a:pt x="159" y="15"/>
                    <a:pt x="159" y="15"/>
                    <a:pt x="160" y="15"/>
                  </a:cubicBezTo>
                  <a:cubicBezTo>
                    <a:pt x="160" y="15"/>
                    <a:pt x="160" y="14"/>
                    <a:pt x="160" y="14"/>
                  </a:cubicBezTo>
                  <a:cubicBezTo>
                    <a:pt x="160" y="14"/>
                    <a:pt x="160" y="14"/>
                    <a:pt x="160" y="14"/>
                  </a:cubicBezTo>
                  <a:cubicBezTo>
                    <a:pt x="160" y="14"/>
                    <a:pt x="160" y="13"/>
                    <a:pt x="161" y="12"/>
                  </a:cubicBezTo>
                  <a:cubicBezTo>
                    <a:pt x="161" y="12"/>
                    <a:pt x="161" y="12"/>
                    <a:pt x="161" y="12"/>
                  </a:cubicBezTo>
                  <a:cubicBezTo>
                    <a:pt x="161" y="12"/>
                    <a:pt x="161" y="11"/>
                    <a:pt x="161" y="11"/>
                  </a:cubicBezTo>
                  <a:cubicBezTo>
                    <a:pt x="161" y="11"/>
                    <a:pt x="161" y="11"/>
                    <a:pt x="161" y="11"/>
                  </a:cubicBezTo>
                  <a:cubicBezTo>
                    <a:pt x="161" y="11"/>
                    <a:pt x="161" y="11"/>
                    <a:pt x="161" y="10"/>
                  </a:cubicBezTo>
                  <a:cubicBezTo>
                    <a:pt x="161" y="10"/>
                    <a:pt x="162" y="10"/>
                    <a:pt x="162" y="10"/>
                  </a:cubicBezTo>
                  <a:cubicBezTo>
                    <a:pt x="162" y="10"/>
                    <a:pt x="162" y="9"/>
                    <a:pt x="162" y="8"/>
                  </a:cubicBezTo>
                  <a:cubicBezTo>
                    <a:pt x="162" y="8"/>
                    <a:pt x="163" y="8"/>
                    <a:pt x="163" y="8"/>
                  </a:cubicBezTo>
                  <a:cubicBezTo>
                    <a:pt x="163" y="8"/>
                    <a:pt x="163" y="8"/>
                    <a:pt x="163" y="7"/>
                  </a:cubicBezTo>
                  <a:cubicBezTo>
                    <a:pt x="163" y="7"/>
                    <a:pt x="163" y="7"/>
                    <a:pt x="163" y="7"/>
                  </a:cubicBezTo>
                  <a:cubicBezTo>
                    <a:pt x="163" y="7"/>
                    <a:pt x="163" y="6"/>
                    <a:pt x="164" y="5"/>
                  </a:cubicBezTo>
                  <a:cubicBezTo>
                    <a:pt x="164" y="5"/>
                    <a:pt x="164" y="5"/>
                    <a:pt x="164" y="5"/>
                  </a:cubicBezTo>
                  <a:cubicBezTo>
                    <a:pt x="164" y="5"/>
                    <a:pt x="164" y="5"/>
                    <a:pt x="164" y="4"/>
                  </a:cubicBezTo>
                  <a:cubicBezTo>
                    <a:pt x="164" y="4"/>
                    <a:pt x="164" y="4"/>
                    <a:pt x="164" y="4"/>
                  </a:cubicBezTo>
                  <a:cubicBezTo>
                    <a:pt x="164" y="4"/>
                    <a:pt x="164" y="4"/>
                    <a:pt x="164" y="3"/>
                  </a:cubicBezTo>
                  <a:cubicBezTo>
                    <a:pt x="165" y="3"/>
                    <a:pt x="165" y="3"/>
                    <a:pt x="165" y="3"/>
                  </a:cubicBezTo>
                  <a:cubicBezTo>
                    <a:pt x="165" y="3"/>
                    <a:pt x="165" y="3"/>
                    <a:pt x="165" y="3"/>
                  </a:cubicBezTo>
                  <a:cubicBezTo>
                    <a:pt x="165" y="2"/>
                    <a:pt x="166" y="1"/>
                    <a:pt x="166" y="0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</a:ln>
            <a:effectLst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64800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4000" b="1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0000"/>
                </a:solidFill>
                <a:latin typeface="UKIJ Qolyazma" pitchFamily="18" charset="0"/>
                <a:cs typeface="UKIJ Qolyazma" pitchFamily="18" charset="0"/>
              </a:endParaRPr>
            </a:p>
          </p:txBody>
        </p:sp>
        <p:sp>
          <p:nvSpPr>
            <p:cNvPr id="124" name="Freeform 35">
              <a:extLst>
                <a:ext uri="{FF2B5EF4-FFF2-40B4-BE49-F238E27FC236}">
                  <a16:creationId xmlns:a16="http://schemas.microsoft.com/office/drawing/2014/main" id="{201A61E0-937B-41BB-378F-89FE22D06D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9531" y="3213299"/>
              <a:ext cx="1166239" cy="946990"/>
            </a:xfrm>
            <a:custGeom>
              <a:avLst/>
              <a:gdLst>
                <a:gd name="T0" fmla="*/ 316 w 536"/>
                <a:gd name="T1" fmla="*/ 230 h 435"/>
                <a:gd name="T2" fmla="*/ 289 w 536"/>
                <a:gd name="T3" fmla="*/ 233 h 435"/>
                <a:gd name="T4" fmla="*/ 263 w 536"/>
                <a:gd name="T5" fmla="*/ 238 h 435"/>
                <a:gd name="T6" fmla="*/ 237 w 536"/>
                <a:gd name="T7" fmla="*/ 249 h 435"/>
                <a:gd name="T8" fmla="*/ 254 w 536"/>
                <a:gd name="T9" fmla="*/ 276 h 435"/>
                <a:gd name="T10" fmla="*/ 283 w 536"/>
                <a:gd name="T11" fmla="*/ 307 h 435"/>
                <a:gd name="T12" fmla="*/ 293 w 536"/>
                <a:gd name="T13" fmla="*/ 322 h 435"/>
                <a:gd name="T14" fmla="*/ 288 w 536"/>
                <a:gd name="T15" fmla="*/ 342 h 435"/>
                <a:gd name="T16" fmla="*/ 273 w 536"/>
                <a:gd name="T17" fmla="*/ 430 h 435"/>
                <a:gd name="T18" fmla="*/ 235 w 536"/>
                <a:gd name="T19" fmla="*/ 419 h 435"/>
                <a:gd name="T20" fmla="*/ 140 w 536"/>
                <a:gd name="T21" fmla="*/ 412 h 435"/>
                <a:gd name="T22" fmla="*/ 131 w 536"/>
                <a:gd name="T23" fmla="*/ 398 h 435"/>
                <a:gd name="T24" fmla="*/ 124 w 536"/>
                <a:gd name="T25" fmla="*/ 385 h 435"/>
                <a:gd name="T26" fmla="*/ 128 w 536"/>
                <a:gd name="T27" fmla="*/ 366 h 435"/>
                <a:gd name="T28" fmla="*/ 116 w 536"/>
                <a:gd name="T29" fmla="*/ 348 h 435"/>
                <a:gd name="T30" fmla="*/ 97 w 536"/>
                <a:gd name="T31" fmla="*/ 331 h 435"/>
                <a:gd name="T32" fmla="*/ 71 w 536"/>
                <a:gd name="T33" fmla="*/ 288 h 435"/>
                <a:gd name="T34" fmla="*/ 56 w 536"/>
                <a:gd name="T35" fmla="*/ 281 h 435"/>
                <a:gd name="T36" fmla="*/ 48 w 536"/>
                <a:gd name="T37" fmla="*/ 266 h 435"/>
                <a:gd name="T38" fmla="*/ 28 w 536"/>
                <a:gd name="T39" fmla="*/ 268 h 435"/>
                <a:gd name="T40" fmla="*/ 14 w 536"/>
                <a:gd name="T41" fmla="*/ 260 h 435"/>
                <a:gd name="T42" fmla="*/ 1 w 536"/>
                <a:gd name="T43" fmla="*/ 245 h 435"/>
                <a:gd name="T44" fmla="*/ 18 w 536"/>
                <a:gd name="T45" fmla="*/ 199 h 435"/>
                <a:gd name="T46" fmla="*/ 34 w 536"/>
                <a:gd name="T47" fmla="*/ 161 h 435"/>
                <a:gd name="T48" fmla="*/ 50 w 536"/>
                <a:gd name="T49" fmla="*/ 159 h 435"/>
                <a:gd name="T50" fmla="*/ 66 w 536"/>
                <a:gd name="T51" fmla="*/ 170 h 435"/>
                <a:gd name="T52" fmla="*/ 84 w 536"/>
                <a:gd name="T53" fmla="*/ 180 h 435"/>
                <a:gd name="T54" fmla="*/ 99 w 536"/>
                <a:gd name="T55" fmla="*/ 186 h 435"/>
                <a:gd name="T56" fmla="*/ 112 w 536"/>
                <a:gd name="T57" fmla="*/ 170 h 435"/>
                <a:gd name="T58" fmla="*/ 106 w 536"/>
                <a:gd name="T59" fmla="*/ 156 h 435"/>
                <a:gd name="T60" fmla="*/ 100 w 536"/>
                <a:gd name="T61" fmla="*/ 144 h 435"/>
                <a:gd name="T62" fmla="*/ 92 w 536"/>
                <a:gd name="T63" fmla="*/ 103 h 435"/>
                <a:gd name="T64" fmla="*/ 87 w 536"/>
                <a:gd name="T65" fmla="*/ 91 h 435"/>
                <a:gd name="T66" fmla="*/ 89 w 536"/>
                <a:gd name="T67" fmla="*/ 78 h 435"/>
                <a:gd name="T68" fmla="*/ 103 w 536"/>
                <a:gd name="T69" fmla="*/ 70 h 435"/>
                <a:gd name="T70" fmla="*/ 115 w 536"/>
                <a:gd name="T71" fmla="*/ 61 h 435"/>
                <a:gd name="T72" fmla="*/ 129 w 536"/>
                <a:gd name="T73" fmla="*/ 54 h 435"/>
                <a:gd name="T74" fmla="*/ 171 w 536"/>
                <a:gd name="T75" fmla="*/ 36 h 435"/>
                <a:gd name="T76" fmla="*/ 186 w 536"/>
                <a:gd name="T77" fmla="*/ 26 h 435"/>
                <a:gd name="T78" fmla="*/ 200 w 536"/>
                <a:gd name="T79" fmla="*/ 16 h 435"/>
                <a:gd name="T80" fmla="*/ 265 w 536"/>
                <a:gd name="T81" fmla="*/ 18 h 435"/>
                <a:gd name="T82" fmla="*/ 338 w 536"/>
                <a:gd name="T83" fmla="*/ 35 h 435"/>
                <a:gd name="T84" fmla="*/ 365 w 536"/>
                <a:gd name="T85" fmla="*/ 31 h 435"/>
                <a:gd name="T86" fmla="*/ 378 w 536"/>
                <a:gd name="T87" fmla="*/ 21 h 435"/>
                <a:gd name="T88" fmla="*/ 390 w 536"/>
                <a:gd name="T89" fmla="*/ 14 h 435"/>
                <a:gd name="T90" fmla="*/ 405 w 536"/>
                <a:gd name="T91" fmla="*/ 6 h 435"/>
                <a:gd name="T92" fmla="*/ 456 w 536"/>
                <a:gd name="T93" fmla="*/ 39 h 435"/>
                <a:gd name="T94" fmla="*/ 476 w 536"/>
                <a:gd name="T95" fmla="*/ 55 h 435"/>
                <a:gd name="T96" fmla="*/ 489 w 536"/>
                <a:gd name="T97" fmla="*/ 63 h 435"/>
                <a:gd name="T98" fmla="*/ 506 w 536"/>
                <a:gd name="T99" fmla="*/ 73 h 435"/>
                <a:gd name="T100" fmla="*/ 532 w 536"/>
                <a:gd name="T101" fmla="*/ 101 h 435"/>
                <a:gd name="T102" fmla="*/ 515 w 536"/>
                <a:gd name="T103" fmla="*/ 123 h 435"/>
                <a:gd name="T104" fmla="*/ 503 w 536"/>
                <a:gd name="T105" fmla="*/ 129 h 435"/>
                <a:gd name="T106" fmla="*/ 489 w 536"/>
                <a:gd name="T107" fmla="*/ 135 h 435"/>
                <a:gd name="T108" fmla="*/ 474 w 536"/>
                <a:gd name="T109" fmla="*/ 143 h 435"/>
                <a:gd name="T110" fmla="*/ 460 w 536"/>
                <a:gd name="T111" fmla="*/ 152 h 435"/>
                <a:gd name="T112" fmla="*/ 446 w 536"/>
                <a:gd name="T113" fmla="*/ 162 h 435"/>
                <a:gd name="T114" fmla="*/ 432 w 536"/>
                <a:gd name="T115" fmla="*/ 172 h 435"/>
                <a:gd name="T116" fmla="*/ 420 w 536"/>
                <a:gd name="T117" fmla="*/ 180 h 435"/>
                <a:gd name="T118" fmla="*/ 389 w 536"/>
                <a:gd name="T119" fmla="*/ 195 h 435"/>
                <a:gd name="T120" fmla="*/ 383 w 536"/>
                <a:gd name="T121" fmla="*/ 209 h 435"/>
                <a:gd name="T122" fmla="*/ 372 w 536"/>
                <a:gd name="T123" fmla="*/ 227 h 435"/>
                <a:gd name="T124" fmla="*/ 346 w 536"/>
                <a:gd name="T125" fmla="*/ 218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36" h="435">
                  <a:moveTo>
                    <a:pt x="347" y="216"/>
                  </a:moveTo>
                  <a:cubicBezTo>
                    <a:pt x="342" y="215"/>
                    <a:pt x="336" y="214"/>
                    <a:pt x="331" y="213"/>
                  </a:cubicBezTo>
                  <a:cubicBezTo>
                    <a:pt x="331" y="213"/>
                    <a:pt x="331" y="213"/>
                    <a:pt x="331" y="213"/>
                  </a:cubicBezTo>
                  <a:cubicBezTo>
                    <a:pt x="330" y="213"/>
                    <a:pt x="330" y="213"/>
                    <a:pt x="330" y="213"/>
                  </a:cubicBezTo>
                  <a:cubicBezTo>
                    <a:pt x="330" y="213"/>
                    <a:pt x="330" y="214"/>
                    <a:pt x="330" y="214"/>
                  </a:cubicBezTo>
                  <a:cubicBezTo>
                    <a:pt x="329" y="214"/>
                    <a:pt x="329" y="214"/>
                    <a:pt x="328" y="214"/>
                  </a:cubicBezTo>
                  <a:cubicBezTo>
                    <a:pt x="328" y="214"/>
                    <a:pt x="328" y="214"/>
                    <a:pt x="328" y="214"/>
                  </a:cubicBezTo>
                  <a:cubicBezTo>
                    <a:pt x="328" y="214"/>
                    <a:pt x="327" y="214"/>
                    <a:pt x="326" y="214"/>
                  </a:cubicBezTo>
                  <a:cubicBezTo>
                    <a:pt x="326" y="214"/>
                    <a:pt x="326" y="214"/>
                    <a:pt x="326" y="214"/>
                  </a:cubicBezTo>
                  <a:cubicBezTo>
                    <a:pt x="326" y="214"/>
                    <a:pt x="325" y="214"/>
                    <a:pt x="325" y="214"/>
                  </a:cubicBezTo>
                  <a:cubicBezTo>
                    <a:pt x="325" y="214"/>
                    <a:pt x="325" y="215"/>
                    <a:pt x="325" y="215"/>
                  </a:cubicBezTo>
                  <a:cubicBezTo>
                    <a:pt x="323" y="215"/>
                    <a:pt x="321" y="215"/>
                    <a:pt x="319" y="216"/>
                  </a:cubicBezTo>
                  <a:cubicBezTo>
                    <a:pt x="319" y="216"/>
                    <a:pt x="319" y="216"/>
                    <a:pt x="319" y="216"/>
                  </a:cubicBezTo>
                  <a:cubicBezTo>
                    <a:pt x="319" y="217"/>
                    <a:pt x="319" y="218"/>
                    <a:pt x="319" y="219"/>
                  </a:cubicBezTo>
                  <a:cubicBezTo>
                    <a:pt x="319" y="219"/>
                    <a:pt x="318" y="219"/>
                    <a:pt x="318" y="219"/>
                  </a:cubicBezTo>
                  <a:cubicBezTo>
                    <a:pt x="318" y="219"/>
                    <a:pt x="318" y="219"/>
                    <a:pt x="318" y="220"/>
                  </a:cubicBezTo>
                  <a:cubicBezTo>
                    <a:pt x="318" y="220"/>
                    <a:pt x="318" y="220"/>
                    <a:pt x="318" y="220"/>
                  </a:cubicBezTo>
                  <a:cubicBezTo>
                    <a:pt x="318" y="220"/>
                    <a:pt x="318" y="221"/>
                    <a:pt x="318" y="221"/>
                  </a:cubicBezTo>
                  <a:cubicBezTo>
                    <a:pt x="318" y="221"/>
                    <a:pt x="318" y="221"/>
                    <a:pt x="318" y="221"/>
                  </a:cubicBezTo>
                  <a:cubicBezTo>
                    <a:pt x="318" y="222"/>
                    <a:pt x="318" y="222"/>
                    <a:pt x="318" y="222"/>
                  </a:cubicBezTo>
                  <a:cubicBezTo>
                    <a:pt x="318" y="222"/>
                    <a:pt x="317" y="222"/>
                    <a:pt x="317" y="222"/>
                  </a:cubicBezTo>
                  <a:cubicBezTo>
                    <a:pt x="317" y="224"/>
                    <a:pt x="317" y="225"/>
                    <a:pt x="317" y="226"/>
                  </a:cubicBezTo>
                  <a:cubicBezTo>
                    <a:pt x="317" y="226"/>
                    <a:pt x="316" y="226"/>
                    <a:pt x="316" y="226"/>
                  </a:cubicBezTo>
                  <a:cubicBezTo>
                    <a:pt x="316" y="228"/>
                    <a:pt x="316" y="229"/>
                    <a:pt x="316" y="230"/>
                  </a:cubicBezTo>
                  <a:cubicBezTo>
                    <a:pt x="315" y="230"/>
                    <a:pt x="315" y="230"/>
                    <a:pt x="315" y="230"/>
                  </a:cubicBezTo>
                  <a:cubicBezTo>
                    <a:pt x="315" y="231"/>
                    <a:pt x="315" y="231"/>
                    <a:pt x="315" y="231"/>
                  </a:cubicBezTo>
                  <a:cubicBezTo>
                    <a:pt x="315" y="231"/>
                    <a:pt x="315" y="231"/>
                    <a:pt x="315" y="231"/>
                  </a:cubicBezTo>
                  <a:cubicBezTo>
                    <a:pt x="315" y="233"/>
                    <a:pt x="314" y="235"/>
                    <a:pt x="314" y="236"/>
                  </a:cubicBezTo>
                  <a:cubicBezTo>
                    <a:pt x="313" y="237"/>
                    <a:pt x="312" y="236"/>
                    <a:pt x="311" y="237"/>
                  </a:cubicBezTo>
                  <a:cubicBezTo>
                    <a:pt x="311" y="237"/>
                    <a:pt x="311" y="237"/>
                    <a:pt x="311" y="237"/>
                  </a:cubicBezTo>
                  <a:cubicBezTo>
                    <a:pt x="310" y="237"/>
                    <a:pt x="308" y="238"/>
                    <a:pt x="306" y="238"/>
                  </a:cubicBezTo>
                  <a:cubicBezTo>
                    <a:pt x="306" y="238"/>
                    <a:pt x="306" y="238"/>
                    <a:pt x="306" y="238"/>
                  </a:cubicBezTo>
                  <a:cubicBezTo>
                    <a:pt x="306" y="238"/>
                    <a:pt x="306" y="238"/>
                    <a:pt x="305" y="238"/>
                  </a:cubicBezTo>
                  <a:cubicBezTo>
                    <a:pt x="304" y="239"/>
                    <a:pt x="303" y="240"/>
                    <a:pt x="302" y="240"/>
                  </a:cubicBezTo>
                  <a:cubicBezTo>
                    <a:pt x="301" y="239"/>
                    <a:pt x="301" y="239"/>
                    <a:pt x="300" y="239"/>
                  </a:cubicBezTo>
                  <a:cubicBezTo>
                    <a:pt x="300" y="239"/>
                    <a:pt x="300" y="239"/>
                    <a:pt x="300" y="238"/>
                  </a:cubicBezTo>
                  <a:cubicBezTo>
                    <a:pt x="300" y="238"/>
                    <a:pt x="300" y="238"/>
                    <a:pt x="299" y="238"/>
                  </a:cubicBezTo>
                  <a:cubicBezTo>
                    <a:pt x="299" y="238"/>
                    <a:pt x="299" y="238"/>
                    <a:pt x="299" y="238"/>
                  </a:cubicBezTo>
                  <a:cubicBezTo>
                    <a:pt x="298" y="238"/>
                    <a:pt x="298" y="237"/>
                    <a:pt x="297" y="237"/>
                  </a:cubicBezTo>
                  <a:cubicBezTo>
                    <a:pt x="297" y="237"/>
                    <a:pt x="297" y="237"/>
                    <a:pt x="297" y="236"/>
                  </a:cubicBezTo>
                  <a:cubicBezTo>
                    <a:pt x="296" y="236"/>
                    <a:pt x="295" y="236"/>
                    <a:pt x="295" y="236"/>
                  </a:cubicBezTo>
                  <a:cubicBezTo>
                    <a:pt x="294" y="235"/>
                    <a:pt x="294" y="235"/>
                    <a:pt x="294" y="235"/>
                  </a:cubicBezTo>
                  <a:cubicBezTo>
                    <a:pt x="294" y="235"/>
                    <a:pt x="293" y="235"/>
                    <a:pt x="292" y="234"/>
                  </a:cubicBezTo>
                  <a:cubicBezTo>
                    <a:pt x="292" y="234"/>
                    <a:pt x="292" y="234"/>
                    <a:pt x="292" y="234"/>
                  </a:cubicBezTo>
                  <a:cubicBezTo>
                    <a:pt x="291" y="233"/>
                    <a:pt x="290" y="233"/>
                    <a:pt x="290" y="233"/>
                  </a:cubicBezTo>
                  <a:cubicBezTo>
                    <a:pt x="290" y="233"/>
                    <a:pt x="289" y="232"/>
                    <a:pt x="289" y="232"/>
                  </a:cubicBezTo>
                  <a:cubicBezTo>
                    <a:pt x="289" y="232"/>
                    <a:pt x="289" y="232"/>
                    <a:pt x="289" y="232"/>
                  </a:cubicBezTo>
                  <a:cubicBezTo>
                    <a:pt x="289" y="232"/>
                    <a:pt x="289" y="232"/>
                    <a:pt x="289" y="233"/>
                  </a:cubicBezTo>
                  <a:cubicBezTo>
                    <a:pt x="288" y="233"/>
                    <a:pt x="289" y="233"/>
                    <a:pt x="288" y="234"/>
                  </a:cubicBezTo>
                  <a:cubicBezTo>
                    <a:pt x="288" y="234"/>
                    <a:pt x="287" y="234"/>
                    <a:pt x="287" y="235"/>
                  </a:cubicBezTo>
                  <a:cubicBezTo>
                    <a:pt x="287" y="235"/>
                    <a:pt x="287" y="235"/>
                    <a:pt x="287" y="235"/>
                  </a:cubicBezTo>
                  <a:cubicBezTo>
                    <a:pt x="287" y="235"/>
                    <a:pt x="286" y="236"/>
                    <a:pt x="286" y="236"/>
                  </a:cubicBezTo>
                  <a:cubicBezTo>
                    <a:pt x="286" y="236"/>
                    <a:pt x="286" y="236"/>
                    <a:pt x="286" y="237"/>
                  </a:cubicBezTo>
                  <a:cubicBezTo>
                    <a:pt x="285" y="237"/>
                    <a:pt x="285" y="237"/>
                    <a:pt x="284" y="238"/>
                  </a:cubicBezTo>
                  <a:cubicBezTo>
                    <a:pt x="284" y="238"/>
                    <a:pt x="284" y="238"/>
                    <a:pt x="284" y="238"/>
                  </a:cubicBezTo>
                  <a:cubicBezTo>
                    <a:pt x="284" y="239"/>
                    <a:pt x="284" y="239"/>
                    <a:pt x="283" y="240"/>
                  </a:cubicBezTo>
                  <a:cubicBezTo>
                    <a:pt x="283" y="240"/>
                    <a:pt x="283" y="240"/>
                    <a:pt x="283" y="240"/>
                  </a:cubicBezTo>
                  <a:cubicBezTo>
                    <a:pt x="283" y="240"/>
                    <a:pt x="282" y="241"/>
                    <a:pt x="282" y="241"/>
                  </a:cubicBezTo>
                  <a:cubicBezTo>
                    <a:pt x="282" y="241"/>
                    <a:pt x="282" y="241"/>
                    <a:pt x="282" y="242"/>
                  </a:cubicBezTo>
                  <a:cubicBezTo>
                    <a:pt x="282" y="242"/>
                    <a:pt x="282" y="242"/>
                    <a:pt x="281" y="242"/>
                  </a:cubicBezTo>
                  <a:cubicBezTo>
                    <a:pt x="281" y="242"/>
                    <a:pt x="281" y="242"/>
                    <a:pt x="281" y="242"/>
                  </a:cubicBezTo>
                  <a:cubicBezTo>
                    <a:pt x="281" y="242"/>
                    <a:pt x="281" y="243"/>
                    <a:pt x="281" y="243"/>
                  </a:cubicBezTo>
                  <a:cubicBezTo>
                    <a:pt x="281" y="243"/>
                    <a:pt x="281" y="243"/>
                    <a:pt x="281" y="243"/>
                  </a:cubicBezTo>
                  <a:cubicBezTo>
                    <a:pt x="280" y="243"/>
                    <a:pt x="280" y="243"/>
                    <a:pt x="280" y="243"/>
                  </a:cubicBezTo>
                  <a:cubicBezTo>
                    <a:pt x="280" y="244"/>
                    <a:pt x="279" y="244"/>
                    <a:pt x="279" y="245"/>
                  </a:cubicBezTo>
                  <a:cubicBezTo>
                    <a:pt x="275" y="245"/>
                    <a:pt x="270" y="245"/>
                    <a:pt x="265" y="244"/>
                  </a:cubicBezTo>
                  <a:cubicBezTo>
                    <a:pt x="265" y="243"/>
                    <a:pt x="265" y="242"/>
                    <a:pt x="265" y="241"/>
                  </a:cubicBezTo>
                  <a:cubicBezTo>
                    <a:pt x="264" y="241"/>
                    <a:pt x="264" y="241"/>
                    <a:pt x="264" y="241"/>
                  </a:cubicBezTo>
                  <a:cubicBezTo>
                    <a:pt x="264" y="241"/>
                    <a:pt x="264" y="241"/>
                    <a:pt x="264" y="241"/>
                  </a:cubicBezTo>
                  <a:cubicBezTo>
                    <a:pt x="264" y="241"/>
                    <a:pt x="264" y="241"/>
                    <a:pt x="264" y="241"/>
                  </a:cubicBezTo>
                  <a:cubicBezTo>
                    <a:pt x="264" y="240"/>
                    <a:pt x="264" y="239"/>
                    <a:pt x="263" y="238"/>
                  </a:cubicBezTo>
                  <a:cubicBezTo>
                    <a:pt x="263" y="238"/>
                    <a:pt x="263" y="238"/>
                    <a:pt x="263" y="238"/>
                  </a:cubicBezTo>
                  <a:cubicBezTo>
                    <a:pt x="263" y="238"/>
                    <a:pt x="263" y="238"/>
                    <a:pt x="263" y="237"/>
                  </a:cubicBezTo>
                  <a:cubicBezTo>
                    <a:pt x="263" y="237"/>
                    <a:pt x="263" y="237"/>
                    <a:pt x="263" y="237"/>
                  </a:cubicBezTo>
                  <a:cubicBezTo>
                    <a:pt x="263" y="237"/>
                    <a:pt x="263" y="237"/>
                    <a:pt x="263" y="237"/>
                  </a:cubicBezTo>
                  <a:cubicBezTo>
                    <a:pt x="263" y="237"/>
                    <a:pt x="263" y="237"/>
                    <a:pt x="262" y="237"/>
                  </a:cubicBezTo>
                  <a:cubicBezTo>
                    <a:pt x="262" y="236"/>
                    <a:pt x="262" y="235"/>
                    <a:pt x="262" y="235"/>
                  </a:cubicBezTo>
                  <a:cubicBezTo>
                    <a:pt x="262" y="235"/>
                    <a:pt x="262" y="235"/>
                    <a:pt x="262" y="235"/>
                  </a:cubicBezTo>
                  <a:cubicBezTo>
                    <a:pt x="262" y="234"/>
                    <a:pt x="262" y="234"/>
                    <a:pt x="262" y="234"/>
                  </a:cubicBezTo>
                  <a:cubicBezTo>
                    <a:pt x="262" y="234"/>
                    <a:pt x="261" y="234"/>
                    <a:pt x="261" y="234"/>
                  </a:cubicBezTo>
                  <a:cubicBezTo>
                    <a:pt x="261" y="233"/>
                    <a:pt x="261" y="233"/>
                    <a:pt x="261" y="233"/>
                  </a:cubicBezTo>
                  <a:cubicBezTo>
                    <a:pt x="261" y="233"/>
                    <a:pt x="261" y="233"/>
                    <a:pt x="261" y="233"/>
                  </a:cubicBezTo>
                  <a:cubicBezTo>
                    <a:pt x="261" y="232"/>
                    <a:pt x="261" y="231"/>
                    <a:pt x="260" y="230"/>
                  </a:cubicBezTo>
                  <a:cubicBezTo>
                    <a:pt x="260" y="230"/>
                    <a:pt x="260" y="230"/>
                    <a:pt x="260" y="230"/>
                  </a:cubicBezTo>
                  <a:cubicBezTo>
                    <a:pt x="260" y="230"/>
                    <a:pt x="260" y="229"/>
                    <a:pt x="260" y="229"/>
                  </a:cubicBezTo>
                  <a:cubicBezTo>
                    <a:pt x="260" y="229"/>
                    <a:pt x="260" y="229"/>
                    <a:pt x="260" y="229"/>
                  </a:cubicBezTo>
                  <a:cubicBezTo>
                    <a:pt x="260" y="229"/>
                    <a:pt x="260" y="228"/>
                    <a:pt x="260" y="228"/>
                  </a:cubicBezTo>
                  <a:cubicBezTo>
                    <a:pt x="259" y="227"/>
                    <a:pt x="258" y="226"/>
                    <a:pt x="258" y="224"/>
                  </a:cubicBezTo>
                  <a:cubicBezTo>
                    <a:pt x="254" y="224"/>
                    <a:pt x="250" y="224"/>
                    <a:pt x="246" y="224"/>
                  </a:cubicBezTo>
                  <a:cubicBezTo>
                    <a:pt x="246" y="229"/>
                    <a:pt x="246" y="233"/>
                    <a:pt x="246" y="237"/>
                  </a:cubicBezTo>
                  <a:cubicBezTo>
                    <a:pt x="245" y="238"/>
                    <a:pt x="245" y="239"/>
                    <a:pt x="245" y="240"/>
                  </a:cubicBezTo>
                  <a:cubicBezTo>
                    <a:pt x="243" y="241"/>
                    <a:pt x="242" y="242"/>
                    <a:pt x="241" y="243"/>
                  </a:cubicBezTo>
                  <a:cubicBezTo>
                    <a:pt x="241" y="243"/>
                    <a:pt x="241" y="243"/>
                    <a:pt x="241" y="244"/>
                  </a:cubicBezTo>
                  <a:cubicBezTo>
                    <a:pt x="241" y="244"/>
                    <a:pt x="240" y="244"/>
                    <a:pt x="240" y="244"/>
                  </a:cubicBezTo>
                  <a:cubicBezTo>
                    <a:pt x="240" y="244"/>
                    <a:pt x="240" y="244"/>
                    <a:pt x="240" y="245"/>
                  </a:cubicBezTo>
                  <a:cubicBezTo>
                    <a:pt x="238" y="246"/>
                    <a:pt x="237" y="247"/>
                    <a:pt x="237" y="249"/>
                  </a:cubicBezTo>
                  <a:cubicBezTo>
                    <a:pt x="238" y="251"/>
                    <a:pt x="239" y="252"/>
                    <a:pt x="240" y="254"/>
                  </a:cubicBezTo>
                  <a:cubicBezTo>
                    <a:pt x="240" y="254"/>
                    <a:pt x="240" y="254"/>
                    <a:pt x="240" y="255"/>
                  </a:cubicBezTo>
                  <a:cubicBezTo>
                    <a:pt x="240" y="255"/>
                    <a:pt x="240" y="255"/>
                    <a:pt x="240" y="255"/>
                  </a:cubicBezTo>
                  <a:cubicBezTo>
                    <a:pt x="240" y="255"/>
                    <a:pt x="240" y="255"/>
                    <a:pt x="240" y="256"/>
                  </a:cubicBezTo>
                  <a:cubicBezTo>
                    <a:pt x="240" y="256"/>
                    <a:pt x="241" y="256"/>
                    <a:pt x="241" y="256"/>
                  </a:cubicBezTo>
                  <a:cubicBezTo>
                    <a:pt x="241" y="256"/>
                    <a:pt x="241" y="256"/>
                    <a:pt x="241" y="256"/>
                  </a:cubicBezTo>
                  <a:cubicBezTo>
                    <a:pt x="241" y="256"/>
                    <a:pt x="241" y="257"/>
                    <a:pt x="241" y="257"/>
                  </a:cubicBezTo>
                  <a:cubicBezTo>
                    <a:pt x="242" y="257"/>
                    <a:pt x="242" y="258"/>
                    <a:pt x="242" y="259"/>
                  </a:cubicBezTo>
                  <a:cubicBezTo>
                    <a:pt x="242" y="259"/>
                    <a:pt x="243" y="259"/>
                    <a:pt x="243" y="259"/>
                  </a:cubicBezTo>
                  <a:cubicBezTo>
                    <a:pt x="243" y="259"/>
                    <a:pt x="243" y="260"/>
                    <a:pt x="243" y="260"/>
                  </a:cubicBezTo>
                  <a:cubicBezTo>
                    <a:pt x="243" y="260"/>
                    <a:pt x="243" y="260"/>
                    <a:pt x="243" y="260"/>
                  </a:cubicBezTo>
                  <a:cubicBezTo>
                    <a:pt x="243" y="260"/>
                    <a:pt x="243" y="260"/>
                    <a:pt x="243" y="261"/>
                  </a:cubicBezTo>
                  <a:cubicBezTo>
                    <a:pt x="243" y="261"/>
                    <a:pt x="244" y="261"/>
                    <a:pt x="244" y="261"/>
                  </a:cubicBezTo>
                  <a:cubicBezTo>
                    <a:pt x="244" y="262"/>
                    <a:pt x="244" y="262"/>
                    <a:pt x="245" y="263"/>
                  </a:cubicBezTo>
                  <a:cubicBezTo>
                    <a:pt x="245" y="263"/>
                    <a:pt x="245" y="263"/>
                    <a:pt x="245" y="263"/>
                  </a:cubicBezTo>
                  <a:cubicBezTo>
                    <a:pt x="245" y="264"/>
                    <a:pt x="246" y="264"/>
                    <a:pt x="246" y="265"/>
                  </a:cubicBezTo>
                  <a:cubicBezTo>
                    <a:pt x="246" y="265"/>
                    <a:pt x="246" y="265"/>
                    <a:pt x="246" y="265"/>
                  </a:cubicBezTo>
                  <a:cubicBezTo>
                    <a:pt x="247" y="266"/>
                    <a:pt x="247" y="266"/>
                    <a:pt x="247" y="267"/>
                  </a:cubicBezTo>
                  <a:cubicBezTo>
                    <a:pt x="247" y="267"/>
                    <a:pt x="247" y="267"/>
                    <a:pt x="248" y="268"/>
                  </a:cubicBezTo>
                  <a:cubicBezTo>
                    <a:pt x="248" y="268"/>
                    <a:pt x="248" y="268"/>
                    <a:pt x="248" y="269"/>
                  </a:cubicBezTo>
                  <a:cubicBezTo>
                    <a:pt x="248" y="269"/>
                    <a:pt x="249" y="269"/>
                    <a:pt x="249" y="269"/>
                  </a:cubicBezTo>
                  <a:cubicBezTo>
                    <a:pt x="249" y="270"/>
                    <a:pt x="249" y="270"/>
                    <a:pt x="249" y="271"/>
                  </a:cubicBezTo>
                  <a:cubicBezTo>
                    <a:pt x="250" y="271"/>
                    <a:pt x="250" y="271"/>
                    <a:pt x="251" y="272"/>
                  </a:cubicBezTo>
                  <a:cubicBezTo>
                    <a:pt x="252" y="273"/>
                    <a:pt x="253" y="274"/>
                    <a:pt x="254" y="276"/>
                  </a:cubicBezTo>
                  <a:cubicBezTo>
                    <a:pt x="254" y="276"/>
                    <a:pt x="254" y="276"/>
                    <a:pt x="255" y="276"/>
                  </a:cubicBezTo>
                  <a:cubicBezTo>
                    <a:pt x="258" y="279"/>
                    <a:pt x="261" y="282"/>
                    <a:pt x="264" y="285"/>
                  </a:cubicBezTo>
                  <a:cubicBezTo>
                    <a:pt x="267" y="288"/>
                    <a:pt x="270" y="291"/>
                    <a:pt x="273" y="293"/>
                  </a:cubicBezTo>
                  <a:cubicBezTo>
                    <a:pt x="274" y="294"/>
                    <a:pt x="275" y="295"/>
                    <a:pt x="276" y="296"/>
                  </a:cubicBezTo>
                  <a:cubicBezTo>
                    <a:pt x="276" y="296"/>
                    <a:pt x="276" y="297"/>
                    <a:pt x="276" y="297"/>
                  </a:cubicBezTo>
                  <a:cubicBezTo>
                    <a:pt x="276" y="297"/>
                    <a:pt x="277" y="297"/>
                    <a:pt x="277" y="297"/>
                  </a:cubicBezTo>
                  <a:cubicBezTo>
                    <a:pt x="277" y="298"/>
                    <a:pt x="277" y="298"/>
                    <a:pt x="277" y="298"/>
                  </a:cubicBezTo>
                  <a:cubicBezTo>
                    <a:pt x="277" y="298"/>
                    <a:pt x="277" y="298"/>
                    <a:pt x="277" y="298"/>
                  </a:cubicBezTo>
                  <a:cubicBezTo>
                    <a:pt x="277" y="299"/>
                    <a:pt x="277" y="299"/>
                    <a:pt x="277" y="299"/>
                  </a:cubicBezTo>
                  <a:cubicBezTo>
                    <a:pt x="278" y="299"/>
                    <a:pt x="278" y="299"/>
                    <a:pt x="278" y="299"/>
                  </a:cubicBezTo>
                  <a:cubicBezTo>
                    <a:pt x="278" y="300"/>
                    <a:pt x="278" y="300"/>
                    <a:pt x="278" y="300"/>
                  </a:cubicBezTo>
                  <a:cubicBezTo>
                    <a:pt x="278" y="300"/>
                    <a:pt x="279" y="300"/>
                    <a:pt x="279" y="300"/>
                  </a:cubicBezTo>
                  <a:cubicBezTo>
                    <a:pt x="279" y="301"/>
                    <a:pt x="279" y="301"/>
                    <a:pt x="279" y="301"/>
                  </a:cubicBezTo>
                  <a:cubicBezTo>
                    <a:pt x="279" y="301"/>
                    <a:pt x="279" y="301"/>
                    <a:pt x="280" y="301"/>
                  </a:cubicBezTo>
                  <a:cubicBezTo>
                    <a:pt x="280" y="302"/>
                    <a:pt x="280" y="302"/>
                    <a:pt x="280" y="303"/>
                  </a:cubicBezTo>
                  <a:cubicBezTo>
                    <a:pt x="280" y="303"/>
                    <a:pt x="280" y="303"/>
                    <a:pt x="281" y="303"/>
                  </a:cubicBezTo>
                  <a:cubicBezTo>
                    <a:pt x="281" y="303"/>
                    <a:pt x="281" y="304"/>
                    <a:pt x="281" y="304"/>
                  </a:cubicBezTo>
                  <a:cubicBezTo>
                    <a:pt x="281" y="304"/>
                    <a:pt x="281" y="304"/>
                    <a:pt x="281" y="304"/>
                  </a:cubicBezTo>
                  <a:cubicBezTo>
                    <a:pt x="281" y="304"/>
                    <a:pt x="281" y="305"/>
                    <a:pt x="281" y="305"/>
                  </a:cubicBezTo>
                  <a:cubicBezTo>
                    <a:pt x="282" y="305"/>
                    <a:pt x="282" y="305"/>
                    <a:pt x="282" y="305"/>
                  </a:cubicBezTo>
                  <a:cubicBezTo>
                    <a:pt x="282" y="306"/>
                    <a:pt x="282" y="306"/>
                    <a:pt x="282" y="306"/>
                  </a:cubicBezTo>
                  <a:cubicBezTo>
                    <a:pt x="282" y="306"/>
                    <a:pt x="282" y="306"/>
                    <a:pt x="283" y="306"/>
                  </a:cubicBezTo>
                  <a:cubicBezTo>
                    <a:pt x="283" y="307"/>
                    <a:pt x="283" y="307"/>
                    <a:pt x="283" y="307"/>
                  </a:cubicBezTo>
                  <a:cubicBezTo>
                    <a:pt x="283" y="307"/>
                    <a:pt x="283" y="307"/>
                    <a:pt x="283" y="307"/>
                  </a:cubicBezTo>
                  <a:cubicBezTo>
                    <a:pt x="284" y="308"/>
                    <a:pt x="284" y="308"/>
                    <a:pt x="284" y="309"/>
                  </a:cubicBezTo>
                  <a:cubicBezTo>
                    <a:pt x="284" y="309"/>
                    <a:pt x="284" y="309"/>
                    <a:pt x="284" y="309"/>
                  </a:cubicBezTo>
                  <a:cubicBezTo>
                    <a:pt x="284" y="309"/>
                    <a:pt x="284" y="310"/>
                    <a:pt x="284" y="310"/>
                  </a:cubicBezTo>
                  <a:cubicBezTo>
                    <a:pt x="285" y="310"/>
                    <a:pt x="285" y="310"/>
                    <a:pt x="285" y="310"/>
                  </a:cubicBezTo>
                  <a:cubicBezTo>
                    <a:pt x="285" y="310"/>
                    <a:pt x="285" y="311"/>
                    <a:pt x="285" y="311"/>
                  </a:cubicBezTo>
                  <a:cubicBezTo>
                    <a:pt x="285" y="311"/>
                    <a:pt x="286" y="311"/>
                    <a:pt x="286" y="311"/>
                  </a:cubicBezTo>
                  <a:cubicBezTo>
                    <a:pt x="286" y="311"/>
                    <a:pt x="286" y="312"/>
                    <a:pt x="286" y="312"/>
                  </a:cubicBezTo>
                  <a:cubicBezTo>
                    <a:pt x="286" y="312"/>
                    <a:pt x="286" y="312"/>
                    <a:pt x="287" y="312"/>
                  </a:cubicBezTo>
                  <a:cubicBezTo>
                    <a:pt x="287" y="313"/>
                    <a:pt x="287" y="313"/>
                    <a:pt x="287" y="313"/>
                  </a:cubicBezTo>
                  <a:cubicBezTo>
                    <a:pt x="287" y="313"/>
                    <a:pt x="287" y="313"/>
                    <a:pt x="287" y="313"/>
                  </a:cubicBezTo>
                  <a:cubicBezTo>
                    <a:pt x="287" y="314"/>
                    <a:pt x="287" y="314"/>
                    <a:pt x="288" y="315"/>
                  </a:cubicBezTo>
                  <a:cubicBezTo>
                    <a:pt x="288" y="315"/>
                    <a:pt x="288" y="315"/>
                    <a:pt x="288" y="315"/>
                  </a:cubicBezTo>
                  <a:cubicBezTo>
                    <a:pt x="288" y="315"/>
                    <a:pt x="288" y="316"/>
                    <a:pt x="288" y="316"/>
                  </a:cubicBezTo>
                  <a:cubicBezTo>
                    <a:pt x="289" y="316"/>
                    <a:pt x="289" y="316"/>
                    <a:pt x="289" y="316"/>
                  </a:cubicBezTo>
                  <a:cubicBezTo>
                    <a:pt x="289" y="316"/>
                    <a:pt x="289" y="317"/>
                    <a:pt x="289" y="317"/>
                  </a:cubicBezTo>
                  <a:cubicBezTo>
                    <a:pt x="289" y="317"/>
                    <a:pt x="289" y="317"/>
                    <a:pt x="290" y="317"/>
                  </a:cubicBezTo>
                  <a:cubicBezTo>
                    <a:pt x="290" y="317"/>
                    <a:pt x="290" y="318"/>
                    <a:pt x="290" y="318"/>
                  </a:cubicBezTo>
                  <a:cubicBezTo>
                    <a:pt x="290" y="318"/>
                    <a:pt x="290" y="318"/>
                    <a:pt x="290" y="318"/>
                  </a:cubicBezTo>
                  <a:cubicBezTo>
                    <a:pt x="291" y="319"/>
                    <a:pt x="291" y="319"/>
                    <a:pt x="291" y="319"/>
                  </a:cubicBezTo>
                  <a:cubicBezTo>
                    <a:pt x="291" y="319"/>
                    <a:pt x="291" y="319"/>
                    <a:pt x="291" y="319"/>
                  </a:cubicBezTo>
                  <a:cubicBezTo>
                    <a:pt x="291" y="320"/>
                    <a:pt x="291" y="320"/>
                    <a:pt x="291" y="321"/>
                  </a:cubicBezTo>
                  <a:cubicBezTo>
                    <a:pt x="292" y="321"/>
                    <a:pt x="292" y="321"/>
                    <a:pt x="292" y="321"/>
                  </a:cubicBezTo>
                  <a:cubicBezTo>
                    <a:pt x="292" y="321"/>
                    <a:pt x="292" y="321"/>
                    <a:pt x="292" y="322"/>
                  </a:cubicBezTo>
                  <a:cubicBezTo>
                    <a:pt x="292" y="322"/>
                    <a:pt x="293" y="322"/>
                    <a:pt x="293" y="322"/>
                  </a:cubicBezTo>
                  <a:cubicBezTo>
                    <a:pt x="293" y="322"/>
                    <a:pt x="293" y="323"/>
                    <a:pt x="293" y="323"/>
                  </a:cubicBezTo>
                  <a:cubicBezTo>
                    <a:pt x="293" y="323"/>
                    <a:pt x="293" y="323"/>
                    <a:pt x="294" y="323"/>
                  </a:cubicBezTo>
                  <a:cubicBezTo>
                    <a:pt x="294" y="323"/>
                    <a:pt x="294" y="324"/>
                    <a:pt x="294" y="324"/>
                  </a:cubicBezTo>
                  <a:cubicBezTo>
                    <a:pt x="294" y="324"/>
                    <a:pt x="294" y="324"/>
                    <a:pt x="294" y="324"/>
                  </a:cubicBezTo>
                  <a:cubicBezTo>
                    <a:pt x="294" y="324"/>
                    <a:pt x="294" y="325"/>
                    <a:pt x="294" y="325"/>
                  </a:cubicBezTo>
                  <a:cubicBezTo>
                    <a:pt x="294" y="325"/>
                    <a:pt x="295" y="325"/>
                    <a:pt x="295" y="325"/>
                  </a:cubicBezTo>
                  <a:cubicBezTo>
                    <a:pt x="295" y="325"/>
                    <a:pt x="295" y="326"/>
                    <a:pt x="295" y="326"/>
                  </a:cubicBezTo>
                  <a:cubicBezTo>
                    <a:pt x="295" y="326"/>
                    <a:pt x="295" y="326"/>
                    <a:pt x="295" y="326"/>
                  </a:cubicBezTo>
                  <a:cubicBezTo>
                    <a:pt x="295" y="326"/>
                    <a:pt x="295" y="326"/>
                    <a:pt x="295" y="327"/>
                  </a:cubicBezTo>
                  <a:cubicBezTo>
                    <a:pt x="295" y="327"/>
                    <a:pt x="296" y="327"/>
                    <a:pt x="296" y="327"/>
                  </a:cubicBezTo>
                  <a:cubicBezTo>
                    <a:pt x="296" y="327"/>
                    <a:pt x="296" y="327"/>
                    <a:pt x="296" y="328"/>
                  </a:cubicBezTo>
                  <a:cubicBezTo>
                    <a:pt x="295" y="329"/>
                    <a:pt x="296" y="329"/>
                    <a:pt x="295" y="329"/>
                  </a:cubicBezTo>
                  <a:cubicBezTo>
                    <a:pt x="295" y="329"/>
                    <a:pt x="295" y="329"/>
                    <a:pt x="295" y="329"/>
                  </a:cubicBezTo>
                  <a:cubicBezTo>
                    <a:pt x="295" y="330"/>
                    <a:pt x="295" y="330"/>
                    <a:pt x="295" y="330"/>
                  </a:cubicBezTo>
                  <a:cubicBezTo>
                    <a:pt x="295" y="330"/>
                    <a:pt x="294" y="330"/>
                    <a:pt x="294" y="330"/>
                  </a:cubicBezTo>
                  <a:cubicBezTo>
                    <a:pt x="294" y="331"/>
                    <a:pt x="294" y="332"/>
                    <a:pt x="294" y="333"/>
                  </a:cubicBezTo>
                  <a:cubicBezTo>
                    <a:pt x="293" y="333"/>
                    <a:pt x="293" y="333"/>
                    <a:pt x="293" y="333"/>
                  </a:cubicBezTo>
                  <a:cubicBezTo>
                    <a:pt x="293" y="334"/>
                    <a:pt x="292" y="334"/>
                    <a:pt x="292" y="335"/>
                  </a:cubicBezTo>
                  <a:cubicBezTo>
                    <a:pt x="292" y="335"/>
                    <a:pt x="292" y="335"/>
                    <a:pt x="291" y="335"/>
                  </a:cubicBezTo>
                  <a:cubicBezTo>
                    <a:pt x="291" y="336"/>
                    <a:pt x="291" y="336"/>
                    <a:pt x="291" y="337"/>
                  </a:cubicBezTo>
                  <a:cubicBezTo>
                    <a:pt x="291" y="337"/>
                    <a:pt x="291" y="337"/>
                    <a:pt x="290" y="337"/>
                  </a:cubicBezTo>
                  <a:cubicBezTo>
                    <a:pt x="290" y="338"/>
                    <a:pt x="290" y="339"/>
                    <a:pt x="290" y="339"/>
                  </a:cubicBezTo>
                  <a:cubicBezTo>
                    <a:pt x="289" y="339"/>
                    <a:pt x="289" y="339"/>
                    <a:pt x="289" y="340"/>
                  </a:cubicBezTo>
                  <a:cubicBezTo>
                    <a:pt x="289" y="340"/>
                    <a:pt x="289" y="341"/>
                    <a:pt x="288" y="342"/>
                  </a:cubicBezTo>
                  <a:cubicBezTo>
                    <a:pt x="288" y="342"/>
                    <a:pt x="288" y="342"/>
                    <a:pt x="288" y="342"/>
                  </a:cubicBezTo>
                  <a:cubicBezTo>
                    <a:pt x="287" y="343"/>
                    <a:pt x="287" y="343"/>
                    <a:pt x="287" y="344"/>
                  </a:cubicBezTo>
                  <a:cubicBezTo>
                    <a:pt x="287" y="344"/>
                    <a:pt x="286" y="344"/>
                    <a:pt x="286" y="344"/>
                  </a:cubicBezTo>
                  <a:cubicBezTo>
                    <a:pt x="286" y="345"/>
                    <a:pt x="286" y="345"/>
                    <a:pt x="286" y="346"/>
                  </a:cubicBezTo>
                  <a:cubicBezTo>
                    <a:pt x="286" y="346"/>
                    <a:pt x="285" y="346"/>
                    <a:pt x="285" y="346"/>
                  </a:cubicBezTo>
                  <a:cubicBezTo>
                    <a:pt x="285" y="347"/>
                    <a:pt x="285" y="348"/>
                    <a:pt x="284" y="348"/>
                  </a:cubicBezTo>
                  <a:cubicBezTo>
                    <a:pt x="284" y="348"/>
                    <a:pt x="284" y="349"/>
                    <a:pt x="284" y="349"/>
                  </a:cubicBezTo>
                  <a:cubicBezTo>
                    <a:pt x="284" y="349"/>
                    <a:pt x="283" y="350"/>
                    <a:pt x="283" y="351"/>
                  </a:cubicBezTo>
                  <a:cubicBezTo>
                    <a:pt x="283" y="351"/>
                    <a:pt x="283" y="351"/>
                    <a:pt x="282" y="351"/>
                  </a:cubicBezTo>
                  <a:cubicBezTo>
                    <a:pt x="280" y="364"/>
                    <a:pt x="277" y="377"/>
                    <a:pt x="275" y="391"/>
                  </a:cubicBezTo>
                  <a:cubicBezTo>
                    <a:pt x="277" y="392"/>
                    <a:pt x="277" y="394"/>
                    <a:pt x="279" y="395"/>
                  </a:cubicBezTo>
                  <a:cubicBezTo>
                    <a:pt x="279" y="397"/>
                    <a:pt x="279" y="400"/>
                    <a:pt x="278" y="402"/>
                  </a:cubicBezTo>
                  <a:cubicBezTo>
                    <a:pt x="278" y="403"/>
                    <a:pt x="278" y="405"/>
                    <a:pt x="278" y="406"/>
                  </a:cubicBezTo>
                  <a:cubicBezTo>
                    <a:pt x="278" y="407"/>
                    <a:pt x="278" y="408"/>
                    <a:pt x="278" y="409"/>
                  </a:cubicBezTo>
                  <a:cubicBezTo>
                    <a:pt x="278" y="409"/>
                    <a:pt x="278" y="409"/>
                    <a:pt x="278" y="409"/>
                  </a:cubicBezTo>
                  <a:cubicBezTo>
                    <a:pt x="278" y="412"/>
                    <a:pt x="278" y="414"/>
                    <a:pt x="278" y="416"/>
                  </a:cubicBezTo>
                  <a:cubicBezTo>
                    <a:pt x="279" y="418"/>
                    <a:pt x="280" y="419"/>
                    <a:pt x="280" y="421"/>
                  </a:cubicBezTo>
                  <a:cubicBezTo>
                    <a:pt x="279" y="422"/>
                    <a:pt x="279" y="424"/>
                    <a:pt x="278" y="425"/>
                  </a:cubicBezTo>
                  <a:cubicBezTo>
                    <a:pt x="278" y="425"/>
                    <a:pt x="277" y="425"/>
                    <a:pt x="277" y="426"/>
                  </a:cubicBezTo>
                  <a:cubicBezTo>
                    <a:pt x="277" y="426"/>
                    <a:pt x="277" y="426"/>
                    <a:pt x="277" y="426"/>
                  </a:cubicBezTo>
                  <a:cubicBezTo>
                    <a:pt x="276" y="427"/>
                    <a:pt x="275" y="428"/>
                    <a:pt x="275" y="428"/>
                  </a:cubicBezTo>
                  <a:cubicBezTo>
                    <a:pt x="274" y="429"/>
                    <a:pt x="274" y="429"/>
                    <a:pt x="274" y="429"/>
                  </a:cubicBezTo>
                  <a:cubicBezTo>
                    <a:pt x="274" y="429"/>
                    <a:pt x="273" y="429"/>
                    <a:pt x="273" y="429"/>
                  </a:cubicBezTo>
                  <a:cubicBezTo>
                    <a:pt x="273" y="430"/>
                    <a:pt x="273" y="430"/>
                    <a:pt x="273" y="430"/>
                  </a:cubicBezTo>
                  <a:cubicBezTo>
                    <a:pt x="272" y="430"/>
                    <a:pt x="272" y="430"/>
                    <a:pt x="272" y="430"/>
                  </a:cubicBezTo>
                  <a:cubicBezTo>
                    <a:pt x="272" y="431"/>
                    <a:pt x="272" y="431"/>
                    <a:pt x="272" y="431"/>
                  </a:cubicBezTo>
                  <a:cubicBezTo>
                    <a:pt x="270" y="432"/>
                    <a:pt x="269" y="432"/>
                    <a:pt x="268" y="432"/>
                  </a:cubicBezTo>
                  <a:cubicBezTo>
                    <a:pt x="268" y="432"/>
                    <a:pt x="268" y="432"/>
                    <a:pt x="268" y="433"/>
                  </a:cubicBezTo>
                  <a:cubicBezTo>
                    <a:pt x="268" y="433"/>
                    <a:pt x="268" y="433"/>
                    <a:pt x="268" y="433"/>
                  </a:cubicBezTo>
                  <a:cubicBezTo>
                    <a:pt x="268" y="433"/>
                    <a:pt x="268" y="433"/>
                    <a:pt x="268" y="433"/>
                  </a:cubicBezTo>
                  <a:cubicBezTo>
                    <a:pt x="267" y="433"/>
                    <a:pt x="262" y="435"/>
                    <a:pt x="261" y="434"/>
                  </a:cubicBezTo>
                  <a:cubicBezTo>
                    <a:pt x="261" y="434"/>
                    <a:pt x="261" y="434"/>
                    <a:pt x="261" y="434"/>
                  </a:cubicBezTo>
                  <a:cubicBezTo>
                    <a:pt x="260" y="434"/>
                    <a:pt x="259" y="433"/>
                    <a:pt x="258" y="433"/>
                  </a:cubicBezTo>
                  <a:cubicBezTo>
                    <a:pt x="258" y="433"/>
                    <a:pt x="258" y="432"/>
                    <a:pt x="258" y="432"/>
                  </a:cubicBezTo>
                  <a:cubicBezTo>
                    <a:pt x="257" y="432"/>
                    <a:pt x="257" y="432"/>
                    <a:pt x="257" y="432"/>
                  </a:cubicBezTo>
                  <a:cubicBezTo>
                    <a:pt x="256" y="432"/>
                    <a:pt x="256" y="431"/>
                    <a:pt x="256" y="431"/>
                  </a:cubicBezTo>
                  <a:cubicBezTo>
                    <a:pt x="255" y="430"/>
                    <a:pt x="254" y="429"/>
                    <a:pt x="253" y="428"/>
                  </a:cubicBezTo>
                  <a:cubicBezTo>
                    <a:pt x="253" y="428"/>
                    <a:pt x="253" y="428"/>
                    <a:pt x="253" y="428"/>
                  </a:cubicBezTo>
                  <a:cubicBezTo>
                    <a:pt x="253" y="428"/>
                    <a:pt x="253" y="427"/>
                    <a:pt x="252" y="427"/>
                  </a:cubicBezTo>
                  <a:cubicBezTo>
                    <a:pt x="252" y="427"/>
                    <a:pt x="252" y="426"/>
                    <a:pt x="252" y="426"/>
                  </a:cubicBezTo>
                  <a:cubicBezTo>
                    <a:pt x="250" y="424"/>
                    <a:pt x="249" y="420"/>
                    <a:pt x="249" y="417"/>
                  </a:cubicBezTo>
                  <a:cubicBezTo>
                    <a:pt x="248" y="417"/>
                    <a:pt x="247" y="417"/>
                    <a:pt x="247" y="418"/>
                  </a:cubicBezTo>
                  <a:cubicBezTo>
                    <a:pt x="247" y="418"/>
                    <a:pt x="247" y="418"/>
                    <a:pt x="247" y="418"/>
                  </a:cubicBezTo>
                  <a:cubicBezTo>
                    <a:pt x="246" y="418"/>
                    <a:pt x="246" y="418"/>
                    <a:pt x="245" y="418"/>
                  </a:cubicBezTo>
                  <a:cubicBezTo>
                    <a:pt x="245" y="418"/>
                    <a:pt x="245" y="418"/>
                    <a:pt x="245" y="418"/>
                  </a:cubicBezTo>
                  <a:cubicBezTo>
                    <a:pt x="243" y="418"/>
                    <a:pt x="242" y="418"/>
                    <a:pt x="240" y="418"/>
                  </a:cubicBezTo>
                  <a:cubicBezTo>
                    <a:pt x="240" y="418"/>
                    <a:pt x="240" y="418"/>
                    <a:pt x="240" y="418"/>
                  </a:cubicBezTo>
                  <a:cubicBezTo>
                    <a:pt x="240" y="418"/>
                    <a:pt x="235" y="419"/>
                    <a:pt x="235" y="419"/>
                  </a:cubicBezTo>
                  <a:cubicBezTo>
                    <a:pt x="232" y="421"/>
                    <a:pt x="232" y="428"/>
                    <a:pt x="233" y="433"/>
                  </a:cubicBezTo>
                  <a:cubicBezTo>
                    <a:pt x="229" y="432"/>
                    <a:pt x="225" y="431"/>
                    <a:pt x="221" y="431"/>
                  </a:cubicBezTo>
                  <a:cubicBezTo>
                    <a:pt x="219" y="430"/>
                    <a:pt x="215" y="431"/>
                    <a:pt x="213" y="430"/>
                  </a:cubicBezTo>
                  <a:cubicBezTo>
                    <a:pt x="211" y="430"/>
                    <a:pt x="209" y="430"/>
                    <a:pt x="208" y="430"/>
                  </a:cubicBezTo>
                  <a:cubicBezTo>
                    <a:pt x="203" y="430"/>
                    <a:pt x="198" y="430"/>
                    <a:pt x="194" y="430"/>
                  </a:cubicBezTo>
                  <a:cubicBezTo>
                    <a:pt x="192" y="429"/>
                    <a:pt x="190" y="429"/>
                    <a:pt x="188" y="428"/>
                  </a:cubicBezTo>
                  <a:cubicBezTo>
                    <a:pt x="188" y="428"/>
                    <a:pt x="187" y="428"/>
                    <a:pt x="187" y="428"/>
                  </a:cubicBezTo>
                  <a:cubicBezTo>
                    <a:pt x="183" y="427"/>
                    <a:pt x="179" y="426"/>
                    <a:pt x="175" y="425"/>
                  </a:cubicBezTo>
                  <a:cubicBezTo>
                    <a:pt x="174" y="425"/>
                    <a:pt x="172" y="425"/>
                    <a:pt x="171" y="425"/>
                  </a:cubicBezTo>
                  <a:cubicBezTo>
                    <a:pt x="167" y="425"/>
                    <a:pt x="163" y="425"/>
                    <a:pt x="159" y="426"/>
                  </a:cubicBezTo>
                  <a:cubicBezTo>
                    <a:pt x="158" y="426"/>
                    <a:pt x="150" y="426"/>
                    <a:pt x="149" y="425"/>
                  </a:cubicBezTo>
                  <a:cubicBezTo>
                    <a:pt x="149" y="425"/>
                    <a:pt x="149" y="425"/>
                    <a:pt x="149" y="425"/>
                  </a:cubicBezTo>
                  <a:cubicBezTo>
                    <a:pt x="148" y="425"/>
                    <a:pt x="147" y="424"/>
                    <a:pt x="145" y="424"/>
                  </a:cubicBezTo>
                  <a:cubicBezTo>
                    <a:pt x="145" y="422"/>
                    <a:pt x="144" y="420"/>
                    <a:pt x="143" y="418"/>
                  </a:cubicBezTo>
                  <a:cubicBezTo>
                    <a:pt x="143" y="418"/>
                    <a:pt x="143" y="418"/>
                    <a:pt x="143" y="417"/>
                  </a:cubicBezTo>
                  <a:cubicBezTo>
                    <a:pt x="143" y="417"/>
                    <a:pt x="143" y="417"/>
                    <a:pt x="143" y="417"/>
                  </a:cubicBezTo>
                  <a:cubicBezTo>
                    <a:pt x="143" y="417"/>
                    <a:pt x="143" y="416"/>
                    <a:pt x="142" y="416"/>
                  </a:cubicBezTo>
                  <a:cubicBezTo>
                    <a:pt x="142" y="416"/>
                    <a:pt x="142" y="416"/>
                    <a:pt x="142" y="416"/>
                  </a:cubicBezTo>
                  <a:cubicBezTo>
                    <a:pt x="142" y="415"/>
                    <a:pt x="142" y="414"/>
                    <a:pt x="141" y="414"/>
                  </a:cubicBezTo>
                  <a:cubicBezTo>
                    <a:pt x="141" y="414"/>
                    <a:pt x="141" y="414"/>
                    <a:pt x="141" y="414"/>
                  </a:cubicBezTo>
                  <a:cubicBezTo>
                    <a:pt x="141" y="413"/>
                    <a:pt x="141" y="413"/>
                    <a:pt x="141" y="413"/>
                  </a:cubicBezTo>
                  <a:cubicBezTo>
                    <a:pt x="141" y="413"/>
                    <a:pt x="141" y="413"/>
                    <a:pt x="141" y="413"/>
                  </a:cubicBezTo>
                  <a:cubicBezTo>
                    <a:pt x="141" y="413"/>
                    <a:pt x="141" y="413"/>
                    <a:pt x="141" y="412"/>
                  </a:cubicBezTo>
                  <a:cubicBezTo>
                    <a:pt x="141" y="412"/>
                    <a:pt x="140" y="412"/>
                    <a:pt x="140" y="412"/>
                  </a:cubicBezTo>
                  <a:cubicBezTo>
                    <a:pt x="140" y="412"/>
                    <a:pt x="140" y="412"/>
                    <a:pt x="140" y="412"/>
                  </a:cubicBezTo>
                  <a:cubicBezTo>
                    <a:pt x="140" y="412"/>
                    <a:pt x="140" y="412"/>
                    <a:pt x="140" y="412"/>
                  </a:cubicBezTo>
                  <a:cubicBezTo>
                    <a:pt x="140" y="411"/>
                    <a:pt x="140" y="411"/>
                    <a:pt x="140" y="411"/>
                  </a:cubicBezTo>
                  <a:cubicBezTo>
                    <a:pt x="140" y="411"/>
                    <a:pt x="140" y="411"/>
                    <a:pt x="139" y="411"/>
                  </a:cubicBezTo>
                  <a:cubicBezTo>
                    <a:pt x="139" y="410"/>
                    <a:pt x="139" y="410"/>
                    <a:pt x="139" y="409"/>
                  </a:cubicBezTo>
                  <a:cubicBezTo>
                    <a:pt x="139" y="409"/>
                    <a:pt x="138" y="409"/>
                    <a:pt x="138" y="409"/>
                  </a:cubicBezTo>
                  <a:cubicBezTo>
                    <a:pt x="138" y="409"/>
                    <a:pt x="138" y="408"/>
                    <a:pt x="138" y="408"/>
                  </a:cubicBezTo>
                  <a:cubicBezTo>
                    <a:pt x="138" y="408"/>
                    <a:pt x="138" y="408"/>
                    <a:pt x="137" y="407"/>
                  </a:cubicBezTo>
                  <a:cubicBezTo>
                    <a:pt x="137" y="407"/>
                    <a:pt x="137" y="407"/>
                    <a:pt x="137" y="407"/>
                  </a:cubicBezTo>
                  <a:cubicBezTo>
                    <a:pt x="137" y="407"/>
                    <a:pt x="137" y="407"/>
                    <a:pt x="137" y="407"/>
                  </a:cubicBezTo>
                  <a:cubicBezTo>
                    <a:pt x="137" y="406"/>
                    <a:pt x="137" y="406"/>
                    <a:pt x="137" y="406"/>
                  </a:cubicBezTo>
                  <a:cubicBezTo>
                    <a:pt x="136" y="406"/>
                    <a:pt x="136" y="405"/>
                    <a:pt x="136" y="405"/>
                  </a:cubicBezTo>
                  <a:cubicBezTo>
                    <a:pt x="136" y="405"/>
                    <a:pt x="136" y="405"/>
                    <a:pt x="136" y="405"/>
                  </a:cubicBezTo>
                  <a:cubicBezTo>
                    <a:pt x="135" y="404"/>
                    <a:pt x="135" y="404"/>
                    <a:pt x="135" y="404"/>
                  </a:cubicBezTo>
                  <a:cubicBezTo>
                    <a:pt x="135" y="404"/>
                    <a:pt x="135" y="403"/>
                    <a:pt x="135" y="403"/>
                  </a:cubicBezTo>
                  <a:cubicBezTo>
                    <a:pt x="135" y="403"/>
                    <a:pt x="134" y="403"/>
                    <a:pt x="134" y="403"/>
                  </a:cubicBezTo>
                  <a:cubicBezTo>
                    <a:pt x="134" y="403"/>
                    <a:pt x="134" y="402"/>
                    <a:pt x="134" y="402"/>
                  </a:cubicBezTo>
                  <a:cubicBezTo>
                    <a:pt x="134" y="402"/>
                    <a:pt x="133" y="402"/>
                    <a:pt x="133" y="401"/>
                  </a:cubicBezTo>
                  <a:cubicBezTo>
                    <a:pt x="133" y="401"/>
                    <a:pt x="133" y="401"/>
                    <a:pt x="133" y="401"/>
                  </a:cubicBezTo>
                  <a:cubicBezTo>
                    <a:pt x="133" y="401"/>
                    <a:pt x="133" y="401"/>
                    <a:pt x="132" y="400"/>
                  </a:cubicBezTo>
                  <a:cubicBezTo>
                    <a:pt x="132" y="400"/>
                    <a:pt x="132" y="400"/>
                    <a:pt x="132" y="400"/>
                  </a:cubicBezTo>
                  <a:cubicBezTo>
                    <a:pt x="132" y="400"/>
                    <a:pt x="132" y="399"/>
                    <a:pt x="132" y="399"/>
                  </a:cubicBezTo>
                  <a:cubicBezTo>
                    <a:pt x="132" y="399"/>
                    <a:pt x="132" y="399"/>
                    <a:pt x="132" y="399"/>
                  </a:cubicBezTo>
                  <a:cubicBezTo>
                    <a:pt x="131" y="399"/>
                    <a:pt x="131" y="398"/>
                    <a:pt x="131" y="398"/>
                  </a:cubicBezTo>
                  <a:cubicBezTo>
                    <a:pt x="131" y="398"/>
                    <a:pt x="131" y="398"/>
                    <a:pt x="131" y="398"/>
                  </a:cubicBezTo>
                  <a:cubicBezTo>
                    <a:pt x="131" y="397"/>
                    <a:pt x="130" y="397"/>
                    <a:pt x="130" y="397"/>
                  </a:cubicBezTo>
                  <a:cubicBezTo>
                    <a:pt x="130" y="397"/>
                    <a:pt x="130" y="396"/>
                    <a:pt x="130" y="396"/>
                  </a:cubicBezTo>
                  <a:cubicBezTo>
                    <a:pt x="130" y="396"/>
                    <a:pt x="129" y="396"/>
                    <a:pt x="129" y="396"/>
                  </a:cubicBezTo>
                  <a:cubicBezTo>
                    <a:pt x="129" y="395"/>
                    <a:pt x="129" y="394"/>
                    <a:pt x="128" y="393"/>
                  </a:cubicBezTo>
                  <a:cubicBezTo>
                    <a:pt x="128" y="393"/>
                    <a:pt x="128" y="393"/>
                    <a:pt x="128" y="393"/>
                  </a:cubicBezTo>
                  <a:cubicBezTo>
                    <a:pt x="128" y="393"/>
                    <a:pt x="128" y="393"/>
                    <a:pt x="128" y="392"/>
                  </a:cubicBezTo>
                  <a:cubicBezTo>
                    <a:pt x="128" y="392"/>
                    <a:pt x="128" y="392"/>
                    <a:pt x="127" y="392"/>
                  </a:cubicBezTo>
                  <a:cubicBezTo>
                    <a:pt x="127" y="392"/>
                    <a:pt x="127" y="392"/>
                    <a:pt x="127" y="392"/>
                  </a:cubicBezTo>
                  <a:cubicBezTo>
                    <a:pt x="127" y="392"/>
                    <a:pt x="127" y="392"/>
                    <a:pt x="127" y="392"/>
                  </a:cubicBezTo>
                  <a:cubicBezTo>
                    <a:pt x="127" y="391"/>
                    <a:pt x="127" y="391"/>
                    <a:pt x="127" y="391"/>
                  </a:cubicBezTo>
                  <a:cubicBezTo>
                    <a:pt x="127" y="391"/>
                    <a:pt x="127" y="391"/>
                    <a:pt x="127" y="391"/>
                  </a:cubicBezTo>
                  <a:cubicBezTo>
                    <a:pt x="127" y="391"/>
                    <a:pt x="127" y="390"/>
                    <a:pt x="127" y="390"/>
                  </a:cubicBezTo>
                  <a:cubicBezTo>
                    <a:pt x="127" y="390"/>
                    <a:pt x="126" y="390"/>
                    <a:pt x="126" y="390"/>
                  </a:cubicBezTo>
                  <a:cubicBezTo>
                    <a:pt x="126" y="390"/>
                    <a:pt x="126" y="390"/>
                    <a:pt x="126" y="390"/>
                  </a:cubicBezTo>
                  <a:cubicBezTo>
                    <a:pt x="126" y="390"/>
                    <a:pt x="126" y="390"/>
                    <a:pt x="126" y="390"/>
                  </a:cubicBezTo>
                  <a:cubicBezTo>
                    <a:pt x="126" y="389"/>
                    <a:pt x="126" y="389"/>
                    <a:pt x="126" y="389"/>
                  </a:cubicBezTo>
                  <a:cubicBezTo>
                    <a:pt x="126" y="389"/>
                    <a:pt x="126" y="389"/>
                    <a:pt x="126" y="389"/>
                  </a:cubicBezTo>
                  <a:cubicBezTo>
                    <a:pt x="126" y="389"/>
                    <a:pt x="126" y="388"/>
                    <a:pt x="126" y="388"/>
                  </a:cubicBezTo>
                  <a:cubicBezTo>
                    <a:pt x="126" y="388"/>
                    <a:pt x="125" y="388"/>
                    <a:pt x="125" y="388"/>
                  </a:cubicBezTo>
                  <a:cubicBezTo>
                    <a:pt x="125" y="387"/>
                    <a:pt x="125" y="387"/>
                    <a:pt x="125" y="386"/>
                  </a:cubicBezTo>
                  <a:cubicBezTo>
                    <a:pt x="124" y="386"/>
                    <a:pt x="124" y="386"/>
                    <a:pt x="124" y="386"/>
                  </a:cubicBezTo>
                  <a:cubicBezTo>
                    <a:pt x="124" y="386"/>
                    <a:pt x="124" y="385"/>
                    <a:pt x="124" y="385"/>
                  </a:cubicBezTo>
                  <a:cubicBezTo>
                    <a:pt x="124" y="385"/>
                    <a:pt x="124" y="385"/>
                    <a:pt x="124" y="385"/>
                  </a:cubicBezTo>
                  <a:cubicBezTo>
                    <a:pt x="124" y="385"/>
                    <a:pt x="124" y="385"/>
                    <a:pt x="124" y="384"/>
                  </a:cubicBezTo>
                  <a:cubicBezTo>
                    <a:pt x="124" y="384"/>
                    <a:pt x="124" y="384"/>
                    <a:pt x="124" y="384"/>
                  </a:cubicBezTo>
                  <a:cubicBezTo>
                    <a:pt x="123" y="384"/>
                    <a:pt x="123" y="383"/>
                    <a:pt x="123" y="383"/>
                  </a:cubicBezTo>
                  <a:cubicBezTo>
                    <a:pt x="123" y="383"/>
                    <a:pt x="123" y="383"/>
                    <a:pt x="123" y="383"/>
                  </a:cubicBezTo>
                  <a:cubicBezTo>
                    <a:pt x="123" y="383"/>
                    <a:pt x="123" y="382"/>
                    <a:pt x="123" y="382"/>
                  </a:cubicBezTo>
                  <a:cubicBezTo>
                    <a:pt x="123" y="382"/>
                    <a:pt x="123" y="382"/>
                    <a:pt x="123" y="382"/>
                  </a:cubicBezTo>
                  <a:cubicBezTo>
                    <a:pt x="122" y="380"/>
                    <a:pt x="124" y="374"/>
                    <a:pt x="125" y="373"/>
                  </a:cubicBezTo>
                  <a:cubicBezTo>
                    <a:pt x="125" y="373"/>
                    <a:pt x="125" y="373"/>
                    <a:pt x="125" y="373"/>
                  </a:cubicBezTo>
                  <a:cubicBezTo>
                    <a:pt x="125" y="373"/>
                    <a:pt x="125" y="372"/>
                    <a:pt x="125" y="372"/>
                  </a:cubicBezTo>
                  <a:cubicBezTo>
                    <a:pt x="125" y="372"/>
                    <a:pt x="125" y="372"/>
                    <a:pt x="125" y="372"/>
                  </a:cubicBezTo>
                  <a:cubicBezTo>
                    <a:pt x="125" y="372"/>
                    <a:pt x="125" y="372"/>
                    <a:pt x="125" y="371"/>
                  </a:cubicBezTo>
                  <a:cubicBezTo>
                    <a:pt x="125" y="371"/>
                    <a:pt x="126" y="371"/>
                    <a:pt x="126" y="371"/>
                  </a:cubicBezTo>
                  <a:cubicBezTo>
                    <a:pt x="126" y="371"/>
                    <a:pt x="126" y="370"/>
                    <a:pt x="126" y="370"/>
                  </a:cubicBezTo>
                  <a:cubicBezTo>
                    <a:pt x="126" y="370"/>
                    <a:pt x="126" y="370"/>
                    <a:pt x="126" y="370"/>
                  </a:cubicBezTo>
                  <a:cubicBezTo>
                    <a:pt x="126" y="370"/>
                    <a:pt x="126" y="370"/>
                    <a:pt x="126" y="369"/>
                  </a:cubicBezTo>
                  <a:cubicBezTo>
                    <a:pt x="126" y="369"/>
                    <a:pt x="127" y="369"/>
                    <a:pt x="127" y="369"/>
                  </a:cubicBezTo>
                  <a:cubicBezTo>
                    <a:pt x="127" y="369"/>
                    <a:pt x="127" y="369"/>
                    <a:pt x="127" y="369"/>
                  </a:cubicBezTo>
                  <a:cubicBezTo>
                    <a:pt x="127" y="369"/>
                    <a:pt x="127" y="369"/>
                    <a:pt x="127" y="369"/>
                  </a:cubicBezTo>
                  <a:cubicBezTo>
                    <a:pt x="127" y="368"/>
                    <a:pt x="127" y="368"/>
                    <a:pt x="127" y="368"/>
                  </a:cubicBezTo>
                  <a:cubicBezTo>
                    <a:pt x="127" y="368"/>
                    <a:pt x="127" y="368"/>
                    <a:pt x="127" y="368"/>
                  </a:cubicBezTo>
                  <a:cubicBezTo>
                    <a:pt x="127" y="368"/>
                    <a:pt x="127" y="367"/>
                    <a:pt x="127" y="367"/>
                  </a:cubicBezTo>
                  <a:cubicBezTo>
                    <a:pt x="128" y="367"/>
                    <a:pt x="128" y="367"/>
                    <a:pt x="128" y="367"/>
                  </a:cubicBezTo>
                  <a:cubicBezTo>
                    <a:pt x="128" y="367"/>
                    <a:pt x="128" y="367"/>
                    <a:pt x="128" y="366"/>
                  </a:cubicBezTo>
                  <a:cubicBezTo>
                    <a:pt x="128" y="366"/>
                    <a:pt x="128" y="366"/>
                    <a:pt x="128" y="366"/>
                  </a:cubicBezTo>
                  <a:cubicBezTo>
                    <a:pt x="128" y="366"/>
                    <a:pt x="128" y="366"/>
                    <a:pt x="128" y="365"/>
                  </a:cubicBezTo>
                  <a:cubicBezTo>
                    <a:pt x="129" y="365"/>
                    <a:pt x="129" y="365"/>
                    <a:pt x="129" y="365"/>
                  </a:cubicBezTo>
                  <a:cubicBezTo>
                    <a:pt x="129" y="364"/>
                    <a:pt x="129" y="363"/>
                    <a:pt x="130" y="363"/>
                  </a:cubicBezTo>
                  <a:cubicBezTo>
                    <a:pt x="130" y="363"/>
                    <a:pt x="130" y="363"/>
                    <a:pt x="130" y="363"/>
                  </a:cubicBezTo>
                  <a:cubicBezTo>
                    <a:pt x="130" y="362"/>
                    <a:pt x="130" y="362"/>
                    <a:pt x="130" y="361"/>
                  </a:cubicBezTo>
                  <a:cubicBezTo>
                    <a:pt x="130" y="361"/>
                    <a:pt x="130" y="361"/>
                    <a:pt x="131" y="361"/>
                  </a:cubicBezTo>
                  <a:cubicBezTo>
                    <a:pt x="131" y="361"/>
                    <a:pt x="131" y="360"/>
                    <a:pt x="131" y="359"/>
                  </a:cubicBezTo>
                  <a:cubicBezTo>
                    <a:pt x="131" y="359"/>
                    <a:pt x="131" y="359"/>
                    <a:pt x="131" y="359"/>
                  </a:cubicBezTo>
                  <a:cubicBezTo>
                    <a:pt x="131" y="359"/>
                    <a:pt x="131" y="359"/>
                    <a:pt x="131" y="358"/>
                  </a:cubicBezTo>
                  <a:cubicBezTo>
                    <a:pt x="131" y="358"/>
                    <a:pt x="131" y="358"/>
                    <a:pt x="132" y="358"/>
                  </a:cubicBezTo>
                  <a:cubicBezTo>
                    <a:pt x="132" y="358"/>
                    <a:pt x="132" y="358"/>
                    <a:pt x="132" y="357"/>
                  </a:cubicBezTo>
                  <a:cubicBezTo>
                    <a:pt x="132" y="356"/>
                    <a:pt x="133" y="354"/>
                    <a:pt x="133" y="352"/>
                  </a:cubicBezTo>
                  <a:cubicBezTo>
                    <a:pt x="133" y="351"/>
                    <a:pt x="133" y="352"/>
                    <a:pt x="133" y="351"/>
                  </a:cubicBezTo>
                  <a:cubicBezTo>
                    <a:pt x="130" y="351"/>
                    <a:pt x="128" y="351"/>
                    <a:pt x="125" y="350"/>
                  </a:cubicBezTo>
                  <a:cubicBezTo>
                    <a:pt x="125" y="350"/>
                    <a:pt x="125" y="350"/>
                    <a:pt x="125" y="350"/>
                  </a:cubicBezTo>
                  <a:cubicBezTo>
                    <a:pt x="124" y="350"/>
                    <a:pt x="123" y="349"/>
                    <a:pt x="122" y="349"/>
                  </a:cubicBezTo>
                  <a:cubicBezTo>
                    <a:pt x="122" y="349"/>
                    <a:pt x="122" y="349"/>
                    <a:pt x="122" y="349"/>
                  </a:cubicBezTo>
                  <a:cubicBezTo>
                    <a:pt x="121" y="349"/>
                    <a:pt x="121" y="349"/>
                    <a:pt x="120" y="349"/>
                  </a:cubicBezTo>
                  <a:cubicBezTo>
                    <a:pt x="120" y="349"/>
                    <a:pt x="120" y="349"/>
                    <a:pt x="120" y="349"/>
                  </a:cubicBezTo>
                  <a:cubicBezTo>
                    <a:pt x="120" y="349"/>
                    <a:pt x="119" y="349"/>
                    <a:pt x="119" y="349"/>
                  </a:cubicBezTo>
                  <a:cubicBezTo>
                    <a:pt x="119" y="349"/>
                    <a:pt x="119" y="348"/>
                    <a:pt x="119" y="348"/>
                  </a:cubicBezTo>
                  <a:cubicBezTo>
                    <a:pt x="118" y="348"/>
                    <a:pt x="118" y="348"/>
                    <a:pt x="117" y="348"/>
                  </a:cubicBezTo>
                  <a:cubicBezTo>
                    <a:pt x="117" y="348"/>
                    <a:pt x="117" y="348"/>
                    <a:pt x="117" y="348"/>
                  </a:cubicBezTo>
                  <a:cubicBezTo>
                    <a:pt x="116" y="348"/>
                    <a:pt x="116" y="348"/>
                    <a:pt x="116" y="348"/>
                  </a:cubicBezTo>
                  <a:cubicBezTo>
                    <a:pt x="116" y="348"/>
                    <a:pt x="116" y="348"/>
                    <a:pt x="116" y="348"/>
                  </a:cubicBezTo>
                  <a:cubicBezTo>
                    <a:pt x="115" y="347"/>
                    <a:pt x="114" y="347"/>
                    <a:pt x="113" y="347"/>
                  </a:cubicBezTo>
                  <a:cubicBezTo>
                    <a:pt x="113" y="347"/>
                    <a:pt x="113" y="347"/>
                    <a:pt x="113" y="347"/>
                  </a:cubicBezTo>
                  <a:cubicBezTo>
                    <a:pt x="112" y="347"/>
                    <a:pt x="112" y="347"/>
                    <a:pt x="111" y="347"/>
                  </a:cubicBezTo>
                  <a:cubicBezTo>
                    <a:pt x="111" y="346"/>
                    <a:pt x="111" y="346"/>
                    <a:pt x="111" y="346"/>
                  </a:cubicBezTo>
                  <a:cubicBezTo>
                    <a:pt x="111" y="346"/>
                    <a:pt x="111" y="346"/>
                    <a:pt x="110" y="346"/>
                  </a:cubicBezTo>
                  <a:cubicBezTo>
                    <a:pt x="110" y="345"/>
                    <a:pt x="110" y="345"/>
                    <a:pt x="109" y="344"/>
                  </a:cubicBezTo>
                  <a:cubicBezTo>
                    <a:pt x="109" y="344"/>
                    <a:pt x="109" y="344"/>
                    <a:pt x="109" y="344"/>
                  </a:cubicBezTo>
                  <a:cubicBezTo>
                    <a:pt x="108" y="343"/>
                    <a:pt x="107" y="342"/>
                    <a:pt x="106" y="341"/>
                  </a:cubicBezTo>
                  <a:cubicBezTo>
                    <a:pt x="105" y="341"/>
                    <a:pt x="105" y="341"/>
                    <a:pt x="104" y="340"/>
                  </a:cubicBezTo>
                  <a:cubicBezTo>
                    <a:pt x="104" y="340"/>
                    <a:pt x="104" y="340"/>
                    <a:pt x="104" y="340"/>
                  </a:cubicBezTo>
                  <a:cubicBezTo>
                    <a:pt x="104" y="339"/>
                    <a:pt x="103" y="339"/>
                    <a:pt x="103" y="339"/>
                  </a:cubicBezTo>
                  <a:cubicBezTo>
                    <a:pt x="103" y="338"/>
                    <a:pt x="103" y="338"/>
                    <a:pt x="103" y="338"/>
                  </a:cubicBezTo>
                  <a:cubicBezTo>
                    <a:pt x="103" y="338"/>
                    <a:pt x="102" y="337"/>
                    <a:pt x="102" y="337"/>
                  </a:cubicBezTo>
                  <a:cubicBezTo>
                    <a:pt x="102" y="337"/>
                    <a:pt x="102" y="337"/>
                    <a:pt x="102" y="336"/>
                  </a:cubicBezTo>
                  <a:cubicBezTo>
                    <a:pt x="102" y="336"/>
                    <a:pt x="101" y="336"/>
                    <a:pt x="101" y="336"/>
                  </a:cubicBezTo>
                  <a:cubicBezTo>
                    <a:pt x="101" y="335"/>
                    <a:pt x="101" y="335"/>
                    <a:pt x="101" y="335"/>
                  </a:cubicBezTo>
                  <a:cubicBezTo>
                    <a:pt x="100" y="335"/>
                    <a:pt x="100" y="335"/>
                    <a:pt x="100" y="334"/>
                  </a:cubicBezTo>
                  <a:cubicBezTo>
                    <a:pt x="100" y="334"/>
                    <a:pt x="100" y="334"/>
                    <a:pt x="100" y="334"/>
                  </a:cubicBezTo>
                  <a:cubicBezTo>
                    <a:pt x="100" y="333"/>
                    <a:pt x="99" y="333"/>
                    <a:pt x="99" y="333"/>
                  </a:cubicBezTo>
                  <a:cubicBezTo>
                    <a:pt x="99" y="333"/>
                    <a:pt x="99" y="333"/>
                    <a:pt x="99" y="332"/>
                  </a:cubicBezTo>
                  <a:cubicBezTo>
                    <a:pt x="99" y="332"/>
                    <a:pt x="99" y="332"/>
                    <a:pt x="98" y="332"/>
                  </a:cubicBezTo>
                  <a:cubicBezTo>
                    <a:pt x="98" y="332"/>
                    <a:pt x="98" y="332"/>
                    <a:pt x="98" y="332"/>
                  </a:cubicBezTo>
                  <a:cubicBezTo>
                    <a:pt x="98" y="331"/>
                    <a:pt x="98" y="331"/>
                    <a:pt x="97" y="331"/>
                  </a:cubicBezTo>
                  <a:cubicBezTo>
                    <a:pt x="97" y="331"/>
                    <a:pt x="97" y="330"/>
                    <a:pt x="97" y="330"/>
                  </a:cubicBezTo>
                  <a:cubicBezTo>
                    <a:pt x="97" y="330"/>
                    <a:pt x="97" y="330"/>
                    <a:pt x="97" y="330"/>
                  </a:cubicBezTo>
                  <a:cubicBezTo>
                    <a:pt x="97" y="330"/>
                    <a:pt x="97" y="329"/>
                    <a:pt x="97" y="329"/>
                  </a:cubicBezTo>
                  <a:cubicBezTo>
                    <a:pt x="96" y="329"/>
                    <a:pt x="96" y="329"/>
                    <a:pt x="96" y="329"/>
                  </a:cubicBezTo>
                  <a:cubicBezTo>
                    <a:pt x="96" y="328"/>
                    <a:pt x="96" y="328"/>
                    <a:pt x="96" y="328"/>
                  </a:cubicBezTo>
                  <a:cubicBezTo>
                    <a:pt x="96" y="328"/>
                    <a:pt x="95" y="328"/>
                    <a:pt x="95" y="327"/>
                  </a:cubicBezTo>
                  <a:cubicBezTo>
                    <a:pt x="95" y="327"/>
                    <a:pt x="95" y="327"/>
                    <a:pt x="95" y="327"/>
                  </a:cubicBezTo>
                  <a:cubicBezTo>
                    <a:pt x="95" y="326"/>
                    <a:pt x="94" y="326"/>
                    <a:pt x="94" y="326"/>
                  </a:cubicBezTo>
                  <a:cubicBezTo>
                    <a:pt x="94" y="326"/>
                    <a:pt x="94" y="326"/>
                    <a:pt x="94" y="326"/>
                  </a:cubicBezTo>
                  <a:cubicBezTo>
                    <a:pt x="94" y="325"/>
                    <a:pt x="93" y="325"/>
                    <a:pt x="93" y="325"/>
                  </a:cubicBezTo>
                  <a:cubicBezTo>
                    <a:pt x="93" y="325"/>
                    <a:pt x="93" y="324"/>
                    <a:pt x="93" y="324"/>
                  </a:cubicBezTo>
                  <a:cubicBezTo>
                    <a:pt x="93" y="324"/>
                    <a:pt x="92" y="323"/>
                    <a:pt x="91" y="323"/>
                  </a:cubicBezTo>
                  <a:cubicBezTo>
                    <a:pt x="91" y="323"/>
                    <a:pt x="91" y="322"/>
                    <a:pt x="91" y="322"/>
                  </a:cubicBezTo>
                  <a:cubicBezTo>
                    <a:pt x="91" y="322"/>
                    <a:pt x="91" y="322"/>
                    <a:pt x="91" y="322"/>
                  </a:cubicBezTo>
                  <a:cubicBezTo>
                    <a:pt x="91" y="322"/>
                    <a:pt x="91" y="321"/>
                    <a:pt x="90" y="321"/>
                  </a:cubicBezTo>
                  <a:cubicBezTo>
                    <a:pt x="90" y="321"/>
                    <a:pt x="90" y="321"/>
                    <a:pt x="90" y="321"/>
                  </a:cubicBezTo>
                  <a:cubicBezTo>
                    <a:pt x="89" y="319"/>
                    <a:pt x="89" y="317"/>
                    <a:pt x="88" y="316"/>
                  </a:cubicBezTo>
                  <a:cubicBezTo>
                    <a:pt x="86" y="310"/>
                    <a:pt x="85" y="300"/>
                    <a:pt x="85" y="292"/>
                  </a:cubicBezTo>
                  <a:cubicBezTo>
                    <a:pt x="84" y="291"/>
                    <a:pt x="82" y="290"/>
                    <a:pt x="80" y="290"/>
                  </a:cubicBezTo>
                  <a:cubicBezTo>
                    <a:pt x="79" y="290"/>
                    <a:pt x="79" y="290"/>
                    <a:pt x="78" y="290"/>
                  </a:cubicBezTo>
                  <a:cubicBezTo>
                    <a:pt x="78" y="289"/>
                    <a:pt x="78" y="289"/>
                    <a:pt x="78" y="289"/>
                  </a:cubicBezTo>
                  <a:cubicBezTo>
                    <a:pt x="77" y="289"/>
                    <a:pt x="76" y="289"/>
                    <a:pt x="75" y="289"/>
                  </a:cubicBezTo>
                  <a:cubicBezTo>
                    <a:pt x="75" y="289"/>
                    <a:pt x="75" y="289"/>
                    <a:pt x="75" y="288"/>
                  </a:cubicBezTo>
                  <a:cubicBezTo>
                    <a:pt x="73" y="288"/>
                    <a:pt x="72" y="288"/>
                    <a:pt x="71" y="288"/>
                  </a:cubicBezTo>
                  <a:cubicBezTo>
                    <a:pt x="71" y="288"/>
                    <a:pt x="71" y="288"/>
                    <a:pt x="71" y="288"/>
                  </a:cubicBezTo>
                  <a:cubicBezTo>
                    <a:pt x="70" y="288"/>
                    <a:pt x="70" y="288"/>
                    <a:pt x="69" y="288"/>
                  </a:cubicBezTo>
                  <a:cubicBezTo>
                    <a:pt x="69" y="288"/>
                    <a:pt x="69" y="288"/>
                    <a:pt x="69" y="287"/>
                  </a:cubicBezTo>
                  <a:cubicBezTo>
                    <a:pt x="69" y="287"/>
                    <a:pt x="68" y="287"/>
                    <a:pt x="68" y="287"/>
                  </a:cubicBezTo>
                  <a:cubicBezTo>
                    <a:pt x="68" y="287"/>
                    <a:pt x="68" y="287"/>
                    <a:pt x="68" y="287"/>
                  </a:cubicBezTo>
                  <a:cubicBezTo>
                    <a:pt x="67" y="287"/>
                    <a:pt x="67" y="287"/>
                    <a:pt x="67" y="287"/>
                  </a:cubicBezTo>
                  <a:cubicBezTo>
                    <a:pt x="67" y="287"/>
                    <a:pt x="67" y="287"/>
                    <a:pt x="67" y="287"/>
                  </a:cubicBezTo>
                  <a:cubicBezTo>
                    <a:pt x="66" y="287"/>
                    <a:pt x="66" y="287"/>
                    <a:pt x="66" y="287"/>
                  </a:cubicBezTo>
                  <a:cubicBezTo>
                    <a:pt x="66" y="287"/>
                    <a:pt x="66" y="287"/>
                    <a:pt x="66" y="286"/>
                  </a:cubicBezTo>
                  <a:cubicBezTo>
                    <a:pt x="65" y="286"/>
                    <a:pt x="65" y="286"/>
                    <a:pt x="64" y="286"/>
                  </a:cubicBezTo>
                  <a:cubicBezTo>
                    <a:pt x="64" y="286"/>
                    <a:pt x="64" y="286"/>
                    <a:pt x="64" y="286"/>
                  </a:cubicBezTo>
                  <a:cubicBezTo>
                    <a:pt x="64" y="286"/>
                    <a:pt x="64" y="286"/>
                    <a:pt x="63" y="286"/>
                  </a:cubicBezTo>
                  <a:cubicBezTo>
                    <a:pt x="63" y="286"/>
                    <a:pt x="63" y="286"/>
                    <a:pt x="63" y="286"/>
                  </a:cubicBezTo>
                  <a:cubicBezTo>
                    <a:pt x="63" y="285"/>
                    <a:pt x="62" y="285"/>
                    <a:pt x="61" y="285"/>
                  </a:cubicBezTo>
                  <a:cubicBezTo>
                    <a:pt x="61" y="285"/>
                    <a:pt x="61" y="285"/>
                    <a:pt x="61" y="285"/>
                  </a:cubicBezTo>
                  <a:cubicBezTo>
                    <a:pt x="61" y="285"/>
                    <a:pt x="61" y="285"/>
                    <a:pt x="61" y="285"/>
                  </a:cubicBezTo>
                  <a:cubicBezTo>
                    <a:pt x="61" y="285"/>
                    <a:pt x="61" y="284"/>
                    <a:pt x="61" y="284"/>
                  </a:cubicBezTo>
                  <a:cubicBezTo>
                    <a:pt x="60" y="284"/>
                    <a:pt x="60" y="284"/>
                    <a:pt x="59" y="284"/>
                  </a:cubicBezTo>
                  <a:cubicBezTo>
                    <a:pt x="59" y="284"/>
                    <a:pt x="59" y="283"/>
                    <a:pt x="59" y="283"/>
                  </a:cubicBezTo>
                  <a:cubicBezTo>
                    <a:pt x="59" y="283"/>
                    <a:pt x="58" y="283"/>
                    <a:pt x="58" y="283"/>
                  </a:cubicBezTo>
                  <a:cubicBezTo>
                    <a:pt x="58" y="283"/>
                    <a:pt x="58" y="283"/>
                    <a:pt x="57" y="282"/>
                  </a:cubicBezTo>
                  <a:cubicBezTo>
                    <a:pt x="57" y="282"/>
                    <a:pt x="57" y="282"/>
                    <a:pt x="57" y="282"/>
                  </a:cubicBezTo>
                  <a:cubicBezTo>
                    <a:pt x="57" y="282"/>
                    <a:pt x="57" y="282"/>
                    <a:pt x="57" y="282"/>
                  </a:cubicBezTo>
                  <a:cubicBezTo>
                    <a:pt x="56" y="282"/>
                    <a:pt x="56" y="281"/>
                    <a:pt x="56" y="281"/>
                  </a:cubicBezTo>
                  <a:cubicBezTo>
                    <a:pt x="56" y="281"/>
                    <a:pt x="56" y="281"/>
                    <a:pt x="56" y="280"/>
                  </a:cubicBezTo>
                  <a:cubicBezTo>
                    <a:pt x="55" y="280"/>
                    <a:pt x="55" y="280"/>
                    <a:pt x="55" y="280"/>
                  </a:cubicBezTo>
                  <a:cubicBezTo>
                    <a:pt x="55" y="280"/>
                    <a:pt x="55" y="279"/>
                    <a:pt x="55" y="279"/>
                  </a:cubicBezTo>
                  <a:cubicBezTo>
                    <a:pt x="54" y="279"/>
                    <a:pt x="54" y="279"/>
                    <a:pt x="54" y="279"/>
                  </a:cubicBezTo>
                  <a:cubicBezTo>
                    <a:pt x="54" y="278"/>
                    <a:pt x="54" y="277"/>
                    <a:pt x="53" y="277"/>
                  </a:cubicBezTo>
                  <a:cubicBezTo>
                    <a:pt x="53" y="277"/>
                    <a:pt x="53" y="277"/>
                    <a:pt x="53" y="277"/>
                  </a:cubicBezTo>
                  <a:cubicBezTo>
                    <a:pt x="53" y="276"/>
                    <a:pt x="53" y="276"/>
                    <a:pt x="53" y="276"/>
                  </a:cubicBezTo>
                  <a:cubicBezTo>
                    <a:pt x="53" y="276"/>
                    <a:pt x="53" y="276"/>
                    <a:pt x="53" y="276"/>
                  </a:cubicBezTo>
                  <a:cubicBezTo>
                    <a:pt x="52" y="275"/>
                    <a:pt x="52" y="275"/>
                    <a:pt x="52" y="274"/>
                  </a:cubicBezTo>
                  <a:cubicBezTo>
                    <a:pt x="52" y="274"/>
                    <a:pt x="52" y="274"/>
                    <a:pt x="52" y="274"/>
                  </a:cubicBezTo>
                  <a:cubicBezTo>
                    <a:pt x="52" y="273"/>
                    <a:pt x="52" y="273"/>
                    <a:pt x="52" y="273"/>
                  </a:cubicBezTo>
                  <a:cubicBezTo>
                    <a:pt x="51" y="273"/>
                    <a:pt x="51" y="273"/>
                    <a:pt x="51" y="273"/>
                  </a:cubicBezTo>
                  <a:cubicBezTo>
                    <a:pt x="51" y="272"/>
                    <a:pt x="51" y="272"/>
                    <a:pt x="51" y="271"/>
                  </a:cubicBezTo>
                  <a:cubicBezTo>
                    <a:pt x="51" y="271"/>
                    <a:pt x="51" y="271"/>
                    <a:pt x="50" y="271"/>
                  </a:cubicBezTo>
                  <a:cubicBezTo>
                    <a:pt x="50" y="271"/>
                    <a:pt x="50" y="271"/>
                    <a:pt x="50" y="270"/>
                  </a:cubicBezTo>
                  <a:cubicBezTo>
                    <a:pt x="50" y="270"/>
                    <a:pt x="50" y="270"/>
                    <a:pt x="50" y="270"/>
                  </a:cubicBezTo>
                  <a:cubicBezTo>
                    <a:pt x="50" y="270"/>
                    <a:pt x="50" y="269"/>
                    <a:pt x="50" y="269"/>
                  </a:cubicBezTo>
                  <a:cubicBezTo>
                    <a:pt x="50" y="269"/>
                    <a:pt x="50" y="269"/>
                    <a:pt x="49" y="269"/>
                  </a:cubicBezTo>
                  <a:cubicBezTo>
                    <a:pt x="49" y="269"/>
                    <a:pt x="49" y="268"/>
                    <a:pt x="49" y="268"/>
                  </a:cubicBezTo>
                  <a:cubicBezTo>
                    <a:pt x="49" y="268"/>
                    <a:pt x="49" y="268"/>
                    <a:pt x="49" y="268"/>
                  </a:cubicBezTo>
                  <a:cubicBezTo>
                    <a:pt x="49" y="268"/>
                    <a:pt x="49" y="268"/>
                    <a:pt x="49" y="267"/>
                  </a:cubicBezTo>
                  <a:cubicBezTo>
                    <a:pt x="49" y="267"/>
                    <a:pt x="49" y="267"/>
                    <a:pt x="49" y="267"/>
                  </a:cubicBezTo>
                  <a:cubicBezTo>
                    <a:pt x="49" y="267"/>
                    <a:pt x="49" y="267"/>
                    <a:pt x="49" y="266"/>
                  </a:cubicBezTo>
                  <a:cubicBezTo>
                    <a:pt x="48" y="266"/>
                    <a:pt x="48" y="266"/>
                    <a:pt x="48" y="266"/>
                  </a:cubicBezTo>
                  <a:cubicBezTo>
                    <a:pt x="48" y="266"/>
                    <a:pt x="48" y="265"/>
                    <a:pt x="48" y="265"/>
                  </a:cubicBezTo>
                  <a:cubicBezTo>
                    <a:pt x="47" y="264"/>
                    <a:pt x="47" y="264"/>
                    <a:pt x="47" y="264"/>
                  </a:cubicBezTo>
                  <a:cubicBezTo>
                    <a:pt x="45" y="263"/>
                    <a:pt x="45" y="262"/>
                    <a:pt x="42" y="262"/>
                  </a:cubicBezTo>
                  <a:cubicBezTo>
                    <a:pt x="42" y="262"/>
                    <a:pt x="42" y="262"/>
                    <a:pt x="42" y="263"/>
                  </a:cubicBezTo>
                  <a:cubicBezTo>
                    <a:pt x="42" y="263"/>
                    <a:pt x="41" y="263"/>
                    <a:pt x="41" y="263"/>
                  </a:cubicBezTo>
                  <a:cubicBezTo>
                    <a:pt x="40" y="264"/>
                    <a:pt x="40" y="264"/>
                    <a:pt x="39" y="265"/>
                  </a:cubicBezTo>
                  <a:cubicBezTo>
                    <a:pt x="39" y="265"/>
                    <a:pt x="39" y="265"/>
                    <a:pt x="39" y="265"/>
                  </a:cubicBezTo>
                  <a:cubicBezTo>
                    <a:pt x="38" y="265"/>
                    <a:pt x="38" y="265"/>
                    <a:pt x="38" y="266"/>
                  </a:cubicBezTo>
                  <a:cubicBezTo>
                    <a:pt x="38" y="266"/>
                    <a:pt x="37" y="266"/>
                    <a:pt x="37" y="266"/>
                  </a:cubicBezTo>
                  <a:cubicBezTo>
                    <a:pt x="37" y="266"/>
                    <a:pt x="37" y="266"/>
                    <a:pt x="37" y="266"/>
                  </a:cubicBezTo>
                  <a:cubicBezTo>
                    <a:pt x="37" y="266"/>
                    <a:pt x="36" y="266"/>
                    <a:pt x="36" y="266"/>
                  </a:cubicBezTo>
                  <a:cubicBezTo>
                    <a:pt x="36" y="267"/>
                    <a:pt x="36" y="267"/>
                    <a:pt x="36" y="267"/>
                  </a:cubicBezTo>
                  <a:cubicBezTo>
                    <a:pt x="36" y="267"/>
                    <a:pt x="36" y="267"/>
                    <a:pt x="35" y="267"/>
                  </a:cubicBezTo>
                  <a:cubicBezTo>
                    <a:pt x="35" y="267"/>
                    <a:pt x="35" y="267"/>
                    <a:pt x="35" y="267"/>
                  </a:cubicBezTo>
                  <a:cubicBezTo>
                    <a:pt x="35" y="267"/>
                    <a:pt x="35" y="267"/>
                    <a:pt x="34" y="267"/>
                  </a:cubicBezTo>
                  <a:cubicBezTo>
                    <a:pt x="34" y="267"/>
                    <a:pt x="34" y="267"/>
                    <a:pt x="34" y="268"/>
                  </a:cubicBezTo>
                  <a:cubicBezTo>
                    <a:pt x="34" y="268"/>
                    <a:pt x="34" y="268"/>
                    <a:pt x="33" y="268"/>
                  </a:cubicBezTo>
                  <a:cubicBezTo>
                    <a:pt x="33" y="268"/>
                    <a:pt x="33" y="268"/>
                    <a:pt x="33" y="268"/>
                  </a:cubicBezTo>
                  <a:cubicBezTo>
                    <a:pt x="33" y="268"/>
                    <a:pt x="32" y="268"/>
                    <a:pt x="32" y="268"/>
                  </a:cubicBezTo>
                  <a:cubicBezTo>
                    <a:pt x="32" y="268"/>
                    <a:pt x="32" y="268"/>
                    <a:pt x="32" y="268"/>
                  </a:cubicBezTo>
                  <a:cubicBezTo>
                    <a:pt x="31" y="268"/>
                    <a:pt x="30" y="268"/>
                    <a:pt x="29" y="268"/>
                  </a:cubicBezTo>
                  <a:cubicBezTo>
                    <a:pt x="29" y="268"/>
                    <a:pt x="29" y="268"/>
                    <a:pt x="29" y="269"/>
                  </a:cubicBezTo>
                  <a:cubicBezTo>
                    <a:pt x="29" y="269"/>
                    <a:pt x="28" y="269"/>
                    <a:pt x="28" y="269"/>
                  </a:cubicBezTo>
                  <a:cubicBezTo>
                    <a:pt x="28" y="268"/>
                    <a:pt x="28" y="268"/>
                    <a:pt x="28" y="268"/>
                  </a:cubicBezTo>
                  <a:cubicBezTo>
                    <a:pt x="27" y="268"/>
                    <a:pt x="26" y="268"/>
                    <a:pt x="26" y="268"/>
                  </a:cubicBezTo>
                  <a:cubicBezTo>
                    <a:pt x="26" y="268"/>
                    <a:pt x="26" y="268"/>
                    <a:pt x="26" y="268"/>
                  </a:cubicBezTo>
                  <a:cubicBezTo>
                    <a:pt x="25" y="268"/>
                    <a:pt x="25" y="268"/>
                    <a:pt x="25" y="268"/>
                  </a:cubicBezTo>
                  <a:cubicBezTo>
                    <a:pt x="25" y="268"/>
                    <a:pt x="25" y="267"/>
                    <a:pt x="25" y="267"/>
                  </a:cubicBezTo>
                  <a:cubicBezTo>
                    <a:pt x="24" y="267"/>
                    <a:pt x="24" y="267"/>
                    <a:pt x="24" y="267"/>
                  </a:cubicBezTo>
                  <a:cubicBezTo>
                    <a:pt x="24" y="267"/>
                    <a:pt x="24" y="267"/>
                    <a:pt x="24" y="266"/>
                  </a:cubicBezTo>
                  <a:cubicBezTo>
                    <a:pt x="23" y="266"/>
                    <a:pt x="23" y="266"/>
                    <a:pt x="23" y="266"/>
                  </a:cubicBezTo>
                  <a:cubicBezTo>
                    <a:pt x="23" y="266"/>
                    <a:pt x="23" y="266"/>
                    <a:pt x="22" y="266"/>
                  </a:cubicBezTo>
                  <a:cubicBezTo>
                    <a:pt x="22" y="266"/>
                    <a:pt x="22" y="266"/>
                    <a:pt x="22" y="266"/>
                  </a:cubicBezTo>
                  <a:cubicBezTo>
                    <a:pt x="22" y="266"/>
                    <a:pt x="22" y="265"/>
                    <a:pt x="21" y="265"/>
                  </a:cubicBezTo>
                  <a:cubicBezTo>
                    <a:pt x="21" y="265"/>
                    <a:pt x="21" y="265"/>
                    <a:pt x="21" y="265"/>
                  </a:cubicBezTo>
                  <a:cubicBezTo>
                    <a:pt x="21" y="265"/>
                    <a:pt x="21" y="265"/>
                    <a:pt x="20" y="264"/>
                  </a:cubicBezTo>
                  <a:cubicBezTo>
                    <a:pt x="20" y="264"/>
                    <a:pt x="20" y="264"/>
                    <a:pt x="20" y="264"/>
                  </a:cubicBezTo>
                  <a:cubicBezTo>
                    <a:pt x="20" y="264"/>
                    <a:pt x="19" y="264"/>
                    <a:pt x="19" y="264"/>
                  </a:cubicBezTo>
                  <a:cubicBezTo>
                    <a:pt x="19" y="264"/>
                    <a:pt x="19" y="264"/>
                    <a:pt x="19" y="264"/>
                  </a:cubicBezTo>
                  <a:cubicBezTo>
                    <a:pt x="19" y="263"/>
                    <a:pt x="18" y="263"/>
                    <a:pt x="18" y="263"/>
                  </a:cubicBezTo>
                  <a:cubicBezTo>
                    <a:pt x="18" y="263"/>
                    <a:pt x="18" y="263"/>
                    <a:pt x="18" y="263"/>
                  </a:cubicBezTo>
                  <a:cubicBezTo>
                    <a:pt x="17" y="263"/>
                    <a:pt x="17" y="262"/>
                    <a:pt x="17" y="262"/>
                  </a:cubicBezTo>
                  <a:cubicBezTo>
                    <a:pt x="17" y="262"/>
                    <a:pt x="17" y="262"/>
                    <a:pt x="17" y="262"/>
                  </a:cubicBezTo>
                  <a:cubicBezTo>
                    <a:pt x="16" y="262"/>
                    <a:pt x="16" y="262"/>
                    <a:pt x="16" y="262"/>
                  </a:cubicBezTo>
                  <a:cubicBezTo>
                    <a:pt x="16" y="262"/>
                    <a:pt x="16" y="262"/>
                    <a:pt x="15" y="262"/>
                  </a:cubicBezTo>
                  <a:cubicBezTo>
                    <a:pt x="15" y="261"/>
                    <a:pt x="15" y="261"/>
                    <a:pt x="15" y="261"/>
                  </a:cubicBezTo>
                  <a:cubicBezTo>
                    <a:pt x="15" y="261"/>
                    <a:pt x="15" y="261"/>
                    <a:pt x="14" y="261"/>
                  </a:cubicBezTo>
                  <a:cubicBezTo>
                    <a:pt x="14" y="261"/>
                    <a:pt x="14" y="260"/>
                    <a:pt x="14" y="260"/>
                  </a:cubicBezTo>
                  <a:cubicBezTo>
                    <a:pt x="14" y="260"/>
                    <a:pt x="14" y="260"/>
                    <a:pt x="13" y="260"/>
                  </a:cubicBezTo>
                  <a:cubicBezTo>
                    <a:pt x="13" y="260"/>
                    <a:pt x="13" y="260"/>
                    <a:pt x="13" y="260"/>
                  </a:cubicBezTo>
                  <a:cubicBezTo>
                    <a:pt x="13" y="260"/>
                    <a:pt x="13" y="260"/>
                    <a:pt x="12" y="259"/>
                  </a:cubicBezTo>
                  <a:cubicBezTo>
                    <a:pt x="12" y="259"/>
                    <a:pt x="12" y="259"/>
                    <a:pt x="12" y="259"/>
                  </a:cubicBezTo>
                  <a:cubicBezTo>
                    <a:pt x="12" y="259"/>
                    <a:pt x="12" y="259"/>
                    <a:pt x="11" y="259"/>
                  </a:cubicBezTo>
                  <a:cubicBezTo>
                    <a:pt x="11" y="259"/>
                    <a:pt x="11" y="259"/>
                    <a:pt x="11" y="258"/>
                  </a:cubicBezTo>
                  <a:cubicBezTo>
                    <a:pt x="11" y="258"/>
                    <a:pt x="11" y="258"/>
                    <a:pt x="10" y="258"/>
                  </a:cubicBezTo>
                  <a:cubicBezTo>
                    <a:pt x="10" y="258"/>
                    <a:pt x="10" y="258"/>
                    <a:pt x="10" y="257"/>
                  </a:cubicBezTo>
                  <a:cubicBezTo>
                    <a:pt x="10" y="257"/>
                    <a:pt x="9" y="257"/>
                    <a:pt x="9" y="257"/>
                  </a:cubicBezTo>
                  <a:cubicBezTo>
                    <a:pt x="9" y="257"/>
                    <a:pt x="9" y="257"/>
                    <a:pt x="9" y="257"/>
                  </a:cubicBezTo>
                  <a:cubicBezTo>
                    <a:pt x="9" y="257"/>
                    <a:pt x="8" y="257"/>
                    <a:pt x="8" y="257"/>
                  </a:cubicBezTo>
                  <a:cubicBezTo>
                    <a:pt x="7" y="256"/>
                    <a:pt x="6" y="254"/>
                    <a:pt x="4" y="254"/>
                  </a:cubicBezTo>
                  <a:cubicBezTo>
                    <a:pt x="4" y="254"/>
                    <a:pt x="4" y="253"/>
                    <a:pt x="4" y="253"/>
                  </a:cubicBezTo>
                  <a:cubicBezTo>
                    <a:pt x="3" y="253"/>
                    <a:pt x="3" y="253"/>
                    <a:pt x="3" y="253"/>
                  </a:cubicBezTo>
                  <a:cubicBezTo>
                    <a:pt x="3" y="252"/>
                    <a:pt x="3" y="252"/>
                    <a:pt x="3" y="252"/>
                  </a:cubicBezTo>
                  <a:cubicBezTo>
                    <a:pt x="3" y="252"/>
                    <a:pt x="3" y="252"/>
                    <a:pt x="3" y="252"/>
                  </a:cubicBezTo>
                  <a:cubicBezTo>
                    <a:pt x="3" y="251"/>
                    <a:pt x="3" y="251"/>
                    <a:pt x="3" y="250"/>
                  </a:cubicBezTo>
                  <a:cubicBezTo>
                    <a:pt x="2" y="250"/>
                    <a:pt x="2" y="250"/>
                    <a:pt x="2" y="250"/>
                  </a:cubicBezTo>
                  <a:cubicBezTo>
                    <a:pt x="2" y="250"/>
                    <a:pt x="2" y="250"/>
                    <a:pt x="2" y="249"/>
                  </a:cubicBezTo>
                  <a:cubicBezTo>
                    <a:pt x="2" y="249"/>
                    <a:pt x="2" y="249"/>
                    <a:pt x="2" y="249"/>
                  </a:cubicBezTo>
                  <a:cubicBezTo>
                    <a:pt x="2" y="249"/>
                    <a:pt x="2" y="248"/>
                    <a:pt x="2" y="247"/>
                  </a:cubicBezTo>
                  <a:cubicBezTo>
                    <a:pt x="1" y="247"/>
                    <a:pt x="1" y="247"/>
                    <a:pt x="1" y="247"/>
                  </a:cubicBezTo>
                  <a:cubicBezTo>
                    <a:pt x="1" y="246"/>
                    <a:pt x="1" y="245"/>
                    <a:pt x="1" y="245"/>
                  </a:cubicBezTo>
                  <a:cubicBezTo>
                    <a:pt x="1" y="245"/>
                    <a:pt x="1" y="245"/>
                    <a:pt x="1" y="245"/>
                  </a:cubicBezTo>
                  <a:cubicBezTo>
                    <a:pt x="1" y="243"/>
                    <a:pt x="1" y="242"/>
                    <a:pt x="1" y="241"/>
                  </a:cubicBezTo>
                  <a:cubicBezTo>
                    <a:pt x="1" y="241"/>
                    <a:pt x="1" y="241"/>
                    <a:pt x="0" y="241"/>
                  </a:cubicBezTo>
                  <a:cubicBezTo>
                    <a:pt x="0" y="240"/>
                    <a:pt x="0" y="239"/>
                    <a:pt x="0" y="238"/>
                  </a:cubicBezTo>
                  <a:cubicBezTo>
                    <a:pt x="1" y="238"/>
                    <a:pt x="1" y="238"/>
                    <a:pt x="1" y="238"/>
                  </a:cubicBezTo>
                  <a:cubicBezTo>
                    <a:pt x="1" y="237"/>
                    <a:pt x="1" y="235"/>
                    <a:pt x="1" y="234"/>
                  </a:cubicBezTo>
                  <a:cubicBezTo>
                    <a:pt x="1" y="234"/>
                    <a:pt x="1" y="234"/>
                    <a:pt x="1" y="234"/>
                  </a:cubicBezTo>
                  <a:cubicBezTo>
                    <a:pt x="1" y="233"/>
                    <a:pt x="1" y="232"/>
                    <a:pt x="1" y="231"/>
                  </a:cubicBezTo>
                  <a:cubicBezTo>
                    <a:pt x="1" y="231"/>
                    <a:pt x="1" y="231"/>
                    <a:pt x="2" y="231"/>
                  </a:cubicBezTo>
                  <a:cubicBezTo>
                    <a:pt x="2" y="230"/>
                    <a:pt x="2" y="229"/>
                    <a:pt x="2" y="228"/>
                  </a:cubicBezTo>
                  <a:cubicBezTo>
                    <a:pt x="2" y="228"/>
                    <a:pt x="2" y="228"/>
                    <a:pt x="2" y="228"/>
                  </a:cubicBezTo>
                  <a:cubicBezTo>
                    <a:pt x="2" y="228"/>
                    <a:pt x="2" y="227"/>
                    <a:pt x="2" y="226"/>
                  </a:cubicBezTo>
                  <a:cubicBezTo>
                    <a:pt x="2" y="226"/>
                    <a:pt x="2" y="226"/>
                    <a:pt x="2" y="226"/>
                  </a:cubicBezTo>
                  <a:cubicBezTo>
                    <a:pt x="2" y="225"/>
                    <a:pt x="2" y="224"/>
                    <a:pt x="2" y="223"/>
                  </a:cubicBezTo>
                  <a:cubicBezTo>
                    <a:pt x="3" y="220"/>
                    <a:pt x="3" y="216"/>
                    <a:pt x="3" y="213"/>
                  </a:cubicBezTo>
                  <a:cubicBezTo>
                    <a:pt x="4" y="212"/>
                    <a:pt x="5" y="211"/>
                    <a:pt x="5" y="211"/>
                  </a:cubicBezTo>
                  <a:cubicBezTo>
                    <a:pt x="5" y="210"/>
                    <a:pt x="6" y="210"/>
                    <a:pt x="6" y="210"/>
                  </a:cubicBezTo>
                  <a:cubicBezTo>
                    <a:pt x="6" y="210"/>
                    <a:pt x="6" y="210"/>
                    <a:pt x="6" y="210"/>
                  </a:cubicBezTo>
                  <a:cubicBezTo>
                    <a:pt x="7" y="209"/>
                    <a:pt x="8" y="208"/>
                    <a:pt x="9" y="207"/>
                  </a:cubicBezTo>
                  <a:cubicBezTo>
                    <a:pt x="9" y="207"/>
                    <a:pt x="9" y="207"/>
                    <a:pt x="10" y="207"/>
                  </a:cubicBezTo>
                  <a:cubicBezTo>
                    <a:pt x="10" y="207"/>
                    <a:pt x="10" y="207"/>
                    <a:pt x="10" y="207"/>
                  </a:cubicBezTo>
                  <a:cubicBezTo>
                    <a:pt x="10" y="206"/>
                    <a:pt x="10" y="206"/>
                    <a:pt x="11" y="206"/>
                  </a:cubicBezTo>
                  <a:cubicBezTo>
                    <a:pt x="12" y="205"/>
                    <a:pt x="12" y="204"/>
                    <a:pt x="13" y="204"/>
                  </a:cubicBezTo>
                  <a:cubicBezTo>
                    <a:pt x="13" y="204"/>
                    <a:pt x="13" y="204"/>
                    <a:pt x="13" y="204"/>
                  </a:cubicBezTo>
                  <a:cubicBezTo>
                    <a:pt x="15" y="202"/>
                    <a:pt x="16" y="200"/>
                    <a:pt x="18" y="199"/>
                  </a:cubicBezTo>
                  <a:cubicBezTo>
                    <a:pt x="18" y="199"/>
                    <a:pt x="18" y="199"/>
                    <a:pt x="19" y="199"/>
                  </a:cubicBezTo>
                  <a:cubicBezTo>
                    <a:pt x="20" y="197"/>
                    <a:pt x="21" y="196"/>
                    <a:pt x="22" y="195"/>
                  </a:cubicBezTo>
                  <a:cubicBezTo>
                    <a:pt x="23" y="194"/>
                    <a:pt x="24" y="193"/>
                    <a:pt x="25" y="192"/>
                  </a:cubicBezTo>
                  <a:cubicBezTo>
                    <a:pt x="25" y="192"/>
                    <a:pt x="25" y="191"/>
                    <a:pt x="25" y="191"/>
                  </a:cubicBezTo>
                  <a:cubicBezTo>
                    <a:pt x="26" y="191"/>
                    <a:pt x="26" y="190"/>
                    <a:pt x="27" y="190"/>
                  </a:cubicBezTo>
                  <a:cubicBezTo>
                    <a:pt x="28" y="189"/>
                    <a:pt x="29" y="187"/>
                    <a:pt x="30" y="186"/>
                  </a:cubicBezTo>
                  <a:cubicBezTo>
                    <a:pt x="30" y="186"/>
                    <a:pt x="30" y="185"/>
                    <a:pt x="31" y="185"/>
                  </a:cubicBezTo>
                  <a:cubicBezTo>
                    <a:pt x="31" y="185"/>
                    <a:pt x="31" y="185"/>
                    <a:pt x="31" y="184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31" y="183"/>
                    <a:pt x="31" y="181"/>
                    <a:pt x="32" y="179"/>
                  </a:cubicBezTo>
                  <a:cubicBezTo>
                    <a:pt x="32" y="179"/>
                    <a:pt x="32" y="179"/>
                    <a:pt x="32" y="179"/>
                  </a:cubicBezTo>
                  <a:cubicBezTo>
                    <a:pt x="32" y="177"/>
                    <a:pt x="32" y="176"/>
                    <a:pt x="32" y="174"/>
                  </a:cubicBezTo>
                  <a:cubicBezTo>
                    <a:pt x="32" y="174"/>
                    <a:pt x="33" y="174"/>
                    <a:pt x="33" y="174"/>
                  </a:cubicBezTo>
                  <a:cubicBezTo>
                    <a:pt x="33" y="173"/>
                    <a:pt x="33" y="172"/>
                    <a:pt x="33" y="171"/>
                  </a:cubicBezTo>
                  <a:cubicBezTo>
                    <a:pt x="33" y="171"/>
                    <a:pt x="33" y="171"/>
                    <a:pt x="33" y="171"/>
                  </a:cubicBezTo>
                  <a:cubicBezTo>
                    <a:pt x="33" y="171"/>
                    <a:pt x="33" y="170"/>
                    <a:pt x="33" y="169"/>
                  </a:cubicBezTo>
                  <a:cubicBezTo>
                    <a:pt x="33" y="169"/>
                    <a:pt x="33" y="169"/>
                    <a:pt x="33" y="169"/>
                  </a:cubicBezTo>
                  <a:cubicBezTo>
                    <a:pt x="33" y="168"/>
                    <a:pt x="33" y="167"/>
                    <a:pt x="33" y="166"/>
                  </a:cubicBezTo>
                  <a:cubicBezTo>
                    <a:pt x="33" y="166"/>
                    <a:pt x="34" y="166"/>
                    <a:pt x="34" y="166"/>
                  </a:cubicBezTo>
                  <a:cubicBezTo>
                    <a:pt x="34" y="166"/>
                    <a:pt x="34" y="165"/>
                    <a:pt x="34" y="164"/>
                  </a:cubicBezTo>
                  <a:cubicBezTo>
                    <a:pt x="34" y="164"/>
                    <a:pt x="34" y="164"/>
                    <a:pt x="34" y="164"/>
                  </a:cubicBezTo>
                  <a:cubicBezTo>
                    <a:pt x="34" y="164"/>
                    <a:pt x="34" y="163"/>
                    <a:pt x="34" y="163"/>
                  </a:cubicBezTo>
                  <a:cubicBezTo>
                    <a:pt x="34" y="163"/>
                    <a:pt x="34" y="163"/>
                    <a:pt x="34" y="163"/>
                  </a:cubicBezTo>
                  <a:cubicBezTo>
                    <a:pt x="34" y="162"/>
                    <a:pt x="34" y="162"/>
                    <a:pt x="34" y="161"/>
                  </a:cubicBezTo>
                  <a:cubicBezTo>
                    <a:pt x="35" y="161"/>
                    <a:pt x="35" y="161"/>
                    <a:pt x="35" y="161"/>
                  </a:cubicBezTo>
                  <a:cubicBezTo>
                    <a:pt x="36" y="158"/>
                    <a:pt x="36" y="154"/>
                    <a:pt x="40" y="153"/>
                  </a:cubicBezTo>
                  <a:cubicBezTo>
                    <a:pt x="40" y="154"/>
                    <a:pt x="40" y="154"/>
                    <a:pt x="40" y="154"/>
                  </a:cubicBezTo>
                  <a:cubicBezTo>
                    <a:pt x="40" y="154"/>
                    <a:pt x="41" y="154"/>
                    <a:pt x="41" y="154"/>
                  </a:cubicBezTo>
                  <a:cubicBezTo>
                    <a:pt x="41" y="154"/>
                    <a:pt x="41" y="154"/>
                    <a:pt x="41" y="154"/>
                  </a:cubicBezTo>
                  <a:cubicBezTo>
                    <a:pt x="42" y="154"/>
                    <a:pt x="42" y="154"/>
                    <a:pt x="42" y="154"/>
                  </a:cubicBezTo>
                  <a:cubicBezTo>
                    <a:pt x="42" y="154"/>
                    <a:pt x="42" y="154"/>
                    <a:pt x="42" y="155"/>
                  </a:cubicBezTo>
                  <a:cubicBezTo>
                    <a:pt x="42" y="155"/>
                    <a:pt x="43" y="155"/>
                    <a:pt x="43" y="155"/>
                  </a:cubicBezTo>
                  <a:cubicBezTo>
                    <a:pt x="43" y="155"/>
                    <a:pt x="43" y="155"/>
                    <a:pt x="43" y="155"/>
                  </a:cubicBezTo>
                  <a:cubicBezTo>
                    <a:pt x="43" y="155"/>
                    <a:pt x="44" y="155"/>
                    <a:pt x="44" y="155"/>
                  </a:cubicBezTo>
                  <a:cubicBezTo>
                    <a:pt x="44" y="155"/>
                    <a:pt x="44" y="155"/>
                    <a:pt x="44" y="155"/>
                  </a:cubicBezTo>
                  <a:cubicBezTo>
                    <a:pt x="44" y="155"/>
                    <a:pt x="44" y="155"/>
                    <a:pt x="45" y="155"/>
                  </a:cubicBezTo>
                  <a:cubicBezTo>
                    <a:pt x="45" y="155"/>
                    <a:pt x="45" y="155"/>
                    <a:pt x="45" y="156"/>
                  </a:cubicBezTo>
                  <a:cubicBezTo>
                    <a:pt x="45" y="156"/>
                    <a:pt x="45" y="156"/>
                    <a:pt x="45" y="156"/>
                  </a:cubicBezTo>
                  <a:cubicBezTo>
                    <a:pt x="45" y="156"/>
                    <a:pt x="45" y="156"/>
                    <a:pt x="45" y="156"/>
                  </a:cubicBezTo>
                  <a:cubicBezTo>
                    <a:pt x="45" y="156"/>
                    <a:pt x="46" y="156"/>
                    <a:pt x="46" y="156"/>
                  </a:cubicBezTo>
                  <a:cubicBezTo>
                    <a:pt x="46" y="156"/>
                    <a:pt x="46" y="156"/>
                    <a:pt x="46" y="156"/>
                  </a:cubicBezTo>
                  <a:cubicBezTo>
                    <a:pt x="46" y="156"/>
                    <a:pt x="46" y="156"/>
                    <a:pt x="47" y="156"/>
                  </a:cubicBezTo>
                  <a:cubicBezTo>
                    <a:pt x="47" y="157"/>
                    <a:pt x="47" y="157"/>
                    <a:pt x="47" y="157"/>
                  </a:cubicBezTo>
                  <a:cubicBezTo>
                    <a:pt x="47" y="157"/>
                    <a:pt x="48" y="157"/>
                    <a:pt x="48" y="157"/>
                  </a:cubicBezTo>
                  <a:cubicBezTo>
                    <a:pt x="48" y="158"/>
                    <a:pt x="49" y="158"/>
                    <a:pt x="49" y="158"/>
                  </a:cubicBezTo>
                  <a:cubicBezTo>
                    <a:pt x="49" y="158"/>
                    <a:pt x="49" y="158"/>
                    <a:pt x="49" y="158"/>
                  </a:cubicBezTo>
                  <a:cubicBezTo>
                    <a:pt x="50" y="158"/>
                    <a:pt x="50" y="159"/>
                    <a:pt x="50" y="159"/>
                  </a:cubicBezTo>
                  <a:cubicBezTo>
                    <a:pt x="50" y="159"/>
                    <a:pt x="50" y="159"/>
                    <a:pt x="50" y="159"/>
                  </a:cubicBezTo>
                  <a:cubicBezTo>
                    <a:pt x="51" y="159"/>
                    <a:pt x="51" y="159"/>
                    <a:pt x="51" y="159"/>
                  </a:cubicBezTo>
                  <a:cubicBezTo>
                    <a:pt x="51" y="159"/>
                    <a:pt x="51" y="159"/>
                    <a:pt x="52" y="159"/>
                  </a:cubicBezTo>
                  <a:cubicBezTo>
                    <a:pt x="52" y="160"/>
                    <a:pt x="52" y="160"/>
                    <a:pt x="52" y="160"/>
                  </a:cubicBezTo>
                  <a:cubicBezTo>
                    <a:pt x="52" y="160"/>
                    <a:pt x="53" y="160"/>
                    <a:pt x="53" y="160"/>
                  </a:cubicBezTo>
                  <a:cubicBezTo>
                    <a:pt x="53" y="161"/>
                    <a:pt x="53" y="161"/>
                    <a:pt x="53" y="161"/>
                  </a:cubicBezTo>
                  <a:cubicBezTo>
                    <a:pt x="54" y="161"/>
                    <a:pt x="54" y="161"/>
                    <a:pt x="54" y="161"/>
                  </a:cubicBezTo>
                  <a:cubicBezTo>
                    <a:pt x="54" y="162"/>
                    <a:pt x="54" y="162"/>
                    <a:pt x="55" y="162"/>
                  </a:cubicBezTo>
                  <a:cubicBezTo>
                    <a:pt x="55" y="162"/>
                    <a:pt x="55" y="162"/>
                    <a:pt x="55" y="162"/>
                  </a:cubicBezTo>
                  <a:cubicBezTo>
                    <a:pt x="56" y="163"/>
                    <a:pt x="56" y="163"/>
                    <a:pt x="56" y="163"/>
                  </a:cubicBezTo>
                  <a:cubicBezTo>
                    <a:pt x="56" y="163"/>
                    <a:pt x="57" y="163"/>
                    <a:pt x="57" y="163"/>
                  </a:cubicBezTo>
                  <a:cubicBezTo>
                    <a:pt x="57" y="164"/>
                    <a:pt x="57" y="164"/>
                    <a:pt x="58" y="165"/>
                  </a:cubicBezTo>
                  <a:cubicBezTo>
                    <a:pt x="58" y="165"/>
                    <a:pt x="58" y="165"/>
                    <a:pt x="59" y="165"/>
                  </a:cubicBezTo>
                  <a:cubicBezTo>
                    <a:pt x="59" y="165"/>
                    <a:pt x="59" y="166"/>
                    <a:pt x="60" y="166"/>
                  </a:cubicBezTo>
                  <a:cubicBezTo>
                    <a:pt x="60" y="166"/>
                    <a:pt x="60" y="166"/>
                    <a:pt x="60" y="166"/>
                  </a:cubicBezTo>
                  <a:cubicBezTo>
                    <a:pt x="60" y="166"/>
                    <a:pt x="61" y="167"/>
                    <a:pt x="61" y="167"/>
                  </a:cubicBezTo>
                  <a:cubicBezTo>
                    <a:pt x="61" y="167"/>
                    <a:pt x="61" y="167"/>
                    <a:pt x="62" y="167"/>
                  </a:cubicBezTo>
                  <a:cubicBezTo>
                    <a:pt x="62" y="167"/>
                    <a:pt x="62" y="167"/>
                    <a:pt x="62" y="167"/>
                  </a:cubicBezTo>
                  <a:cubicBezTo>
                    <a:pt x="62" y="167"/>
                    <a:pt x="62" y="167"/>
                    <a:pt x="62" y="167"/>
                  </a:cubicBezTo>
                  <a:cubicBezTo>
                    <a:pt x="62" y="168"/>
                    <a:pt x="63" y="168"/>
                    <a:pt x="63" y="168"/>
                  </a:cubicBezTo>
                  <a:cubicBezTo>
                    <a:pt x="63" y="168"/>
                    <a:pt x="64" y="168"/>
                    <a:pt x="64" y="169"/>
                  </a:cubicBezTo>
                  <a:cubicBezTo>
                    <a:pt x="64" y="169"/>
                    <a:pt x="64" y="169"/>
                    <a:pt x="64" y="169"/>
                  </a:cubicBezTo>
                  <a:cubicBezTo>
                    <a:pt x="64" y="169"/>
                    <a:pt x="65" y="169"/>
                    <a:pt x="65" y="169"/>
                  </a:cubicBezTo>
                  <a:cubicBezTo>
                    <a:pt x="65" y="169"/>
                    <a:pt x="65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6" y="170"/>
                    <a:pt x="67" y="170"/>
                    <a:pt x="67" y="170"/>
                  </a:cubicBezTo>
                  <a:cubicBezTo>
                    <a:pt x="67" y="171"/>
                    <a:pt x="67" y="171"/>
                    <a:pt x="67" y="171"/>
                  </a:cubicBezTo>
                  <a:cubicBezTo>
                    <a:pt x="68" y="171"/>
                    <a:pt x="68" y="171"/>
                    <a:pt x="69" y="171"/>
                  </a:cubicBezTo>
                  <a:cubicBezTo>
                    <a:pt x="69" y="172"/>
                    <a:pt x="69" y="172"/>
                    <a:pt x="69" y="172"/>
                  </a:cubicBezTo>
                  <a:cubicBezTo>
                    <a:pt x="69" y="172"/>
                    <a:pt x="70" y="172"/>
                    <a:pt x="70" y="172"/>
                  </a:cubicBezTo>
                  <a:cubicBezTo>
                    <a:pt x="71" y="173"/>
                    <a:pt x="71" y="173"/>
                    <a:pt x="71" y="173"/>
                  </a:cubicBezTo>
                  <a:cubicBezTo>
                    <a:pt x="71" y="173"/>
                    <a:pt x="72" y="173"/>
                    <a:pt x="72" y="173"/>
                  </a:cubicBezTo>
                  <a:cubicBezTo>
                    <a:pt x="72" y="174"/>
                    <a:pt x="72" y="174"/>
                    <a:pt x="73" y="174"/>
                  </a:cubicBezTo>
                  <a:cubicBezTo>
                    <a:pt x="73" y="174"/>
                    <a:pt x="73" y="174"/>
                    <a:pt x="74" y="174"/>
                  </a:cubicBezTo>
                  <a:cubicBezTo>
                    <a:pt x="74" y="175"/>
                    <a:pt x="74" y="175"/>
                    <a:pt x="74" y="175"/>
                  </a:cubicBezTo>
                  <a:cubicBezTo>
                    <a:pt x="75" y="175"/>
                    <a:pt x="76" y="176"/>
                    <a:pt x="76" y="176"/>
                  </a:cubicBezTo>
                  <a:cubicBezTo>
                    <a:pt x="76" y="176"/>
                    <a:pt x="77" y="176"/>
                    <a:pt x="77" y="177"/>
                  </a:cubicBezTo>
                  <a:cubicBezTo>
                    <a:pt x="77" y="177"/>
                    <a:pt x="78" y="177"/>
                    <a:pt x="78" y="177"/>
                  </a:cubicBezTo>
                  <a:cubicBezTo>
                    <a:pt x="78" y="177"/>
                    <a:pt x="78" y="177"/>
                    <a:pt x="78" y="178"/>
                  </a:cubicBezTo>
                  <a:cubicBezTo>
                    <a:pt x="79" y="178"/>
                    <a:pt x="80" y="178"/>
                    <a:pt x="81" y="178"/>
                  </a:cubicBezTo>
                  <a:cubicBezTo>
                    <a:pt x="81" y="179"/>
                    <a:pt x="81" y="179"/>
                    <a:pt x="81" y="179"/>
                  </a:cubicBezTo>
                  <a:cubicBezTo>
                    <a:pt x="81" y="179"/>
                    <a:pt x="81" y="179"/>
                    <a:pt x="82" y="179"/>
                  </a:cubicBezTo>
                  <a:cubicBezTo>
                    <a:pt x="82" y="179"/>
                    <a:pt x="82" y="179"/>
                    <a:pt x="82" y="179"/>
                  </a:cubicBezTo>
                  <a:cubicBezTo>
                    <a:pt x="82" y="179"/>
                    <a:pt x="82" y="179"/>
                    <a:pt x="82" y="179"/>
                  </a:cubicBezTo>
                  <a:cubicBezTo>
                    <a:pt x="82" y="179"/>
                    <a:pt x="82" y="180"/>
                    <a:pt x="82" y="180"/>
                  </a:cubicBezTo>
                  <a:cubicBezTo>
                    <a:pt x="83" y="180"/>
                    <a:pt x="83" y="180"/>
                    <a:pt x="83" y="180"/>
                  </a:cubicBezTo>
                  <a:cubicBezTo>
                    <a:pt x="83" y="180"/>
                    <a:pt x="83" y="180"/>
                    <a:pt x="83" y="180"/>
                  </a:cubicBezTo>
                  <a:cubicBezTo>
                    <a:pt x="83" y="180"/>
                    <a:pt x="83" y="180"/>
                    <a:pt x="84" y="180"/>
                  </a:cubicBezTo>
                  <a:cubicBezTo>
                    <a:pt x="84" y="180"/>
                    <a:pt x="84" y="181"/>
                    <a:pt x="84" y="181"/>
                  </a:cubicBezTo>
                  <a:cubicBezTo>
                    <a:pt x="84" y="181"/>
                    <a:pt x="85" y="181"/>
                    <a:pt x="85" y="181"/>
                  </a:cubicBezTo>
                  <a:cubicBezTo>
                    <a:pt x="85" y="181"/>
                    <a:pt x="85" y="181"/>
                    <a:pt x="85" y="181"/>
                  </a:cubicBezTo>
                  <a:cubicBezTo>
                    <a:pt x="85" y="181"/>
                    <a:pt x="85" y="181"/>
                    <a:pt x="85" y="181"/>
                  </a:cubicBezTo>
                  <a:cubicBezTo>
                    <a:pt x="85" y="181"/>
                    <a:pt x="85" y="181"/>
                    <a:pt x="85" y="181"/>
                  </a:cubicBezTo>
                  <a:cubicBezTo>
                    <a:pt x="86" y="181"/>
                    <a:pt x="86" y="181"/>
                    <a:pt x="86" y="181"/>
                  </a:cubicBezTo>
                  <a:cubicBezTo>
                    <a:pt x="86" y="182"/>
                    <a:pt x="86" y="182"/>
                    <a:pt x="86" y="182"/>
                  </a:cubicBezTo>
                  <a:cubicBezTo>
                    <a:pt x="86" y="182"/>
                    <a:pt x="87" y="182"/>
                    <a:pt x="87" y="182"/>
                  </a:cubicBezTo>
                  <a:cubicBezTo>
                    <a:pt x="87" y="182"/>
                    <a:pt x="87" y="182"/>
                    <a:pt x="87" y="182"/>
                  </a:cubicBezTo>
                  <a:cubicBezTo>
                    <a:pt x="87" y="182"/>
                    <a:pt x="87" y="182"/>
                    <a:pt x="88" y="182"/>
                  </a:cubicBezTo>
                  <a:cubicBezTo>
                    <a:pt x="88" y="182"/>
                    <a:pt x="88" y="182"/>
                    <a:pt x="88" y="183"/>
                  </a:cubicBezTo>
                  <a:cubicBezTo>
                    <a:pt x="88" y="183"/>
                    <a:pt x="88" y="183"/>
                    <a:pt x="88" y="183"/>
                  </a:cubicBezTo>
                  <a:cubicBezTo>
                    <a:pt x="88" y="183"/>
                    <a:pt x="88" y="183"/>
                    <a:pt x="88" y="183"/>
                  </a:cubicBezTo>
                  <a:cubicBezTo>
                    <a:pt x="88" y="183"/>
                    <a:pt x="89" y="183"/>
                    <a:pt x="89" y="183"/>
                  </a:cubicBezTo>
                  <a:cubicBezTo>
                    <a:pt x="89" y="183"/>
                    <a:pt x="89" y="183"/>
                    <a:pt x="89" y="183"/>
                  </a:cubicBezTo>
                  <a:cubicBezTo>
                    <a:pt x="90" y="183"/>
                    <a:pt x="90" y="184"/>
                    <a:pt x="91" y="184"/>
                  </a:cubicBezTo>
                  <a:cubicBezTo>
                    <a:pt x="91" y="184"/>
                    <a:pt x="91" y="184"/>
                    <a:pt x="91" y="184"/>
                  </a:cubicBezTo>
                  <a:cubicBezTo>
                    <a:pt x="91" y="184"/>
                    <a:pt x="92" y="184"/>
                    <a:pt x="92" y="184"/>
                  </a:cubicBezTo>
                  <a:cubicBezTo>
                    <a:pt x="92" y="184"/>
                    <a:pt x="92" y="185"/>
                    <a:pt x="92" y="185"/>
                  </a:cubicBezTo>
                  <a:cubicBezTo>
                    <a:pt x="92" y="185"/>
                    <a:pt x="93" y="185"/>
                    <a:pt x="93" y="185"/>
                  </a:cubicBezTo>
                  <a:cubicBezTo>
                    <a:pt x="93" y="185"/>
                    <a:pt x="93" y="185"/>
                    <a:pt x="93" y="185"/>
                  </a:cubicBezTo>
                  <a:cubicBezTo>
                    <a:pt x="94" y="185"/>
                    <a:pt x="96" y="185"/>
                    <a:pt x="97" y="186"/>
                  </a:cubicBezTo>
                  <a:cubicBezTo>
                    <a:pt x="97" y="186"/>
                    <a:pt x="97" y="186"/>
                    <a:pt x="97" y="186"/>
                  </a:cubicBezTo>
                  <a:cubicBezTo>
                    <a:pt x="98" y="186"/>
                    <a:pt x="98" y="186"/>
                    <a:pt x="99" y="186"/>
                  </a:cubicBezTo>
                  <a:cubicBezTo>
                    <a:pt x="99" y="186"/>
                    <a:pt x="99" y="186"/>
                    <a:pt x="99" y="186"/>
                  </a:cubicBezTo>
                  <a:cubicBezTo>
                    <a:pt x="99" y="186"/>
                    <a:pt x="100" y="186"/>
                    <a:pt x="100" y="186"/>
                  </a:cubicBezTo>
                  <a:cubicBezTo>
                    <a:pt x="100" y="186"/>
                    <a:pt x="100" y="187"/>
                    <a:pt x="100" y="187"/>
                  </a:cubicBezTo>
                  <a:cubicBezTo>
                    <a:pt x="101" y="187"/>
                    <a:pt x="101" y="187"/>
                    <a:pt x="102" y="187"/>
                  </a:cubicBezTo>
                  <a:cubicBezTo>
                    <a:pt x="102" y="187"/>
                    <a:pt x="102" y="187"/>
                    <a:pt x="102" y="187"/>
                  </a:cubicBezTo>
                  <a:cubicBezTo>
                    <a:pt x="102" y="187"/>
                    <a:pt x="103" y="187"/>
                    <a:pt x="104" y="187"/>
                  </a:cubicBezTo>
                  <a:cubicBezTo>
                    <a:pt x="104" y="187"/>
                    <a:pt x="104" y="187"/>
                    <a:pt x="104" y="187"/>
                  </a:cubicBezTo>
                  <a:cubicBezTo>
                    <a:pt x="104" y="187"/>
                    <a:pt x="105" y="187"/>
                    <a:pt x="106" y="187"/>
                  </a:cubicBezTo>
                  <a:cubicBezTo>
                    <a:pt x="106" y="188"/>
                    <a:pt x="106" y="188"/>
                    <a:pt x="106" y="188"/>
                  </a:cubicBezTo>
                  <a:cubicBezTo>
                    <a:pt x="107" y="188"/>
                    <a:pt x="108" y="188"/>
                    <a:pt x="109" y="188"/>
                  </a:cubicBezTo>
                  <a:cubicBezTo>
                    <a:pt x="109" y="188"/>
                    <a:pt x="109" y="188"/>
                    <a:pt x="109" y="188"/>
                  </a:cubicBezTo>
                  <a:cubicBezTo>
                    <a:pt x="110" y="188"/>
                    <a:pt x="111" y="188"/>
                    <a:pt x="112" y="188"/>
                  </a:cubicBezTo>
                  <a:cubicBezTo>
                    <a:pt x="112" y="188"/>
                    <a:pt x="112" y="188"/>
                    <a:pt x="112" y="188"/>
                  </a:cubicBezTo>
                  <a:cubicBezTo>
                    <a:pt x="113" y="188"/>
                    <a:pt x="114" y="188"/>
                    <a:pt x="114" y="188"/>
                  </a:cubicBezTo>
                  <a:cubicBezTo>
                    <a:pt x="114" y="188"/>
                    <a:pt x="114" y="188"/>
                    <a:pt x="114" y="187"/>
                  </a:cubicBezTo>
                  <a:cubicBezTo>
                    <a:pt x="114" y="187"/>
                    <a:pt x="115" y="187"/>
                    <a:pt x="115" y="187"/>
                  </a:cubicBezTo>
                  <a:cubicBezTo>
                    <a:pt x="115" y="187"/>
                    <a:pt x="115" y="187"/>
                    <a:pt x="115" y="187"/>
                  </a:cubicBezTo>
                  <a:cubicBezTo>
                    <a:pt x="115" y="187"/>
                    <a:pt x="116" y="187"/>
                    <a:pt x="116" y="187"/>
                  </a:cubicBezTo>
                  <a:cubicBezTo>
                    <a:pt x="117" y="182"/>
                    <a:pt x="115" y="178"/>
                    <a:pt x="113" y="175"/>
                  </a:cubicBezTo>
                  <a:cubicBezTo>
                    <a:pt x="113" y="174"/>
                    <a:pt x="113" y="173"/>
                    <a:pt x="113" y="173"/>
                  </a:cubicBezTo>
                  <a:cubicBezTo>
                    <a:pt x="113" y="173"/>
                    <a:pt x="113" y="173"/>
                    <a:pt x="113" y="173"/>
                  </a:cubicBezTo>
                  <a:cubicBezTo>
                    <a:pt x="113" y="172"/>
                    <a:pt x="112" y="172"/>
                    <a:pt x="112" y="171"/>
                  </a:cubicBezTo>
                  <a:cubicBezTo>
                    <a:pt x="112" y="171"/>
                    <a:pt x="112" y="171"/>
                    <a:pt x="112" y="171"/>
                  </a:cubicBezTo>
                  <a:cubicBezTo>
                    <a:pt x="112" y="171"/>
                    <a:pt x="112" y="171"/>
                    <a:pt x="112" y="170"/>
                  </a:cubicBezTo>
                  <a:cubicBezTo>
                    <a:pt x="112" y="170"/>
                    <a:pt x="112" y="170"/>
                    <a:pt x="112" y="170"/>
                  </a:cubicBezTo>
                  <a:cubicBezTo>
                    <a:pt x="112" y="170"/>
                    <a:pt x="112" y="170"/>
                    <a:pt x="112" y="169"/>
                  </a:cubicBezTo>
                  <a:cubicBezTo>
                    <a:pt x="112" y="169"/>
                    <a:pt x="111" y="169"/>
                    <a:pt x="111" y="169"/>
                  </a:cubicBezTo>
                  <a:cubicBezTo>
                    <a:pt x="111" y="169"/>
                    <a:pt x="111" y="168"/>
                    <a:pt x="111" y="168"/>
                  </a:cubicBezTo>
                  <a:cubicBezTo>
                    <a:pt x="111" y="168"/>
                    <a:pt x="111" y="168"/>
                    <a:pt x="111" y="168"/>
                  </a:cubicBezTo>
                  <a:cubicBezTo>
                    <a:pt x="111" y="167"/>
                    <a:pt x="111" y="167"/>
                    <a:pt x="111" y="167"/>
                  </a:cubicBezTo>
                  <a:cubicBezTo>
                    <a:pt x="111" y="167"/>
                    <a:pt x="110" y="167"/>
                    <a:pt x="110" y="167"/>
                  </a:cubicBezTo>
                  <a:cubicBezTo>
                    <a:pt x="110" y="166"/>
                    <a:pt x="110" y="166"/>
                    <a:pt x="110" y="165"/>
                  </a:cubicBezTo>
                  <a:cubicBezTo>
                    <a:pt x="110" y="165"/>
                    <a:pt x="110" y="165"/>
                    <a:pt x="110" y="165"/>
                  </a:cubicBezTo>
                  <a:cubicBezTo>
                    <a:pt x="110" y="165"/>
                    <a:pt x="110" y="165"/>
                    <a:pt x="110" y="164"/>
                  </a:cubicBezTo>
                  <a:cubicBezTo>
                    <a:pt x="109" y="164"/>
                    <a:pt x="109" y="164"/>
                    <a:pt x="109" y="164"/>
                  </a:cubicBezTo>
                  <a:cubicBezTo>
                    <a:pt x="109" y="164"/>
                    <a:pt x="109" y="163"/>
                    <a:pt x="109" y="163"/>
                  </a:cubicBezTo>
                  <a:cubicBezTo>
                    <a:pt x="109" y="163"/>
                    <a:pt x="109" y="163"/>
                    <a:pt x="109" y="163"/>
                  </a:cubicBezTo>
                  <a:cubicBezTo>
                    <a:pt x="109" y="163"/>
                    <a:pt x="109" y="162"/>
                    <a:pt x="109" y="162"/>
                  </a:cubicBezTo>
                  <a:cubicBezTo>
                    <a:pt x="108" y="162"/>
                    <a:pt x="108" y="162"/>
                    <a:pt x="108" y="162"/>
                  </a:cubicBezTo>
                  <a:cubicBezTo>
                    <a:pt x="108" y="162"/>
                    <a:pt x="108" y="161"/>
                    <a:pt x="108" y="161"/>
                  </a:cubicBezTo>
                  <a:cubicBezTo>
                    <a:pt x="108" y="161"/>
                    <a:pt x="108" y="161"/>
                    <a:pt x="108" y="161"/>
                  </a:cubicBezTo>
                  <a:cubicBezTo>
                    <a:pt x="108" y="161"/>
                    <a:pt x="108" y="160"/>
                    <a:pt x="107" y="160"/>
                  </a:cubicBezTo>
                  <a:cubicBezTo>
                    <a:pt x="107" y="160"/>
                    <a:pt x="107" y="160"/>
                    <a:pt x="107" y="160"/>
                  </a:cubicBezTo>
                  <a:cubicBezTo>
                    <a:pt x="107" y="159"/>
                    <a:pt x="107" y="159"/>
                    <a:pt x="107" y="159"/>
                  </a:cubicBezTo>
                  <a:cubicBezTo>
                    <a:pt x="107" y="159"/>
                    <a:pt x="107" y="159"/>
                    <a:pt x="107" y="159"/>
                  </a:cubicBezTo>
                  <a:cubicBezTo>
                    <a:pt x="107" y="159"/>
                    <a:pt x="107" y="158"/>
                    <a:pt x="107" y="158"/>
                  </a:cubicBezTo>
                  <a:cubicBezTo>
                    <a:pt x="107" y="158"/>
                    <a:pt x="107" y="158"/>
                    <a:pt x="106" y="158"/>
                  </a:cubicBezTo>
                  <a:cubicBezTo>
                    <a:pt x="106" y="157"/>
                    <a:pt x="106" y="157"/>
                    <a:pt x="106" y="156"/>
                  </a:cubicBezTo>
                  <a:cubicBezTo>
                    <a:pt x="106" y="156"/>
                    <a:pt x="105" y="156"/>
                    <a:pt x="105" y="156"/>
                  </a:cubicBezTo>
                  <a:cubicBezTo>
                    <a:pt x="105" y="156"/>
                    <a:pt x="105" y="155"/>
                    <a:pt x="105" y="155"/>
                  </a:cubicBezTo>
                  <a:cubicBezTo>
                    <a:pt x="105" y="155"/>
                    <a:pt x="105" y="155"/>
                    <a:pt x="105" y="155"/>
                  </a:cubicBezTo>
                  <a:cubicBezTo>
                    <a:pt x="105" y="155"/>
                    <a:pt x="105" y="154"/>
                    <a:pt x="105" y="154"/>
                  </a:cubicBezTo>
                  <a:cubicBezTo>
                    <a:pt x="105" y="154"/>
                    <a:pt x="105" y="154"/>
                    <a:pt x="105" y="154"/>
                  </a:cubicBezTo>
                  <a:cubicBezTo>
                    <a:pt x="105" y="154"/>
                    <a:pt x="105" y="154"/>
                    <a:pt x="105" y="153"/>
                  </a:cubicBezTo>
                  <a:cubicBezTo>
                    <a:pt x="105" y="153"/>
                    <a:pt x="104" y="153"/>
                    <a:pt x="104" y="153"/>
                  </a:cubicBezTo>
                  <a:cubicBezTo>
                    <a:pt x="104" y="153"/>
                    <a:pt x="104" y="153"/>
                    <a:pt x="104" y="153"/>
                  </a:cubicBezTo>
                  <a:cubicBezTo>
                    <a:pt x="104" y="153"/>
                    <a:pt x="104" y="153"/>
                    <a:pt x="104" y="153"/>
                  </a:cubicBezTo>
                  <a:cubicBezTo>
                    <a:pt x="104" y="152"/>
                    <a:pt x="104" y="151"/>
                    <a:pt x="103" y="151"/>
                  </a:cubicBezTo>
                  <a:cubicBezTo>
                    <a:pt x="103" y="151"/>
                    <a:pt x="103" y="151"/>
                    <a:pt x="103" y="151"/>
                  </a:cubicBezTo>
                  <a:cubicBezTo>
                    <a:pt x="103" y="150"/>
                    <a:pt x="103" y="150"/>
                    <a:pt x="103" y="150"/>
                  </a:cubicBezTo>
                  <a:cubicBezTo>
                    <a:pt x="103" y="150"/>
                    <a:pt x="103" y="150"/>
                    <a:pt x="103" y="150"/>
                  </a:cubicBezTo>
                  <a:cubicBezTo>
                    <a:pt x="102" y="149"/>
                    <a:pt x="102" y="148"/>
                    <a:pt x="102" y="148"/>
                  </a:cubicBezTo>
                  <a:cubicBezTo>
                    <a:pt x="102" y="148"/>
                    <a:pt x="102" y="148"/>
                    <a:pt x="102" y="148"/>
                  </a:cubicBezTo>
                  <a:cubicBezTo>
                    <a:pt x="102" y="147"/>
                    <a:pt x="102" y="147"/>
                    <a:pt x="102" y="147"/>
                  </a:cubicBezTo>
                  <a:cubicBezTo>
                    <a:pt x="101" y="147"/>
                    <a:pt x="101" y="147"/>
                    <a:pt x="101" y="147"/>
                  </a:cubicBezTo>
                  <a:cubicBezTo>
                    <a:pt x="101" y="147"/>
                    <a:pt x="101" y="146"/>
                    <a:pt x="101" y="146"/>
                  </a:cubicBezTo>
                  <a:cubicBezTo>
                    <a:pt x="101" y="146"/>
                    <a:pt x="101" y="146"/>
                    <a:pt x="101" y="146"/>
                  </a:cubicBezTo>
                  <a:cubicBezTo>
                    <a:pt x="101" y="146"/>
                    <a:pt x="101" y="146"/>
                    <a:pt x="101" y="145"/>
                  </a:cubicBezTo>
                  <a:cubicBezTo>
                    <a:pt x="101" y="145"/>
                    <a:pt x="101" y="145"/>
                    <a:pt x="100" y="145"/>
                  </a:cubicBezTo>
                  <a:cubicBezTo>
                    <a:pt x="100" y="145"/>
                    <a:pt x="100" y="145"/>
                    <a:pt x="100" y="145"/>
                  </a:cubicBezTo>
                  <a:cubicBezTo>
                    <a:pt x="100" y="145"/>
                    <a:pt x="100" y="145"/>
                    <a:pt x="100" y="145"/>
                  </a:cubicBezTo>
                  <a:cubicBezTo>
                    <a:pt x="100" y="145"/>
                    <a:pt x="100" y="144"/>
                    <a:pt x="100" y="144"/>
                  </a:cubicBezTo>
                  <a:cubicBezTo>
                    <a:pt x="100" y="144"/>
                    <a:pt x="100" y="144"/>
                    <a:pt x="100" y="144"/>
                  </a:cubicBezTo>
                  <a:cubicBezTo>
                    <a:pt x="100" y="144"/>
                    <a:pt x="100" y="144"/>
                    <a:pt x="100" y="143"/>
                  </a:cubicBezTo>
                  <a:cubicBezTo>
                    <a:pt x="100" y="143"/>
                    <a:pt x="100" y="143"/>
                    <a:pt x="99" y="143"/>
                  </a:cubicBezTo>
                  <a:cubicBezTo>
                    <a:pt x="99" y="143"/>
                    <a:pt x="99" y="143"/>
                    <a:pt x="99" y="143"/>
                  </a:cubicBezTo>
                  <a:cubicBezTo>
                    <a:pt x="99" y="143"/>
                    <a:pt x="99" y="143"/>
                    <a:pt x="99" y="143"/>
                  </a:cubicBezTo>
                  <a:cubicBezTo>
                    <a:pt x="99" y="142"/>
                    <a:pt x="99" y="141"/>
                    <a:pt x="99" y="140"/>
                  </a:cubicBezTo>
                  <a:cubicBezTo>
                    <a:pt x="99" y="140"/>
                    <a:pt x="99" y="140"/>
                    <a:pt x="98" y="140"/>
                  </a:cubicBezTo>
                  <a:cubicBezTo>
                    <a:pt x="97" y="131"/>
                    <a:pt x="96" y="122"/>
                    <a:pt x="95" y="112"/>
                  </a:cubicBezTo>
                  <a:cubicBezTo>
                    <a:pt x="95" y="112"/>
                    <a:pt x="95" y="112"/>
                    <a:pt x="95" y="112"/>
                  </a:cubicBezTo>
                  <a:cubicBezTo>
                    <a:pt x="95" y="112"/>
                    <a:pt x="95" y="111"/>
                    <a:pt x="95" y="110"/>
                  </a:cubicBezTo>
                  <a:cubicBezTo>
                    <a:pt x="94" y="110"/>
                    <a:pt x="94" y="110"/>
                    <a:pt x="94" y="110"/>
                  </a:cubicBezTo>
                  <a:cubicBezTo>
                    <a:pt x="94" y="110"/>
                    <a:pt x="94" y="110"/>
                    <a:pt x="94" y="109"/>
                  </a:cubicBezTo>
                  <a:cubicBezTo>
                    <a:pt x="94" y="109"/>
                    <a:pt x="94" y="109"/>
                    <a:pt x="94" y="109"/>
                  </a:cubicBezTo>
                  <a:cubicBezTo>
                    <a:pt x="94" y="109"/>
                    <a:pt x="94" y="109"/>
                    <a:pt x="94" y="108"/>
                  </a:cubicBezTo>
                  <a:cubicBezTo>
                    <a:pt x="94" y="108"/>
                    <a:pt x="94" y="108"/>
                    <a:pt x="93" y="108"/>
                  </a:cubicBezTo>
                  <a:cubicBezTo>
                    <a:pt x="93" y="108"/>
                    <a:pt x="93" y="107"/>
                    <a:pt x="93" y="107"/>
                  </a:cubicBezTo>
                  <a:cubicBezTo>
                    <a:pt x="93" y="107"/>
                    <a:pt x="93" y="107"/>
                    <a:pt x="93" y="107"/>
                  </a:cubicBezTo>
                  <a:cubicBezTo>
                    <a:pt x="93" y="107"/>
                    <a:pt x="93" y="106"/>
                    <a:pt x="93" y="106"/>
                  </a:cubicBezTo>
                  <a:cubicBezTo>
                    <a:pt x="93" y="106"/>
                    <a:pt x="93" y="106"/>
                    <a:pt x="92" y="106"/>
                  </a:cubicBezTo>
                  <a:cubicBezTo>
                    <a:pt x="92" y="106"/>
                    <a:pt x="92" y="105"/>
                    <a:pt x="92" y="105"/>
                  </a:cubicBezTo>
                  <a:cubicBezTo>
                    <a:pt x="92" y="105"/>
                    <a:pt x="92" y="105"/>
                    <a:pt x="92" y="105"/>
                  </a:cubicBezTo>
                  <a:cubicBezTo>
                    <a:pt x="92" y="105"/>
                    <a:pt x="92" y="105"/>
                    <a:pt x="92" y="104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92" y="104"/>
                    <a:pt x="92" y="104"/>
                    <a:pt x="92" y="103"/>
                  </a:cubicBezTo>
                  <a:cubicBezTo>
                    <a:pt x="92" y="103"/>
                    <a:pt x="92" y="103"/>
                    <a:pt x="91" y="103"/>
                  </a:cubicBezTo>
                  <a:cubicBezTo>
                    <a:pt x="91" y="103"/>
                    <a:pt x="91" y="103"/>
                    <a:pt x="91" y="102"/>
                  </a:cubicBezTo>
                  <a:cubicBezTo>
                    <a:pt x="91" y="102"/>
                    <a:pt x="91" y="102"/>
                    <a:pt x="91" y="102"/>
                  </a:cubicBezTo>
                  <a:cubicBezTo>
                    <a:pt x="91" y="102"/>
                    <a:pt x="91" y="102"/>
                    <a:pt x="91" y="102"/>
                  </a:cubicBezTo>
                  <a:cubicBezTo>
                    <a:pt x="91" y="102"/>
                    <a:pt x="91" y="102"/>
                    <a:pt x="91" y="102"/>
                  </a:cubicBezTo>
                  <a:cubicBezTo>
                    <a:pt x="91" y="101"/>
                    <a:pt x="91" y="101"/>
                    <a:pt x="91" y="101"/>
                  </a:cubicBezTo>
                  <a:cubicBezTo>
                    <a:pt x="91" y="101"/>
                    <a:pt x="90" y="101"/>
                    <a:pt x="90" y="101"/>
                  </a:cubicBezTo>
                  <a:cubicBezTo>
                    <a:pt x="90" y="100"/>
                    <a:pt x="90" y="100"/>
                    <a:pt x="90" y="99"/>
                  </a:cubicBezTo>
                  <a:cubicBezTo>
                    <a:pt x="90" y="99"/>
                    <a:pt x="90" y="99"/>
                    <a:pt x="90" y="99"/>
                  </a:cubicBezTo>
                  <a:cubicBezTo>
                    <a:pt x="90" y="99"/>
                    <a:pt x="90" y="98"/>
                    <a:pt x="90" y="98"/>
                  </a:cubicBezTo>
                  <a:cubicBezTo>
                    <a:pt x="90" y="98"/>
                    <a:pt x="89" y="98"/>
                    <a:pt x="89" y="98"/>
                  </a:cubicBezTo>
                  <a:cubicBezTo>
                    <a:pt x="89" y="98"/>
                    <a:pt x="89" y="98"/>
                    <a:pt x="89" y="97"/>
                  </a:cubicBezTo>
                  <a:cubicBezTo>
                    <a:pt x="89" y="97"/>
                    <a:pt x="89" y="97"/>
                    <a:pt x="89" y="97"/>
                  </a:cubicBezTo>
                  <a:cubicBezTo>
                    <a:pt x="89" y="97"/>
                    <a:pt x="89" y="96"/>
                    <a:pt x="89" y="96"/>
                  </a:cubicBezTo>
                  <a:cubicBezTo>
                    <a:pt x="88" y="96"/>
                    <a:pt x="88" y="96"/>
                    <a:pt x="88" y="96"/>
                  </a:cubicBezTo>
                  <a:cubicBezTo>
                    <a:pt x="88" y="95"/>
                    <a:pt x="88" y="95"/>
                    <a:pt x="88" y="95"/>
                  </a:cubicBezTo>
                  <a:cubicBezTo>
                    <a:pt x="88" y="95"/>
                    <a:pt x="88" y="95"/>
                    <a:pt x="88" y="95"/>
                  </a:cubicBezTo>
                  <a:cubicBezTo>
                    <a:pt x="88" y="95"/>
                    <a:pt x="88" y="94"/>
                    <a:pt x="88" y="94"/>
                  </a:cubicBezTo>
                  <a:cubicBezTo>
                    <a:pt x="88" y="94"/>
                    <a:pt x="88" y="94"/>
                    <a:pt x="88" y="94"/>
                  </a:cubicBezTo>
                  <a:cubicBezTo>
                    <a:pt x="88" y="94"/>
                    <a:pt x="88" y="93"/>
                    <a:pt x="88" y="93"/>
                  </a:cubicBezTo>
                  <a:cubicBezTo>
                    <a:pt x="87" y="93"/>
                    <a:pt x="87" y="93"/>
                    <a:pt x="87" y="93"/>
                  </a:cubicBezTo>
                  <a:cubicBezTo>
                    <a:pt x="87" y="93"/>
                    <a:pt x="87" y="93"/>
                    <a:pt x="87" y="92"/>
                  </a:cubicBezTo>
                  <a:cubicBezTo>
                    <a:pt x="87" y="92"/>
                    <a:pt x="87" y="92"/>
                    <a:pt x="87" y="92"/>
                  </a:cubicBezTo>
                  <a:cubicBezTo>
                    <a:pt x="87" y="92"/>
                    <a:pt x="87" y="92"/>
                    <a:pt x="87" y="91"/>
                  </a:cubicBezTo>
                  <a:cubicBezTo>
                    <a:pt x="87" y="91"/>
                    <a:pt x="87" y="91"/>
                    <a:pt x="86" y="91"/>
                  </a:cubicBezTo>
                  <a:cubicBezTo>
                    <a:pt x="86" y="91"/>
                    <a:pt x="86" y="91"/>
                    <a:pt x="86" y="91"/>
                  </a:cubicBezTo>
                  <a:cubicBezTo>
                    <a:pt x="86" y="91"/>
                    <a:pt x="86" y="91"/>
                    <a:pt x="86" y="91"/>
                  </a:cubicBezTo>
                  <a:cubicBezTo>
                    <a:pt x="86" y="90"/>
                    <a:pt x="86" y="90"/>
                    <a:pt x="86" y="89"/>
                  </a:cubicBezTo>
                  <a:cubicBezTo>
                    <a:pt x="86" y="89"/>
                    <a:pt x="86" y="89"/>
                    <a:pt x="86" y="89"/>
                  </a:cubicBezTo>
                  <a:cubicBezTo>
                    <a:pt x="86" y="89"/>
                    <a:pt x="86" y="88"/>
                    <a:pt x="85" y="88"/>
                  </a:cubicBezTo>
                  <a:cubicBezTo>
                    <a:pt x="85" y="88"/>
                    <a:pt x="85" y="88"/>
                    <a:pt x="85" y="88"/>
                  </a:cubicBezTo>
                  <a:cubicBezTo>
                    <a:pt x="85" y="88"/>
                    <a:pt x="85" y="87"/>
                    <a:pt x="85" y="87"/>
                  </a:cubicBezTo>
                  <a:cubicBezTo>
                    <a:pt x="85" y="87"/>
                    <a:pt x="85" y="87"/>
                    <a:pt x="85" y="87"/>
                  </a:cubicBezTo>
                  <a:cubicBezTo>
                    <a:pt x="85" y="87"/>
                    <a:pt x="85" y="86"/>
                    <a:pt x="85" y="86"/>
                  </a:cubicBezTo>
                  <a:cubicBezTo>
                    <a:pt x="85" y="86"/>
                    <a:pt x="85" y="86"/>
                    <a:pt x="84" y="86"/>
                  </a:cubicBezTo>
                  <a:cubicBezTo>
                    <a:pt x="84" y="85"/>
                    <a:pt x="83" y="84"/>
                    <a:pt x="83" y="82"/>
                  </a:cubicBezTo>
                  <a:cubicBezTo>
                    <a:pt x="84" y="82"/>
                    <a:pt x="84" y="82"/>
                    <a:pt x="84" y="82"/>
                  </a:cubicBezTo>
                  <a:cubicBezTo>
                    <a:pt x="84" y="82"/>
                    <a:pt x="84" y="82"/>
                    <a:pt x="84" y="81"/>
                  </a:cubicBezTo>
                  <a:cubicBezTo>
                    <a:pt x="85" y="81"/>
                    <a:pt x="85" y="81"/>
                    <a:pt x="85" y="81"/>
                  </a:cubicBezTo>
                  <a:cubicBezTo>
                    <a:pt x="85" y="81"/>
                    <a:pt x="85" y="81"/>
                    <a:pt x="85" y="81"/>
                  </a:cubicBezTo>
                  <a:cubicBezTo>
                    <a:pt x="85" y="81"/>
                    <a:pt x="86" y="81"/>
                    <a:pt x="86" y="81"/>
                  </a:cubicBezTo>
                  <a:cubicBezTo>
                    <a:pt x="86" y="81"/>
                    <a:pt x="86" y="81"/>
                    <a:pt x="86" y="80"/>
                  </a:cubicBezTo>
                  <a:cubicBezTo>
                    <a:pt x="86" y="80"/>
                    <a:pt x="87" y="80"/>
                    <a:pt x="87" y="80"/>
                  </a:cubicBezTo>
                  <a:cubicBezTo>
                    <a:pt x="87" y="80"/>
                    <a:pt x="87" y="80"/>
                    <a:pt x="87" y="80"/>
                  </a:cubicBezTo>
                  <a:cubicBezTo>
                    <a:pt x="87" y="80"/>
                    <a:pt x="88" y="80"/>
                    <a:pt x="88" y="80"/>
                  </a:cubicBezTo>
                  <a:cubicBezTo>
                    <a:pt x="88" y="79"/>
                    <a:pt x="88" y="79"/>
                    <a:pt x="88" y="79"/>
                  </a:cubicBezTo>
                  <a:cubicBezTo>
                    <a:pt x="88" y="79"/>
                    <a:pt x="89" y="79"/>
                    <a:pt x="89" y="79"/>
                  </a:cubicBezTo>
                  <a:cubicBezTo>
                    <a:pt x="89" y="79"/>
                    <a:pt x="89" y="79"/>
                    <a:pt x="89" y="78"/>
                  </a:cubicBezTo>
                  <a:cubicBezTo>
                    <a:pt x="90" y="78"/>
                    <a:pt x="90" y="78"/>
                    <a:pt x="90" y="78"/>
                  </a:cubicBezTo>
                  <a:cubicBezTo>
                    <a:pt x="90" y="78"/>
                    <a:pt x="90" y="78"/>
                    <a:pt x="90" y="78"/>
                  </a:cubicBezTo>
                  <a:cubicBezTo>
                    <a:pt x="91" y="78"/>
                    <a:pt x="91" y="78"/>
                    <a:pt x="91" y="78"/>
                  </a:cubicBezTo>
                  <a:cubicBezTo>
                    <a:pt x="91" y="77"/>
                    <a:pt x="91" y="77"/>
                    <a:pt x="91" y="77"/>
                  </a:cubicBezTo>
                  <a:cubicBezTo>
                    <a:pt x="92" y="77"/>
                    <a:pt x="92" y="77"/>
                    <a:pt x="92" y="77"/>
                  </a:cubicBezTo>
                  <a:cubicBezTo>
                    <a:pt x="92" y="77"/>
                    <a:pt x="92" y="76"/>
                    <a:pt x="92" y="76"/>
                  </a:cubicBezTo>
                  <a:cubicBezTo>
                    <a:pt x="93" y="76"/>
                    <a:pt x="93" y="76"/>
                    <a:pt x="93" y="76"/>
                  </a:cubicBezTo>
                  <a:cubicBezTo>
                    <a:pt x="93" y="76"/>
                    <a:pt x="93" y="76"/>
                    <a:pt x="93" y="76"/>
                  </a:cubicBezTo>
                  <a:cubicBezTo>
                    <a:pt x="93" y="76"/>
                    <a:pt x="94" y="76"/>
                    <a:pt x="94" y="76"/>
                  </a:cubicBezTo>
                  <a:cubicBezTo>
                    <a:pt x="94" y="75"/>
                    <a:pt x="94" y="75"/>
                    <a:pt x="95" y="75"/>
                  </a:cubicBezTo>
                  <a:cubicBezTo>
                    <a:pt x="95" y="75"/>
                    <a:pt x="95" y="75"/>
                    <a:pt x="95" y="75"/>
                  </a:cubicBezTo>
                  <a:cubicBezTo>
                    <a:pt x="95" y="75"/>
                    <a:pt x="95" y="74"/>
                    <a:pt x="96" y="74"/>
                  </a:cubicBezTo>
                  <a:cubicBezTo>
                    <a:pt x="96" y="74"/>
                    <a:pt x="96" y="74"/>
                    <a:pt x="96" y="74"/>
                  </a:cubicBezTo>
                  <a:cubicBezTo>
                    <a:pt x="96" y="74"/>
                    <a:pt x="97" y="74"/>
                    <a:pt x="97" y="73"/>
                  </a:cubicBezTo>
                  <a:cubicBezTo>
                    <a:pt x="97" y="73"/>
                    <a:pt x="97" y="73"/>
                    <a:pt x="97" y="73"/>
                  </a:cubicBezTo>
                  <a:cubicBezTo>
                    <a:pt x="97" y="73"/>
                    <a:pt x="98" y="73"/>
                    <a:pt x="98" y="73"/>
                  </a:cubicBezTo>
                  <a:cubicBezTo>
                    <a:pt x="98" y="73"/>
                    <a:pt x="98" y="73"/>
                    <a:pt x="98" y="73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100" y="72"/>
                    <a:pt x="100" y="72"/>
                    <a:pt x="100" y="71"/>
                  </a:cubicBezTo>
                  <a:cubicBezTo>
                    <a:pt x="100" y="71"/>
                    <a:pt x="101" y="71"/>
                    <a:pt x="101" y="71"/>
                  </a:cubicBezTo>
                  <a:cubicBezTo>
                    <a:pt x="101" y="71"/>
                    <a:pt x="101" y="70"/>
                    <a:pt x="102" y="70"/>
                  </a:cubicBezTo>
                  <a:cubicBezTo>
                    <a:pt x="102" y="70"/>
                    <a:pt x="102" y="70"/>
                    <a:pt x="102" y="70"/>
                  </a:cubicBezTo>
                  <a:cubicBezTo>
                    <a:pt x="102" y="70"/>
                    <a:pt x="102" y="70"/>
                    <a:pt x="103" y="70"/>
                  </a:cubicBezTo>
                  <a:cubicBezTo>
                    <a:pt x="103" y="70"/>
                    <a:pt x="103" y="70"/>
                    <a:pt x="103" y="70"/>
                  </a:cubicBezTo>
                  <a:cubicBezTo>
                    <a:pt x="103" y="69"/>
                    <a:pt x="104" y="69"/>
                    <a:pt x="104" y="69"/>
                  </a:cubicBezTo>
                  <a:cubicBezTo>
                    <a:pt x="104" y="69"/>
                    <a:pt x="104" y="69"/>
                    <a:pt x="104" y="69"/>
                  </a:cubicBezTo>
                  <a:cubicBezTo>
                    <a:pt x="104" y="69"/>
                    <a:pt x="105" y="68"/>
                    <a:pt x="105" y="68"/>
                  </a:cubicBezTo>
                  <a:cubicBezTo>
                    <a:pt x="105" y="68"/>
                    <a:pt x="105" y="68"/>
                    <a:pt x="105" y="68"/>
                  </a:cubicBezTo>
                  <a:cubicBezTo>
                    <a:pt x="105" y="68"/>
                    <a:pt x="105" y="68"/>
                    <a:pt x="105" y="68"/>
                  </a:cubicBezTo>
                  <a:cubicBezTo>
                    <a:pt x="106" y="68"/>
                    <a:pt x="106" y="68"/>
                    <a:pt x="106" y="67"/>
                  </a:cubicBezTo>
                  <a:cubicBezTo>
                    <a:pt x="107" y="67"/>
                    <a:pt x="107" y="67"/>
                    <a:pt x="107" y="67"/>
                  </a:cubicBezTo>
                  <a:cubicBezTo>
                    <a:pt x="107" y="67"/>
                    <a:pt x="107" y="67"/>
                    <a:pt x="107" y="67"/>
                  </a:cubicBezTo>
                  <a:cubicBezTo>
                    <a:pt x="108" y="67"/>
                    <a:pt x="108" y="66"/>
                    <a:pt x="108" y="66"/>
                  </a:cubicBezTo>
                  <a:cubicBezTo>
                    <a:pt x="108" y="66"/>
                    <a:pt x="108" y="66"/>
                    <a:pt x="109" y="66"/>
                  </a:cubicBezTo>
                  <a:cubicBezTo>
                    <a:pt x="109" y="66"/>
                    <a:pt x="109" y="66"/>
                    <a:pt x="109" y="65"/>
                  </a:cubicBezTo>
                  <a:cubicBezTo>
                    <a:pt x="109" y="65"/>
                    <a:pt x="109" y="65"/>
                    <a:pt x="110" y="65"/>
                  </a:cubicBezTo>
                  <a:cubicBezTo>
                    <a:pt x="110" y="65"/>
                    <a:pt x="110" y="65"/>
                    <a:pt x="110" y="65"/>
                  </a:cubicBezTo>
                  <a:cubicBezTo>
                    <a:pt x="110" y="65"/>
                    <a:pt x="110" y="65"/>
                    <a:pt x="111" y="65"/>
                  </a:cubicBezTo>
                  <a:cubicBezTo>
                    <a:pt x="111" y="64"/>
                    <a:pt x="111" y="64"/>
                    <a:pt x="111" y="64"/>
                  </a:cubicBezTo>
                  <a:cubicBezTo>
                    <a:pt x="111" y="64"/>
                    <a:pt x="111" y="64"/>
                    <a:pt x="112" y="64"/>
                  </a:cubicBezTo>
                  <a:cubicBezTo>
                    <a:pt x="112" y="64"/>
                    <a:pt x="112" y="64"/>
                    <a:pt x="112" y="64"/>
                  </a:cubicBezTo>
                  <a:cubicBezTo>
                    <a:pt x="112" y="63"/>
                    <a:pt x="112" y="63"/>
                    <a:pt x="113" y="63"/>
                  </a:cubicBezTo>
                  <a:cubicBezTo>
                    <a:pt x="113" y="63"/>
                    <a:pt x="113" y="63"/>
                    <a:pt x="113" y="63"/>
                  </a:cubicBezTo>
                  <a:cubicBezTo>
                    <a:pt x="113" y="63"/>
                    <a:pt x="114" y="63"/>
                    <a:pt x="114" y="63"/>
                  </a:cubicBezTo>
                  <a:cubicBezTo>
                    <a:pt x="114" y="62"/>
                    <a:pt x="114" y="62"/>
                    <a:pt x="114" y="62"/>
                  </a:cubicBezTo>
                  <a:cubicBezTo>
                    <a:pt x="114" y="62"/>
                    <a:pt x="115" y="62"/>
                    <a:pt x="115" y="62"/>
                  </a:cubicBezTo>
                  <a:cubicBezTo>
                    <a:pt x="115" y="61"/>
                    <a:pt x="115" y="61"/>
                    <a:pt x="115" y="61"/>
                  </a:cubicBezTo>
                  <a:cubicBezTo>
                    <a:pt x="116" y="61"/>
                    <a:pt x="116" y="61"/>
                    <a:pt x="117" y="61"/>
                  </a:cubicBezTo>
                  <a:cubicBezTo>
                    <a:pt x="117" y="61"/>
                    <a:pt x="117" y="61"/>
                    <a:pt x="117" y="60"/>
                  </a:cubicBezTo>
                  <a:cubicBezTo>
                    <a:pt x="117" y="60"/>
                    <a:pt x="117" y="60"/>
                    <a:pt x="118" y="60"/>
                  </a:cubicBezTo>
                  <a:cubicBezTo>
                    <a:pt x="118" y="60"/>
                    <a:pt x="118" y="60"/>
                    <a:pt x="118" y="59"/>
                  </a:cubicBezTo>
                  <a:cubicBezTo>
                    <a:pt x="118" y="59"/>
                    <a:pt x="118" y="59"/>
                    <a:pt x="119" y="59"/>
                  </a:cubicBezTo>
                  <a:cubicBezTo>
                    <a:pt x="119" y="59"/>
                    <a:pt x="119" y="59"/>
                    <a:pt x="119" y="59"/>
                  </a:cubicBezTo>
                  <a:cubicBezTo>
                    <a:pt x="119" y="59"/>
                    <a:pt x="119" y="59"/>
                    <a:pt x="120" y="59"/>
                  </a:cubicBezTo>
                  <a:cubicBezTo>
                    <a:pt x="120" y="58"/>
                    <a:pt x="120" y="58"/>
                    <a:pt x="120" y="58"/>
                  </a:cubicBezTo>
                  <a:cubicBezTo>
                    <a:pt x="120" y="58"/>
                    <a:pt x="121" y="58"/>
                    <a:pt x="121" y="58"/>
                  </a:cubicBezTo>
                  <a:cubicBezTo>
                    <a:pt x="121" y="58"/>
                    <a:pt x="121" y="58"/>
                    <a:pt x="121" y="57"/>
                  </a:cubicBezTo>
                  <a:cubicBezTo>
                    <a:pt x="121" y="57"/>
                    <a:pt x="122" y="57"/>
                    <a:pt x="122" y="57"/>
                  </a:cubicBezTo>
                  <a:cubicBezTo>
                    <a:pt x="122" y="57"/>
                    <a:pt x="122" y="57"/>
                    <a:pt x="122" y="57"/>
                  </a:cubicBezTo>
                  <a:cubicBezTo>
                    <a:pt x="122" y="57"/>
                    <a:pt x="123" y="57"/>
                    <a:pt x="123" y="57"/>
                  </a:cubicBezTo>
                  <a:cubicBezTo>
                    <a:pt x="123" y="56"/>
                    <a:pt x="123" y="56"/>
                    <a:pt x="123" y="56"/>
                  </a:cubicBezTo>
                  <a:cubicBezTo>
                    <a:pt x="124" y="56"/>
                    <a:pt x="125" y="56"/>
                    <a:pt x="125" y="56"/>
                  </a:cubicBezTo>
                  <a:cubicBezTo>
                    <a:pt x="125" y="55"/>
                    <a:pt x="125" y="55"/>
                    <a:pt x="125" y="55"/>
                  </a:cubicBezTo>
                  <a:cubicBezTo>
                    <a:pt x="126" y="55"/>
                    <a:pt x="126" y="55"/>
                    <a:pt x="126" y="55"/>
                  </a:cubicBezTo>
                  <a:cubicBezTo>
                    <a:pt x="126" y="55"/>
                    <a:pt x="126" y="55"/>
                    <a:pt x="126" y="55"/>
                  </a:cubicBezTo>
                  <a:cubicBezTo>
                    <a:pt x="126" y="55"/>
                    <a:pt x="127" y="55"/>
                    <a:pt x="127" y="55"/>
                  </a:cubicBezTo>
                  <a:cubicBezTo>
                    <a:pt x="127" y="55"/>
                    <a:pt x="127" y="55"/>
                    <a:pt x="127" y="55"/>
                  </a:cubicBezTo>
                  <a:cubicBezTo>
                    <a:pt x="127" y="55"/>
                    <a:pt x="128" y="55"/>
                    <a:pt x="128" y="55"/>
                  </a:cubicBezTo>
                  <a:cubicBezTo>
                    <a:pt x="128" y="54"/>
                    <a:pt x="128" y="54"/>
                    <a:pt x="128" y="54"/>
                  </a:cubicBezTo>
                  <a:cubicBezTo>
                    <a:pt x="128" y="54"/>
                    <a:pt x="129" y="54"/>
                    <a:pt x="129" y="54"/>
                  </a:cubicBezTo>
                  <a:cubicBezTo>
                    <a:pt x="129" y="54"/>
                    <a:pt x="129" y="54"/>
                    <a:pt x="129" y="54"/>
                  </a:cubicBezTo>
                  <a:cubicBezTo>
                    <a:pt x="130" y="54"/>
                    <a:pt x="131" y="54"/>
                    <a:pt x="131" y="53"/>
                  </a:cubicBezTo>
                  <a:cubicBezTo>
                    <a:pt x="140" y="50"/>
                    <a:pt x="149" y="47"/>
                    <a:pt x="157" y="44"/>
                  </a:cubicBezTo>
                  <a:cubicBezTo>
                    <a:pt x="158" y="44"/>
                    <a:pt x="159" y="43"/>
                    <a:pt x="160" y="43"/>
                  </a:cubicBezTo>
                  <a:cubicBezTo>
                    <a:pt x="160" y="43"/>
                    <a:pt x="160" y="43"/>
                    <a:pt x="160" y="43"/>
                  </a:cubicBezTo>
                  <a:cubicBezTo>
                    <a:pt x="160" y="43"/>
                    <a:pt x="160" y="43"/>
                    <a:pt x="161" y="43"/>
                  </a:cubicBezTo>
                  <a:cubicBezTo>
                    <a:pt x="161" y="43"/>
                    <a:pt x="161" y="43"/>
                    <a:pt x="161" y="43"/>
                  </a:cubicBezTo>
                  <a:cubicBezTo>
                    <a:pt x="161" y="43"/>
                    <a:pt x="161" y="43"/>
                    <a:pt x="162" y="43"/>
                  </a:cubicBezTo>
                  <a:cubicBezTo>
                    <a:pt x="162" y="43"/>
                    <a:pt x="162" y="42"/>
                    <a:pt x="162" y="42"/>
                  </a:cubicBezTo>
                  <a:cubicBezTo>
                    <a:pt x="162" y="42"/>
                    <a:pt x="162" y="42"/>
                    <a:pt x="163" y="42"/>
                  </a:cubicBezTo>
                  <a:cubicBezTo>
                    <a:pt x="163" y="42"/>
                    <a:pt x="163" y="42"/>
                    <a:pt x="163" y="42"/>
                  </a:cubicBezTo>
                  <a:cubicBezTo>
                    <a:pt x="163" y="42"/>
                    <a:pt x="163" y="42"/>
                    <a:pt x="163" y="42"/>
                  </a:cubicBezTo>
                  <a:cubicBezTo>
                    <a:pt x="163" y="42"/>
                    <a:pt x="163" y="42"/>
                    <a:pt x="163" y="42"/>
                  </a:cubicBezTo>
                  <a:cubicBezTo>
                    <a:pt x="164" y="41"/>
                    <a:pt x="165" y="41"/>
                    <a:pt x="165" y="41"/>
                  </a:cubicBezTo>
                  <a:cubicBezTo>
                    <a:pt x="165" y="41"/>
                    <a:pt x="165" y="41"/>
                    <a:pt x="165" y="41"/>
                  </a:cubicBezTo>
                  <a:cubicBezTo>
                    <a:pt x="166" y="41"/>
                    <a:pt x="166" y="41"/>
                    <a:pt x="166" y="41"/>
                  </a:cubicBezTo>
                  <a:cubicBezTo>
                    <a:pt x="166" y="40"/>
                    <a:pt x="166" y="40"/>
                    <a:pt x="167" y="40"/>
                  </a:cubicBezTo>
                  <a:cubicBezTo>
                    <a:pt x="167" y="40"/>
                    <a:pt x="167" y="40"/>
                    <a:pt x="167" y="40"/>
                  </a:cubicBezTo>
                  <a:cubicBezTo>
                    <a:pt x="167" y="40"/>
                    <a:pt x="168" y="39"/>
                    <a:pt x="168" y="39"/>
                  </a:cubicBezTo>
                  <a:cubicBezTo>
                    <a:pt x="168" y="39"/>
                    <a:pt x="168" y="39"/>
                    <a:pt x="168" y="39"/>
                  </a:cubicBezTo>
                  <a:cubicBezTo>
                    <a:pt x="169" y="39"/>
                    <a:pt x="169" y="38"/>
                    <a:pt x="169" y="38"/>
                  </a:cubicBezTo>
                  <a:cubicBezTo>
                    <a:pt x="169" y="38"/>
                    <a:pt x="169" y="38"/>
                    <a:pt x="170" y="38"/>
                  </a:cubicBezTo>
                  <a:cubicBezTo>
                    <a:pt x="170" y="38"/>
                    <a:pt x="170" y="38"/>
                    <a:pt x="170" y="37"/>
                  </a:cubicBezTo>
                  <a:cubicBezTo>
                    <a:pt x="170" y="37"/>
                    <a:pt x="171" y="37"/>
                    <a:pt x="171" y="37"/>
                  </a:cubicBezTo>
                  <a:cubicBezTo>
                    <a:pt x="171" y="37"/>
                    <a:pt x="171" y="37"/>
                    <a:pt x="171" y="36"/>
                  </a:cubicBezTo>
                  <a:cubicBezTo>
                    <a:pt x="172" y="36"/>
                    <a:pt x="172" y="36"/>
                    <a:pt x="172" y="36"/>
                  </a:cubicBezTo>
                  <a:cubicBezTo>
                    <a:pt x="172" y="36"/>
                    <a:pt x="172" y="36"/>
                    <a:pt x="172" y="36"/>
                  </a:cubicBezTo>
                  <a:cubicBezTo>
                    <a:pt x="173" y="36"/>
                    <a:pt x="173" y="36"/>
                    <a:pt x="173" y="36"/>
                  </a:cubicBezTo>
                  <a:cubicBezTo>
                    <a:pt x="173" y="35"/>
                    <a:pt x="173" y="35"/>
                    <a:pt x="174" y="35"/>
                  </a:cubicBezTo>
                  <a:cubicBezTo>
                    <a:pt x="174" y="35"/>
                    <a:pt x="174" y="35"/>
                    <a:pt x="174" y="35"/>
                  </a:cubicBezTo>
                  <a:cubicBezTo>
                    <a:pt x="175" y="35"/>
                    <a:pt x="175" y="34"/>
                    <a:pt x="175" y="34"/>
                  </a:cubicBezTo>
                  <a:cubicBezTo>
                    <a:pt x="175" y="34"/>
                    <a:pt x="175" y="34"/>
                    <a:pt x="176" y="34"/>
                  </a:cubicBezTo>
                  <a:cubicBezTo>
                    <a:pt x="176" y="34"/>
                    <a:pt x="176" y="33"/>
                    <a:pt x="176" y="33"/>
                  </a:cubicBezTo>
                  <a:cubicBezTo>
                    <a:pt x="176" y="33"/>
                    <a:pt x="176" y="33"/>
                    <a:pt x="177" y="33"/>
                  </a:cubicBezTo>
                  <a:cubicBezTo>
                    <a:pt x="177" y="33"/>
                    <a:pt x="177" y="32"/>
                    <a:pt x="177" y="32"/>
                  </a:cubicBezTo>
                  <a:cubicBezTo>
                    <a:pt x="178" y="32"/>
                    <a:pt x="178" y="32"/>
                    <a:pt x="178" y="32"/>
                  </a:cubicBezTo>
                  <a:cubicBezTo>
                    <a:pt x="178" y="32"/>
                    <a:pt x="178" y="32"/>
                    <a:pt x="178" y="31"/>
                  </a:cubicBezTo>
                  <a:cubicBezTo>
                    <a:pt x="179" y="31"/>
                    <a:pt x="179" y="31"/>
                    <a:pt x="179" y="31"/>
                  </a:cubicBezTo>
                  <a:cubicBezTo>
                    <a:pt x="179" y="31"/>
                    <a:pt x="180" y="31"/>
                    <a:pt x="180" y="30"/>
                  </a:cubicBezTo>
                  <a:cubicBezTo>
                    <a:pt x="180" y="30"/>
                    <a:pt x="180" y="30"/>
                    <a:pt x="181" y="30"/>
                  </a:cubicBezTo>
                  <a:cubicBezTo>
                    <a:pt x="181" y="30"/>
                    <a:pt x="181" y="30"/>
                    <a:pt x="181" y="30"/>
                  </a:cubicBezTo>
                  <a:cubicBezTo>
                    <a:pt x="181" y="30"/>
                    <a:pt x="181" y="30"/>
                    <a:pt x="182" y="30"/>
                  </a:cubicBezTo>
                  <a:cubicBezTo>
                    <a:pt x="182" y="29"/>
                    <a:pt x="182" y="29"/>
                    <a:pt x="182" y="29"/>
                  </a:cubicBezTo>
                  <a:cubicBezTo>
                    <a:pt x="182" y="29"/>
                    <a:pt x="182" y="29"/>
                    <a:pt x="183" y="29"/>
                  </a:cubicBezTo>
                  <a:cubicBezTo>
                    <a:pt x="183" y="29"/>
                    <a:pt x="183" y="28"/>
                    <a:pt x="183" y="28"/>
                  </a:cubicBezTo>
                  <a:cubicBezTo>
                    <a:pt x="184" y="28"/>
                    <a:pt x="184" y="28"/>
                    <a:pt x="184" y="28"/>
                  </a:cubicBezTo>
                  <a:cubicBezTo>
                    <a:pt x="184" y="28"/>
                    <a:pt x="184" y="27"/>
                    <a:pt x="184" y="27"/>
                  </a:cubicBezTo>
                  <a:cubicBezTo>
                    <a:pt x="185" y="27"/>
                    <a:pt x="185" y="27"/>
                    <a:pt x="185" y="27"/>
                  </a:cubicBezTo>
                  <a:cubicBezTo>
                    <a:pt x="185" y="27"/>
                    <a:pt x="186" y="27"/>
                    <a:pt x="186" y="26"/>
                  </a:cubicBezTo>
                  <a:cubicBezTo>
                    <a:pt x="186" y="26"/>
                    <a:pt x="186" y="26"/>
                    <a:pt x="187" y="26"/>
                  </a:cubicBezTo>
                  <a:cubicBezTo>
                    <a:pt x="187" y="26"/>
                    <a:pt x="187" y="26"/>
                    <a:pt x="187" y="25"/>
                  </a:cubicBezTo>
                  <a:cubicBezTo>
                    <a:pt x="187" y="25"/>
                    <a:pt x="187" y="25"/>
                    <a:pt x="188" y="25"/>
                  </a:cubicBezTo>
                  <a:cubicBezTo>
                    <a:pt x="188" y="25"/>
                    <a:pt x="188" y="25"/>
                    <a:pt x="188" y="24"/>
                  </a:cubicBezTo>
                  <a:cubicBezTo>
                    <a:pt x="188" y="24"/>
                    <a:pt x="189" y="24"/>
                    <a:pt x="189" y="24"/>
                  </a:cubicBezTo>
                  <a:cubicBezTo>
                    <a:pt x="189" y="24"/>
                    <a:pt x="189" y="24"/>
                    <a:pt x="189" y="24"/>
                  </a:cubicBezTo>
                  <a:cubicBezTo>
                    <a:pt x="189" y="24"/>
                    <a:pt x="190" y="24"/>
                    <a:pt x="190" y="24"/>
                  </a:cubicBezTo>
                  <a:cubicBezTo>
                    <a:pt x="190" y="24"/>
                    <a:pt x="190" y="23"/>
                    <a:pt x="190" y="23"/>
                  </a:cubicBezTo>
                  <a:cubicBezTo>
                    <a:pt x="191" y="23"/>
                    <a:pt x="191" y="23"/>
                    <a:pt x="191" y="23"/>
                  </a:cubicBezTo>
                  <a:cubicBezTo>
                    <a:pt x="191" y="23"/>
                    <a:pt x="192" y="22"/>
                    <a:pt x="192" y="22"/>
                  </a:cubicBezTo>
                  <a:cubicBezTo>
                    <a:pt x="192" y="22"/>
                    <a:pt x="192" y="22"/>
                    <a:pt x="192" y="22"/>
                  </a:cubicBezTo>
                  <a:cubicBezTo>
                    <a:pt x="193" y="22"/>
                    <a:pt x="193" y="22"/>
                    <a:pt x="193" y="21"/>
                  </a:cubicBezTo>
                  <a:cubicBezTo>
                    <a:pt x="193" y="21"/>
                    <a:pt x="193" y="21"/>
                    <a:pt x="194" y="21"/>
                  </a:cubicBezTo>
                  <a:cubicBezTo>
                    <a:pt x="194" y="21"/>
                    <a:pt x="194" y="21"/>
                    <a:pt x="194" y="20"/>
                  </a:cubicBezTo>
                  <a:cubicBezTo>
                    <a:pt x="194" y="20"/>
                    <a:pt x="195" y="20"/>
                    <a:pt x="195" y="20"/>
                  </a:cubicBezTo>
                  <a:cubicBezTo>
                    <a:pt x="195" y="20"/>
                    <a:pt x="195" y="20"/>
                    <a:pt x="195" y="20"/>
                  </a:cubicBezTo>
                  <a:cubicBezTo>
                    <a:pt x="195" y="20"/>
                    <a:pt x="196" y="20"/>
                    <a:pt x="196" y="20"/>
                  </a:cubicBezTo>
                  <a:cubicBezTo>
                    <a:pt x="196" y="19"/>
                    <a:pt x="196" y="19"/>
                    <a:pt x="196" y="19"/>
                  </a:cubicBezTo>
                  <a:cubicBezTo>
                    <a:pt x="197" y="19"/>
                    <a:pt x="197" y="19"/>
                    <a:pt x="197" y="19"/>
                  </a:cubicBezTo>
                  <a:cubicBezTo>
                    <a:pt x="197" y="18"/>
                    <a:pt x="197" y="18"/>
                    <a:pt x="198" y="18"/>
                  </a:cubicBezTo>
                  <a:cubicBezTo>
                    <a:pt x="198" y="18"/>
                    <a:pt x="198" y="18"/>
                    <a:pt x="198" y="18"/>
                  </a:cubicBezTo>
                  <a:cubicBezTo>
                    <a:pt x="199" y="18"/>
                    <a:pt x="199" y="17"/>
                    <a:pt x="199" y="17"/>
                  </a:cubicBezTo>
                  <a:cubicBezTo>
                    <a:pt x="199" y="17"/>
                    <a:pt x="199" y="17"/>
                    <a:pt x="199" y="17"/>
                  </a:cubicBezTo>
                  <a:cubicBezTo>
                    <a:pt x="200" y="17"/>
                    <a:pt x="200" y="16"/>
                    <a:pt x="200" y="16"/>
                  </a:cubicBezTo>
                  <a:cubicBezTo>
                    <a:pt x="200" y="16"/>
                    <a:pt x="201" y="16"/>
                    <a:pt x="201" y="16"/>
                  </a:cubicBezTo>
                  <a:cubicBezTo>
                    <a:pt x="201" y="16"/>
                    <a:pt x="201" y="16"/>
                    <a:pt x="201" y="15"/>
                  </a:cubicBezTo>
                  <a:cubicBezTo>
                    <a:pt x="201" y="15"/>
                    <a:pt x="202" y="15"/>
                    <a:pt x="202" y="15"/>
                  </a:cubicBezTo>
                  <a:cubicBezTo>
                    <a:pt x="202" y="15"/>
                    <a:pt x="202" y="15"/>
                    <a:pt x="202" y="15"/>
                  </a:cubicBezTo>
                  <a:cubicBezTo>
                    <a:pt x="207" y="15"/>
                    <a:pt x="212" y="14"/>
                    <a:pt x="217" y="14"/>
                  </a:cubicBezTo>
                  <a:cubicBezTo>
                    <a:pt x="226" y="14"/>
                    <a:pt x="234" y="14"/>
                    <a:pt x="243" y="14"/>
                  </a:cubicBezTo>
                  <a:cubicBezTo>
                    <a:pt x="243" y="14"/>
                    <a:pt x="243" y="14"/>
                    <a:pt x="243" y="14"/>
                  </a:cubicBezTo>
                  <a:cubicBezTo>
                    <a:pt x="244" y="14"/>
                    <a:pt x="245" y="14"/>
                    <a:pt x="246" y="14"/>
                  </a:cubicBezTo>
                  <a:cubicBezTo>
                    <a:pt x="246" y="14"/>
                    <a:pt x="246" y="15"/>
                    <a:pt x="246" y="15"/>
                  </a:cubicBezTo>
                  <a:cubicBezTo>
                    <a:pt x="247" y="15"/>
                    <a:pt x="248" y="15"/>
                    <a:pt x="249" y="15"/>
                  </a:cubicBezTo>
                  <a:cubicBezTo>
                    <a:pt x="249" y="15"/>
                    <a:pt x="249" y="15"/>
                    <a:pt x="249" y="15"/>
                  </a:cubicBezTo>
                  <a:cubicBezTo>
                    <a:pt x="250" y="15"/>
                    <a:pt x="250" y="15"/>
                    <a:pt x="251" y="15"/>
                  </a:cubicBezTo>
                  <a:cubicBezTo>
                    <a:pt x="251" y="15"/>
                    <a:pt x="251" y="16"/>
                    <a:pt x="251" y="16"/>
                  </a:cubicBezTo>
                  <a:cubicBezTo>
                    <a:pt x="251" y="16"/>
                    <a:pt x="252" y="16"/>
                    <a:pt x="252" y="16"/>
                  </a:cubicBezTo>
                  <a:cubicBezTo>
                    <a:pt x="252" y="16"/>
                    <a:pt x="252" y="16"/>
                    <a:pt x="252" y="16"/>
                  </a:cubicBezTo>
                  <a:cubicBezTo>
                    <a:pt x="253" y="16"/>
                    <a:pt x="254" y="16"/>
                    <a:pt x="255" y="16"/>
                  </a:cubicBezTo>
                  <a:cubicBezTo>
                    <a:pt x="255" y="17"/>
                    <a:pt x="255" y="17"/>
                    <a:pt x="255" y="17"/>
                  </a:cubicBezTo>
                  <a:cubicBezTo>
                    <a:pt x="256" y="17"/>
                    <a:pt x="256" y="17"/>
                    <a:pt x="257" y="17"/>
                  </a:cubicBezTo>
                  <a:cubicBezTo>
                    <a:pt x="257" y="17"/>
                    <a:pt x="257" y="17"/>
                    <a:pt x="257" y="17"/>
                  </a:cubicBezTo>
                  <a:cubicBezTo>
                    <a:pt x="258" y="17"/>
                    <a:pt x="259" y="17"/>
                    <a:pt x="260" y="17"/>
                  </a:cubicBezTo>
                  <a:cubicBezTo>
                    <a:pt x="260" y="18"/>
                    <a:pt x="260" y="18"/>
                    <a:pt x="260" y="18"/>
                  </a:cubicBezTo>
                  <a:cubicBezTo>
                    <a:pt x="261" y="18"/>
                    <a:pt x="261" y="18"/>
                    <a:pt x="262" y="18"/>
                  </a:cubicBezTo>
                  <a:cubicBezTo>
                    <a:pt x="262" y="18"/>
                    <a:pt x="262" y="18"/>
                    <a:pt x="262" y="18"/>
                  </a:cubicBezTo>
                  <a:cubicBezTo>
                    <a:pt x="263" y="18"/>
                    <a:pt x="264" y="18"/>
                    <a:pt x="265" y="18"/>
                  </a:cubicBezTo>
                  <a:cubicBezTo>
                    <a:pt x="265" y="19"/>
                    <a:pt x="265" y="19"/>
                    <a:pt x="265" y="19"/>
                  </a:cubicBezTo>
                  <a:cubicBezTo>
                    <a:pt x="265" y="19"/>
                    <a:pt x="266" y="19"/>
                    <a:pt x="266" y="19"/>
                  </a:cubicBezTo>
                  <a:cubicBezTo>
                    <a:pt x="266" y="19"/>
                    <a:pt x="266" y="19"/>
                    <a:pt x="266" y="19"/>
                  </a:cubicBezTo>
                  <a:cubicBezTo>
                    <a:pt x="267" y="19"/>
                    <a:pt x="268" y="19"/>
                    <a:pt x="269" y="20"/>
                  </a:cubicBezTo>
                  <a:cubicBezTo>
                    <a:pt x="269" y="20"/>
                    <a:pt x="269" y="20"/>
                    <a:pt x="269" y="20"/>
                  </a:cubicBezTo>
                  <a:cubicBezTo>
                    <a:pt x="270" y="20"/>
                    <a:pt x="271" y="20"/>
                    <a:pt x="271" y="20"/>
                  </a:cubicBezTo>
                  <a:cubicBezTo>
                    <a:pt x="278" y="22"/>
                    <a:pt x="285" y="23"/>
                    <a:pt x="291" y="25"/>
                  </a:cubicBezTo>
                  <a:cubicBezTo>
                    <a:pt x="294" y="25"/>
                    <a:pt x="296" y="25"/>
                    <a:pt x="298" y="26"/>
                  </a:cubicBezTo>
                  <a:cubicBezTo>
                    <a:pt x="298" y="26"/>
                    <a:pt x="298" y="26"/>
                    <a:pt x="298" y="26"/>
                  </a:cubicBezTo>
                  <a:cubicBezTo>
                    <a:pt x="298" y="26"/>
                    <a:pt x="299" y="26"/>
                    <a:pt x="299" y="26"/>
                  </a:cubicBezTo>
                  <a:cubicBezTo>
                    <a:pt x="299" y="26"/>
                    <a:pt x="299" y="26"/>
                    <a:pt x="299" y="27"/>
                  </a:cubicBezTo>
                  <a:cubicBezTo>
                    <a:pt x="301" y="27"/>
                    <a:pt x="302" y="27"/>
                    <a:pt x="303" y="27"/>
                  </a:cubicBezTo>
                  <a:cubicBezTo>
                    <a:pt x="303" y="27"/>
                    <a:pt x="303" y="27"/>
                    <a:pt x="303" y="27"/>
                  </a:cubicBezTo>
                  <a:cubicBezTo>
                    <a:pt x="303" y="27"/>
                    <a:pt x="304" y="27"/>
                    <a:pt x="304" y="27"/>
                  </a:cubicBezTo>
                  <a:cubicBezTo>
                    <a:pt x="304" y="27"/>
                    <a:pt x="304" y="27"/>
                    <a:pt x="304" y="28"/>
                  </a:cubicBezTo>
                  <a:cubicBezTo>
                    <a:pt x="305" y="28"/>
                    <a:pt x="306" y="28"/>
                    <a:pt x="307" y="28"/>
                  </a:cubicBezTo>
                  <a:cubicBezTo>
                    <a:pt x="307" y="28"/>
                    <a:pt x="307" y="28"/>
                    <a:pt x="307" y="28"/>
                  </a:cubicBezTo>
                  <a:cubicBezTo>
                    <a:pt x="308" y="28"/>
                    <a:pt x="308" y="28"/>
                    <a:pt x="309" y="28"/>
                  </a:cubicBezTo>
                  <a:cubicBezTo>
                    <a:pt x="315" y="30"/>
                    <a:pt x="322" y="31"/>
                    <a:pt x="329" y="33"/>
                  </a:cubicBezTo>
                  <a:cubicBezTo>
                    <a:pt x="331" y="34"/>
                    <a:pt x="333" y="34"/>
                    <a:pt x="335" y="34"/>
                  </a:cubicBezTo>
                  <a:cubicBezTo>
                    <a:pt x="335" y="34"/>
                    <a:pt x="335" y="34"/>
                    <a:pt x="335" y="35"/>
                  </a:cubicBezTo>
                  <a:cubicBezTo>
                    <a:pt x="335" y="35"/>
                    <a:pt x="336" y="35"/>
                    <a:pt x="336" y="35"/>
                  </a:cubicBezTo>
                  <a:cubicBezTo>
                    <a:pt x="336" y="35"/>
                    <a:pt x="336" y="35"/>
                    <a:pt x="336" y="35"/>
                  </a:cubicBezTo>
                  <a:cubicBezTo>
                    <a:pt x="337" y="35"/>
                    <a:pt x="337" y="35"/>
                    <a:pt x="338" y="35"/>
                  </a:cubicBezTo>
                  <a:cubicBezTo>
                    <a:pt x="338" y="35"/>
                    <a:pt x="338" y="35"/>
                    <a:pt x="338" y="35"/>
                  </a:cubicBezTo>
                  <a:cubicBezTo>
                    <a:pt x="339" y="35"/>
                    <a:pt x="340" y="36"/>
                    <a:pt x="341" y="36"/>
                  </a:cubicBezTo>
                  <a:cubicBezTo>
                    <a:pt x="341" y="36"/>
                    <a:pt x="341" y="36"/>
                    <a:pt x="341" y="36"/>
                  </a:cubicBezTo>
                  <a:cubicBezTo>
                    <a:pt x="342" y="36"/>
                    <a:pt x="344" y="36"/>
                    <a:pt x="345" y="37"/>
                  </a:cubicBezTo>
                  <a:cubicBezTo>
                    <a:pt x="345" y="37"/>
                    <a:pt x="345" y="37"/>
                    <a:pt x="345" y="37"/>
                  </a:cubicBezTo>
                  <a:cubicBezTo>
                    <a:pt x="346" y="37"/>
                    <a:pt x="346" y="37"/>
                    <a:pt x="347" y="37"/>
                  </a:cubicBezTo>
                  <a:cubicBezTo>
                    <a:pt x="349" y="38"/>
                    <a:pt x="351" y="38"/>
                    <a:pt x="353" y="38"/>
                  </a:cubicBezTo>
                  <a:cubicBezTo>
                    <a:pt x="354" y="38"/>
                    <a:pt x="355" y="37"/>
                    <a:pt x="356" y="37"/>
                  </a:cubicBezTo>
                  <a:cubicBezTo>
                    <a:pt x="356" y="36"/>
                    <a:pt x="356" y="36"/>
                    <a:pt x="356" y="36"/>
                  </a:cubicBezTo>
                  <a:cubicBezTo>
                    <a:pt x="356" y="36"/>
                    <a:pt x="357" y="36"/>
                    <a:pt x="357" y="36"/>
                  </a:cubicBezTo>
                  <a:cubicBezTo>
                    <a:pt x="357" y="36"/>
                    <a:pt x="357" y="36"/>
                    <a:pt x="357" y="35"/>
                  </a:cubicBezTo>
                  <a:cubicBezTo>
                    <a:pt x="357" y="35"/>
                    <a:pt x="358" y="35"/>
                    <a:pt x="358" y="35"/>
                  </a:cubicBezTo>
                  <a:cubicBezTo>
                    <a:pt x="358" y="35"/>
                    <a:pt x="358" y="35"/>
                    <a:pt x="358" y="35"/>
                  </a:cubicBezTo>
                  <a:cubicBezTo>
                    <a:pt x="358" y="35"/>
                    <a:pt x="359" y="35"/>
                    <a:pt x="359" y="35"/>
                  </a:cubicBezTo>
                  <a:cubicBezTo>
                    <a:pt x="359" y="34"/>
                    <a:pt x="359" y="34"/>
                    <a:pt x="359" y="34"/>
                  </a:cubicBezTo>
                  <a:cubicBezTo>
                    <a:pt x="360" y="34"/>
                    <a:pt x="360" y="34"/>
                    <a:pt x="360" y="34"/>
                  </a:cubicBezTo>
                  <a:cubicBezTo>
                    <a:pt x="360" y="34"/>
                    <a:pt x="360" y="33"/>
                    <a:pt x="361" y="33"/>
                  </a:cubicBezTo>
                  <a:cubicBezTo>
                    <a:pt x="361" y="33"/>
                    <a:pt x="361" y="33"/>
                    <a:pt x="361" y="33"/>
                  </a:cubicBezTo>
                  <a:cubicBezTo>
                    <a:pt x="362" y="33"/>
                    <a:pt x="362" y="32"/>
                    <a:pt x="362" y="32"/>
                  </a:cubicBezTo>
                  <a:cubicBezTo>
                    <a:pt x="362" y="32"/>
                    <a:pt x="362" y="32"/>
                    <a:pt x="363" y="32"/>
                  </a:cubicBezTo>
                  <a:cubicBezTo>
                    <a:pt x="363" y="32"/>
                    <a:pt x="363" y="32"/>
                    <a:pt x="363" y="31"/>
                  </a:cubicBezTo>
                  <a:cubicBezTo>
                    <a:pt x="363" y="31"/>
                    <a:pt x="363" y="31"/>
                    <a:pt x="363" y="31"/>
                  </a:cubicBezTo>
                  <a:cubicBezTo>
                    <a:pt x="364" y="31"/>
                    <a:pt x="364" y="31"/>
                    <a:pt x="364" y="31"/>
                  </a:cubicBezTo>
                  <a:cubicBezTo>
                    <a:pt x="364" y="31"/>
                    <a:pt x="364" y="31"/>
                    <a:pt x="365" y="31"/>
                  </a:cubicBezTo>
                  <a:cubicBezTo>
                    <a:pt x="365" y="31"/>
                    <a:pt x="365" y="30"/>
                    <a:pt x="365" y="30"/>
                  </a:cubicBezTo>
                  <a:cubicBezTo>
                    <a:pt x="365" y="30"/>
                    <a:pt x="365" y="30"/>
                    <a:pt x="366" y="30"/>
                  </a:cubicBezTo>
                  <a:cubicBezTo>
                    <a:pt x="366" y="30"/>
                    <a:pt x="366" y="29"/>
                    <a:pt x="366" y="29"/>
                  </a:cubicBezTo>
                  <a:cubicBezTo>
                    <a:pt x="367" y="29"/>
                    <a:pt x="367" y="29"/>
                    <a:pt x="367" y="29"/>
                  </a:cubicBezTo>
                  <a:cubicBezTo>
                    <a:pt x="367" y="29"/>
                    <a:pt x="367" y="29"/>
                    <a:pt x="367" y="28"/>
                  </a:cubicBezTo>
                  <a:cubicBezTo>
                    <a:pt x="368" y="28"/>
                    <a:pt x="368" y="28"/>
                    <a:pt x="368" y="28"/>
                  </a:cubicBezTo>
                  <a:cubicBezTo>
                    <a:pt x="368" y="28"/>
                    <a:pt x="368" y="28"/>
                    <a:pt x="368" y="28"/>
                  </a:cubicBezTo>
                  <a:cubicBezTo>
                    <a:pt x="369" y="28"/>
                    <a:pt x="369" y="28"/>
                    <a:pt x="369" y="28"/>
                  </a:cubicBezTo>
                  <a:cubicBezTo>
                    <a:pt x="369" y="27"/>
                    <a:pt x="369" y="27"/>
                    <a:pt x="369" y="27"/>
                  </a:cubicBezTo>
                  <a:cubicBezTo>
                    <a:pt x="370" y="27"/>
                    <a:pt x="370" y="27"/>
                    <a:pt x="370" y="27"/>
                  </a:cubicBezTo>
                  <a:cubicBezTo>
                    <a:pt x="370" y="27"/>
                    <a:pt x="370" y="26"/>
                    <a:pt x="370" y="26"/>
                  </a:cubicBezTo>
                  <a:cubicBezTo>
                    <a:pt x="371" y="26"/>
                    <a:pt x="371" y="26"/>
                    <a:pt x="371" y="26"/>
                  </a:cubicBezTo>
                  <a:cubicBezTo>
                    <a:pt x="371" y="26"/>
                    <a:pt x="372" y="25"/>
                    <a:pt x="372" y="25"/>
                  </a:cubicBezTo>
                  <a:cubicBezTo>
                    <a:pt x="372" y="25"/>
                    <a:pt x="372" y="25"/>
                    <a:pt x="373" y="25"/>
                  </a:cubicBezTo>
                  <a:cubicBezTo>
                    <a:pt x="373" y="25"/>
                    <a:pt x="373" y="25"/>
                    <a:pt x="373" y="24"/>
                  </a:cubicBezTo>
                  <a:cubicBezTo>
                    <a:pt x="373" y="24"/>
                    <a:pt x="374" y="24"/>
                    <a:pt x="374" y="24"/>
                  </a:cubicBezTo>
                  <a:cubicBezTo>
                    <a:pt x="374" y="24"/>
                    <a:pt x="374" y="24"/>
                    <a:pt x="374" y="24"/>
                  </a:cubicBezTo>
                  <a:cubicBezTo>
                    <a:pt x="374" y="24"/>
                    <a:pt x="374" y="24"/>
                    <a:pt x="375" y="24"/>
                  </a:cubicBezTo>
                  <a:cubicBezTo>
                    <a:pt x="375" y="24"/>
                    <a:pt x="375" y="23"/>
                    <a:pt x="375" y="23"/>
                  </a:cubicBezTo>
                  <a:cubicBezTo>
                    <a:pt x="375" y="23"/>
                    <a:pt x="375" y="23"/>
                    <a:pt x="376" y="23"/>
                  </a:cubicBezTo>
                  <a:cubicBezTo>
                    <a:pt x="376" y="23"/>
                    <a:pt x="376" y="23"/>
                    <a:pt x="376" y="22"/>
                  </a:cubicBezTo>
                  <a:cubicBezTo>
                    <a:pt x="376" y="22"/>
                    <a:pt x="377" y="22"/>
                    <a:pt x="377" y="22"/>
                  </a:cubicBezTo>
                  <a:cubicBezTo>
                    <a:pt x="377" y="22"/>
                    <a:pt x="377" y="22"/>
                    <a:pt x="377" y="21"/>
                  </a:cubicBezTo>
                  <a:cubicBezTo>
                    <a:pt x="378" y="21"/>
                    <a:pt x="378" y="21"/>
                    <a:pt x="378" y="21"/>
                  </a:cubicBezTo>
                  <a:cubicBezTo>
                    <a:pt x="378" y="21"/>
                    <a:pt x="378" y="21"/>
                    <a:pt x="379" y="21"/>
                  </a:cubicBezTo>
                  <a:cubicBezTo>
                    <a:pt x="379" y="20"/>
                    <a:pt x="379" y="20"/>
                    <a:pt x="380" y="20"/>
                  </a:cubicBezTo>
                  <a:cubicBezTo>
                    <a:pt x="380" y="20"/>
                    <a:pt x="380" y="20"/>
                    <a:pt x="380" y="20"/>
                  </a:cubicBezTo>
                  <a:cubicBezTo>
                    <a:pt x="380" y="20"/>
                    <a:pt x="380" y="20"/>
                    <a:pt x="380" y="20"/>
                  </a:cubicBezTo>
                  <a:cubicBezTo>
                    <a:pt x="380" y="20"/>
                    <a:pt x="381" y="19"/>
                    <a:pt x="381" y="19"/>
                  </a:cubicBezTo>
                  <a:cubicBezTo>
                    <a:pt x="381" y="19"/>
                    <a:pt x="381" y="19"/>
                    <a:pt x="381" y="19"/>
                  </a:cubicBezTo>
                  <a:cubicBezTo>
                    <a:pt x="381" y="19"/>
                    <a:pt x="382" y="19"/>
                    <a:pt x="382" y="18"/>
                  </a:cubicBezTo>
                  <a:cubicBezTo>
                    <a:pt x="382" y="18"/>
                    <a:pt x="382" y="18"/>
                    <a:pt x="382" y="18"/>
                  </a:cubicBezTo>
                  <a:cubicBezTo>
                    <a:pt x="382" y="18"/>
                    <a:pt x="383" y="18"/>
                    <a:pt x="383" y="18"/>
                  </a:cubicBezTo>
                  <a:cubicBezTo>
                    <a:pt x="383" y="18"/>
                    <a:pt x="383" y="18"/>
                    <a:pt x="383" y="18"/>
                  </a:cubicBezTo>
                  <a:cubicBezTo>
                    <a:pt x="383" y="18"/>
                    <a:pt x="383" y="18"/>
                    <a:pt x="383" y="17"/>
                  </a:cubicBezTo>
                  <a:cubicBezTo>
                    <a:pt x="384" y="17"/>
                    <a:pt x="384" y="17"/>
                    <a:pt x="384" y="17"/>
                  </a:cubicBezTo>
                  <a:cubicBezTo>
                    <a:pt x="384" y="17"/>
                    <a:pt x="384" y="17"/>
                    <a:pt x="384" y="17"/>
                  </a:cubicBezTo>
                  <a:cubicBezTo>
                    <a:pt x="384" y="17"/>
                    <a:pt x="385" y="17"/>
                    <a:pt x="385" y="17"/>
                  </a:cubicBezTo>
                  <a:cubicBezTo>
                    <a:pt x="385" y="17"/>
                    <a:pt x="385" y="17"/>
                    <a:pt x="385" y="16"/>
                  </a:cubicBezTo>
                  <a:cubicBezTo>
                    <a:pt x="386" y="16"/>
                    <a:pt x="387" y="16"/>
                    <a:pt x="387" y="16"/>
                  </a:cubicBezTo>
                  <a:cubicBezTo>
                    <a:pt x="387" y="15"/>
                    <a:pt x="387" y="15"/>
                    <a:pt x="388" y="15"/>
                  </a:cubicBezTo>
                  <a:cubicBezTo>
                    <a:pt x="388" y="15"/>
                    <a:pt x="388" y="15"/>
                    <a:pt x="388" y="15"/>
                  </a:cubicBezTo>
                  <a:cubicBezTo>
                    <a:pt x="388" y="15"/>
                    <a:pt x="388" y="15"/>
                    <a:pt x="388" y="15"/>
                  </a:cubicBezTo>
                  <a:cubicBezTo>
                    <a:pt x="389" y="15"/>
                    <a:pt x="389" y="15"/>
                    <a:pt x="389" y="15"/>
                  </a:cubicBezTo>
                  <a:cubicBezTo>
                    <a:pt x="389" y="15"/>
                    <a:pt x="389" y="14"/>
                    <a:pt x="389" y="14"/>
                  </a:cubicBezTo>
                  <a:cubicBezTo>
                    <a:pt x="389" y="14"/>
                    <a:pt x="389" y="14"/>
                    <a:pt x="390" y="14"/>
                  </a:cubicBezTo>
                  <a:cubicBezTo>
                    <a:pt x="390" y="14"/>
                    <a:pt x="390" y="14"/>
                    <a:pt x="390" y="14"/>
                  </a:cubicBezTo>
                  <a:cubicBezTo>
                    <a:pt x="390" y="14"/>
                    <a:pt x="390" y="14"/>
                    <a:pt x="390" y="14"/>
                  </a:cubicBezTo>
                  <a:cubicBezTo>
                    <a:pt x="391" y="14"/>
                    <a:pt x="391" y="13"/>
                    <a:pt x="391" y="13"/>
                  </a:cubicBezTo>
                  <a:cubicBezTo>
                    <a:pt x="391" y="13"/>
                    <a:pt x="392" y="13"/>
                    <a:pt x="393" y="13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12"/>
                    <a:pt x="394" y="12"/>
                    <a:pt x="394" y="12"/>
                  </a:cubicBezTo>
                  <a:cubicBezTo>
                    <a:pt x="394" y="12"/>
                    <a:pt x="394" y="12"/>
                    <a:pt x="394" y="12"/>
                  </a:cubicBezTo>
                  <a:cubicBezTo>
                    <a:pt x="394" y="12"/>
                    <a:pt x="394" y="12"/>
                    <a:pt x="395" y="12"/>
                  </a:cubicBezTo>
                  <a:cubicBezTo>
                    <a:pt x="395" y="11"/>
                    <a:pt x="395" y="11"/>
                    <a:pt x="395" y="11"/>
                  </a:cubicBezTo>
                  <a:cubicBezTo>
                    <a:pt x="395" y="11"/>
                    <a:pt x="395" y="11"/>
                    <a:pt x="395" y="11"/>
                  </a:cubicBezTo>
                  <a:cubicBezTo>
                    <a:pt x="395" y="11"/>
                    <a:pt x="395" y="11"/>
                    <a:pt x="395" y="11"/>
                  </a:cubicBezTo>
                  <a:cubicBezTo>
                    <a:pt x="396" y="11"/>
                    <a:pt x="396" y="11"/>
                    <a:pt x="396" y="11"/>
                  </a:cubicBezTo>
                  <a:cubicBezTo>
                    <a:pt x="396" y="11"/>
                    <a:pt x="396" y="10"/>
                    <a:pt x="396" y="10"/>
                  </a:cubicBezTo>
                  <a:cubicBezTo>
                    <a:pt x="397" y="10"/>
                    <a:pt x="398" y="10"/>
                    <a:pt x="398" y="9"/>
                  </a:cubicBezTo>
                  <a:cubicBezTo>
                    <a:pt x="399" y="9"/>
                    <a:pt x="399" y="9"/>
                    <a:pt x="399" y="9"/>
                  </a:cubicBezTo>
                  <a:cubicBezTo>
                    <a:pt x="399" y="9"/>
                    <a:pt x="399" y="9"/>
                    <a:pt x="400" y="9"/>
                  </a:cubicBezTo>
                  <a:cubicBezTo>
                    <a:pt x="400" y="9"/>
                    <a:pt x="400" y="8"/>
                    <a:pt x="400" y="8"/>
                  </a:cubicBezTo>
                  <a:cubicBezTo>
                    <a:pt x="400" y="8"/>
                    <a:pt x="400" y="8"/>
                    <a:pt x="400" y="8"/>
                  </a:cubicBezTo>
                  <a:cubicBezTo>
                    <a:pt x="400" y="8"/>
                    <a:pt x="400" y="8"/>
                    <a:pt x="400" y="8"/>
                  </a:cubicBezTo>
                  <a:cubicBezTo>
                    <a:pt x="400" y="8"/>
                    <a:pt x="401" y="8"/>
                    <a:pt x="401" y="8"/>
                  </a:cubicBezTo>
                  <a:cubicBezTo>
                    <a:pt x="401" y="8"/>
                    <a:pt x="401" y="8"/>
                    <a:pt x="401" y="8"/>
                  </a:cubicBezTo>
                  <a:cubicBezTo>
                    <a:pt x="401" y="8"/>
                    <a:pt x="401" y="8"/>
                    <a:pt x="402" y="8"/>
                  </a:cubicBezTo>
                  <a:cubicBezTo>
                    <a:pt x="402" y="7"/>
                    <a:pt x="402" y="7"/>
                    <a:pt x="402" y="7"/>
                  </a:cubicBezTo>
                  <a:cubicBezTo>
                    <a:pt x="403" y="7"/>
                    <a:pt x="403" y="6"/>
                    <a:pt x="404" y="6"/>
                  </a:cubicBezTo>
                  <a:cubicBezTo>
                    <a:pt x="404" y="6"/>
                    <a:pt x="404" y="6"/>
                    <a:pt x="404" y="6"/>
                  </a:cubicBezTo>
                  <a:cubicBezTo>
                    <a:pt x="405" y="6"/>
                    <a:pt x="405" y="6"/>
                    <a:pt x="405" y="6"/>
                  </a:cubicBezTo>
                  <a:cubicBezTo>
                    <a:pt x="405" y="5"/>
                    <a:pt x="405" y="5"/>
                    <a:pt x="405" y="5"/>
                  </a:cubicBezTo>
                  <a:cubicBezTo>
                    <a:pt x="405" y="5"/>
                    <a:pt x="406" y="5"/>
                    <a:pt x="406" y="5"/>
                  </a:cubicBezTo>
                  <a:cubicBezTo>
                    <a:pt x="406" y="5"/>
                    <a:pt x="406" y="5"/>
                    <a:pt x="406" y="5"/>
                  </a:cubicBezTo>
                  <a:cubicBezTo>
                    <a:pt x="406" y="5"/>
                    <a:pt x="406" y="5"/>
                    <a:pt x="406" y="5"/>
                  </a:cubicBezTo>
                  <a:cubicBezTo>
                    <a:pt x="406" y="5"/>
                    <a:pt x="406" y="5"/>
                    <a:pt x="406" y="5"/>
                  </a:cubicBezTo>
                  <a:cubicBezTo>
                    <a:pt x="407" y="5"/>
                    <a:pt x="407" y="5"/>
                    <a:pt x="407" y="5"/>
                  </a:cubicBezTo>
                  <a:cubicBezTo>
                    <a:pt x="407" y="4"/>
                    <a:pt x="407" y="4"/>
                    <a:pt x="408" y="4"/>
                  </a:cubicBezTo>
                  <a:cubicBezTo>
                    <a:pt x="408" y="4"/>
                    <a:pt x="409" y="3"/>
                    <a:pt x="410" y="3"/>
                  </a:cubicBezTo>
                  <a:cubicBezTo>
                    <a:pt x="410" y="3"/>
                    <a:pt x="410" y="3"/>
                    <a:pt x="410" y="2"/>
                  </a:cubicBezTo>
                  <a:cubicBezTo>
                    <a:pt x="410" y="2"/>
                    <a:pt x="411" y="2"/>
                    <a:pt x="411" y="2"/>
                  </a:cubicBezTo>
                  <a:cubicBezTo>
                    <a:pt x="411" y="2"/>
                    <a:pt x="411" y="2"/>
                    <a:pt x="411" y="2"/>
                  </a:cubicBezTo>
                  <a:cubicBezTo>
                    <a:pt x="419" y="1"/>
                    <a:pt x="426" y="1"/>
                    <a:pt x="433" y="0"/>
                  </a:cubicBezTo>
                  <a:cubicBezTo>
                    <a:pt x="437" y="11"/>
                    <a:pt x="442" y="21"/>
                    <a:pt x="446" y="32"/>
                  </a:cubicBezTo>
                  <a:cubicBezTo>
                    <a:pt x="447" y="32"/>
                    <a:pt x="447" y="32"/>
                    <a:pt x="447" y="32"/>
                  </a:cubicBezTo>
                  <a:cubicBezTo>
                    <a:pt x="448" y="33"/>
                    <a:pt x="448" y="33"/>
                    <a:pt x="448" y="34"/>
                  </a:cubicBezTo>
                  <a:cubicBezTo>
                    <a:pt x="449" y="34"/>
                    <a:pt x="449" y="34"/>
                    <a:pt x="449" y="34"/>
                  </a:cubicBezTo>
                  <a:cubicBezTo>
                    <a:pt x="450" y="34"/>
                    <a:pt x="450" y="35"/>
                    <a:pt x="450" y="35"/>
                  </a:cubicBezTo>
                  <a:cubicBezTo>
                    <a:pt x="450" y="35"/>
                    <a:pt x="451" y="35"/>
                    <a:pt x="451" y="35"/>
                  </a:cubicBezTo>
                  <a:cubicBezTo>
                    <a:pt x="451" y="36"/>
                    <a:pt x="452" y="36"/>
                    <a:pt x="452" y="37"/>
                  </a:cubicBezTo>
                  <a:cubicBezTo>
                    <a:pt x="452" y="37"/>
                    <a:pt x="452" y="37"/>
                    <a:pt x="453" y="37"/>
                  </a:cubicBezTo>
                  <a:cubicBezTo>
                    <a:pt x="453" y="37"/>
                    <a:pt x="453" y="38"/>
                    <a:pt x="454" y="38"/>
                  </a:cubicBezTo>
                  <a:cubicBezTo>
                    <a:pt x="454" y="38"/>
                    <a:pt x="454" y="38"/>
                    <a:pt x="454" y="38"/>
                  </a:cubicBezTo>
                  <a:cubicBezTo>
                    <a:pt x="455" y="39"/>
                    <a:pt x="455" y="39"/>
                    <a:pt x="455" y="39"/>
                  </a:cubicBezTo>
                  <a:cubicBezTo>
                    <a:pt x="456" y="39"/>
                    <a:pt x="456" y="39"/>
                    <a:pt x="456" y="39"/>
                  </a:cubicBezTo>
                  <a:cubicBezTo>
                    <a:pt x="457" y="40"/>
                    <a:pt x="457" y="40"/>
                    <a:pt x="457" y="41"/>
                  </a:cubicBezTo>
                  <a:cubicBezTo>
                    <a:pt x="457" y="41"/>
                    <a:pt x="458" y="41"/>
                    <a:pt x="458" y="41"/>
                  </a:cubicBezTo>
                  <a:cubicBezTo>
                    <a:pt x="458" y="41"/>
                    <a:pt x="459" y="42"/>
                    <a:pt x="459" y="42"/>
                  </a:cubicBezTo>
                  <a:cubicBezTo>
                    <a:pt x="459" y="42"/>
                    <a:pt x="459" y="42"/>
                    <a:pt x="460" y="42"/>
                  </a:cubicBezTo>
                  <a:cubicBezTo>
                    <a:pt x="460" y="43"/>
                    <a:pt x="460" y="43"/>
                    <a:pt x="460" y="43"/>
                  </a:cubicBezTo>
                  <a:cubicBezTo>
                    <a:pt x="460" y="43"/>
                    <a:pt x="460" y="43"/>
                    <a:pt x="460" y="43"/>
                  </a:cubicBezTo>
                  <a:cubicBezTo>
                    <a:pt x="460" y="43"/>
                    <a:pt x="461" y="43"/>
                    <a:pt x="461" y="44"/>
                  </a:cubicBezTo>
                  <a:cubicBezTo>
                    <a:pt x="461" y="44"/>
                    <a:pt x="461" y="44"/>
                    <a:pt x="461" y="44"/>
                  </a:cubicBezTo>
                  <a:cubicBezTo>
                    <a:pt x="462" y="44"/>
                    <a:pt x="462" y="45"/>
                    <a:pt x="462" y="45"/>
                  </a:cubicBezTo>
                  <a:cubicBezTo>
                    <a:pt x="463" y="45"/>
                    <a:pt x="463" y="45"/>
                    <a:pt x="463" y="45"/>
                  </a:cubicBezTo>
                  <a:cubicBezTo>
                    <a:pt x="464" y="46"/>
                    <a:pt x="464" y="46"/>
                    <a:pt x="464" y="46"/>
                  </a:cubicBezTo>
                  <a:cubicBezTo>
                    <a:pt x="464" y="46"/>
                    <a:pt x="465" y="46"/>
                    <a:pt x="465" y="46"/>
                  </a:cubicBezTo>
                  <a:cubicBezTo>
                    <a:pt x="465" y="47"/>
                    <a:pt x="466" y="47"/>
                    <a:pt x="466" y="48"/>
                  </a:cubicBezTo>
                  <a:cubicBezTo>
                    <a:pt x="466" y="48"/>
                    <a:pt x="466" y="48"/>
                    <a:pt x="467" y="48"/>
                  </a:cubicBezTo>
                  <a:cubicBezTo>
                    <a:pt x="467" y="48"/>
                    <a:pt x="467" y="49"/>
                    <a:pt x="468" y="49"/>
                  </a:cubicBezTo>
                  <a:cubicBezTo>
                    <a:pt x="468" y="49"/>
                    <a:pt x="468" y="49"/>
                    <a:pt x="468" y="49"/>
                  </a:cubicBezTo>
                  <a:cubicBezTo>
                    <a:pt x="469" y="50"/>
                    <a:pt x="469" y="50"/>
                    <a:pt x="469" y="51"/>
                  </a:cubicBezTo>
                  <a:cubicBezTo>
                    <a:pt x="470" y="51"/>
                    <a:pt x="470" y="51"/>
                    <a:pt x="470" y="51"/>
                  </a:cubicBezTo>
                  <a:cubicBezTo>
                    <a:pt x="471" y="51"/>
                    <a:pt x="471" y="52"/>
                    <a:pt x="471" y="52"/>
                  </a:cubicBezTo>
                  <a:cubicBezTo>
                    <a:pt x="471" y="52"/>
                    <a:pt x="472" y="52"/>
                    <a:pt x="472" y="52"/>
                  </a:cubicBezTo>
                  <a:cubicBezTo>
                    <a:pt x="472" y="53"/>
                    <a:pt x="473" y="53"/>
                    <a:pt x="473" y="53"/>
                  </a:cubicBezTo>
                  <a:cubicBezTo>
                    <a:pt x="473" y="54"/>
                    <a:pt x="474" y="54"/>
                    <a:pt x="474" y="54"/>
                  </a:cubicBezTo>
                  <a:cubicBezTo>
                    <a:pt x="474" y="54"/>
                    <a:pt x="474" y="54"/>
                    <a:pt x="474" y="55"/>
                  </a:cubicBezTo>
                  <a:cubicBezTo>
                    <a:pt x="475" y="55"/>
                    <a:pt x="475" y="55"/>
                    <a:pt x="476" y="55"/>
                  </a:cubicBezTo>
                  <a:cubicBezTo>
                    <a:pt x="476" y="55"/>
                    <a:pt x="476" y="55"/>
                    <a:pt x="476" y="56"/>
                  </a:cubicBezTo>
                  <a:cubicBezTo>
                    <a:pt x="476" y="56"/>
                    <a:pt x="477" y="56"/>
                    <a:pt x="477" y="56"/>
                  </a:cubicBezTo>
                  <a:cubicBezTo>
                    <a:pt x="477" y="56"/>
                    <a:pt x="477" y="56"/>
                    <a:pt x="477" y="56"/>
                  </a:cubicBezTo>
                  <a:cubicBezTo>
                    <a:pt x="477" y="56"/>
                    <a:pt x="478" y="56"/>
                    <a:pt x="478" y="56"/>
                  </a:cubicBezTo>
                  <a:cubicBezTo>
                    <a:pt x="478" y="56"/>
                    <a:pt x="478" y="57"/>
                    <a:pt x="478" y="57"/>
                  </a:cubicBezTo>
                  <a:cubicBezTo>
                    <a:pt x="478" y="57"/>
                    <a:pt x="478" y="57"/>
                    <a:pt x="479" y="57"/>
                  </a:cubicBezTo>
                  <a:cubicBezTo>
                    <a:pt x="479" y="57"/>
                    <a:pt x="479" y="57"/>
                    <a:pt x="479" y="57"/>
                  </a:cubicBezTo>
                  <a:cubicBezTo>
                    <a:pt x="479" y="57"/>
                    <a:pt x="480" y="58"/>
                    <a:pt x="480" y="58"/>
                  </a:cubicBezTo>
                  <a:cubicBezTo>
                    <a:pt x="480" y="58"/>
                    <a:pt x="480" y="58"/>
                    <a:pt x="480" y="58"/>
                  </a:cubicBezTo>
                  <a:cubicBezTo>
                    <a:pt x="481" y="58"/>
                    <a:pt x="481" y="58"/>
                    <a:pt x="481" y="58"/>
                  </a:cubicBezTo>
                  <a:cubicBezTo>
                    <a:pt x="481" y="59"/>
                    <a:pt x="482" y="59"/>
                    <a:pt x="482" y="59"/>
                  </a:cubicBezTo>
                  <a:cubicBezTo>
                    <a:pt x="482" y="59"/>
                    <a:pt x="482" y="59"/>
                    <a:pt x="482" y="59"/>
                  </a:cubicBezTo>
                  <a:cubicBezTo>
                    <a:pt x="482" y="59"/>
                    <a:pt x="482" y="59"/>
                    <a:pt x="482" y="59"/>
                  </a:cubicBezTo>
                  <a:cubicBezTo>
                    <a:pt x="483" y="59"/>
                    <a:pt x="483" y="59"/>
                    <a:pt x="483" y="59"/>
                  </a:cubicBezTo>
                  <a:cubicBezTo>
                    <a:pt x="483" y="60"/>
                    <a:pt x="483" y="60"/>
                    <a:pt x="483" y="60"/>
                  </a:cubicBezTo>
                  <a:cubicBezTo>
                    <a:pt x="484" y="60"/>
                    <a:pt x="484" y="60"/>
                    <a:pt x="485" y="60"/>
                  </a:cubicBezTo>
                  <a:cubicBezTo>
                    <a:pt x="485" y="61"/>
                    <a:pt x="485" y="61"/>
                    <a:pt x="485" y="61"/>
                  </a:cubicBezTo>
                  <a:cubicBezTo>
                    <a:pt x="485" y="61"/>
                    <a:pt x="486" y="61"/>
                    <a:pt x="486" y="61"/>
                  </a:cubicBezTo>
                  <a:cubicBezTo>
                    <a:pt x="486" y="61"/>
                    <a:pt x="486" y="62"/>
                    <a:pt x="486" y="62"/>
                  </a:cubicBezTo>
                  <a:cubicBezTo>
                    <a:pt x="486" y="62"/>
                    <a:pt x="487" y="62"/>
                    <a:pt x="487" y="62"/>
                  </a:cubicBezTo>
                  <a:cubicBezTo>
                    <a:pt x="487" y="62"/>
                    <a:pt x="487" y="62"/>
                    <a:pt x="487" y="62"/>
                  </a:cubicBezTo>
                  <a:cubicBezTo>
                    <a:pt x="487" y="62"/>
                    <a:pt x="487" y="62"/>
                    <a:pt x="488" y="62"/>
                  </a:cubicBezTo>
                  <a:cubicBezTo>
                    <a:pt x="488" y="62"/>
                    <a:pt x="488" y="63"/>
                    <a:pt x="488" y="63"/>
                  </a:cubicBezTo>
                  <a:cubicBezTo>
                    <a:pt x="488" y="63"/>
                    <a:pt x="489" y="63"/>
                    <a:pt x="489" y="63"/>
                  </a:cubicBezTo>
                  <a:cubicBezTo>
                    <a:pt x="489" y="63"/>
                    <a:pt x="489" y="63"/>
                    <a:pt x="489" y="64"/>
                  </a:cubicBezTo>
                  <a:cubicBezTo>
                    <a:pt x="490" y="64"/>
                    <a:pt x="490" y="64"/>
                    <a:pt x="490" y="64"/>
                  </a:cubicBezTo>
                  <a:cubicBezTo>
                    <a:pt x="491" y="64"/>
                    <a:pt x="491" y="64"/>
                    <a:pt x="491" y="65"/>
                  </a:cubicBezTo>
                  <a:cubicBezTo>
                    <a:pt x="491" y="65"/>
                    <a:pt x="491" y="65"/>
                    <a:pt x="491" y="65"/>
                  </a:cubicBezTo>
                  <a:cubicBezTo>
                    <a:pt x="491" y="65"/>
                    <a:pt x="491" y="65"/>
                    <a:pt x="491" y="65"/>
                  </a:cubicBezTo>
                  <a:cubicBezTo>
                    <a:pt x="492" y="65"/>
                    <a:pt x="492" y="65"/>
                    <a:pt x="492" y="65"/>
                  </a:cubicBezTo>
                  <a:cubicBezTo>
                    <a:pt x="492" y="65"/>
                    <a:pt x="492" y="65"/>
                    <a:pt x="493" y="66"/>
                  </a:cubicBezTo>
                  <a:cubicBezTo>
                    <a:pt x="493" y="66"/>
                    <a:pt x="493" y="66"/>
                    <a:pt x="494" y="66"/>
                  </a:cubicBezTo>
                  <a:cubicBezTo>
                    <a:pt x="494" y="66"/>
                    <a:pt x="494" y="67"/>
                    <a:pt x="494" y="67"/>
                  </a:cubicBezTo>
                  <a:cubicBezTo>
                    <a:pt x="495" y="67"/>
                    <a:pt x="495" y="67"/>
                    <a:pt x="495" y="67"/>
                  </a:cubicBezTo>
                  <a:cubicBezTo>
                    <a:pt x="495" y="67"/>
                    <a:pt x="495" y="67"/>
                    <a:pt x="495" y="67"/>
                  </a:cubicBezTo>
                  <a:cubicBezTo>
                    <a:pt x="496" y="68"/>
                    <a:pt x="496" y="68"/>
                    <a:pt x="497" y="68"/>
                  </a:cubicBezTo>
                  <a:cubicBezTo>
                    <a:pt x="497" y="68"/>
                    <a:pt x="497" y="68"/>
                    <a:pt x="497" y="69"/>
                  </a:cubicBezTo>
                  <a:cubicBezTo>
                    <a:pt x="498" y="69"/>
                    <a:pt x="498" y="69"/>
                    <a:pt x="498" y="69"/>
                  </a:cubicBezTo>
                  <a:cubicBezTo>
                    <a:pt x="498" y="69"/>
                    <a:pt x="498" y="69"/>
                    <a:pt x="498" y="69"/>
                  </a:cubicBezTo>
                  <a:cubicBezTo>
                    <a:pt x="499" y="69"/>
                    <a:pt x="499" y="69"/>
                    <a:pt x="500" y="70"/>
                  </a:cubicBezTo>
                  <a:cubicBezTo>
                    <a:pt x="500" y="70"/>
                    <a:pt x="500" y="70"/>
                    <a:pt x="500" y="70"/>
                  </a:cubicBezTo>
                  <a:cubicBezTo>
                    <a:pt x="500" y="70"/>
                    <a:pt x="501" y="70"/>
                    <a:pt x="501" y="71"/>
                  </a:cubicBezTo>
                  <a:cubicBezTo>
                    <a:pt x="501" y="71"/>
                    <a:pt x="502" y="71"/>
                    <a:pt x="502" y="71"/>
                  </a:cubicBezTo>
                  <a:cubicBezTo>
                    <a:pt x="502" y="71"/>
                    <a:pt x="503" y="72"/>
                    <a:pt x="503" y="72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2"/>
                    <a:pt x="504" y="72"/>
                    <a:pt x="504" y="72"/>
                  </a:cubicBezTo>
                  <a:cubicBezTo>
                    <a:pt x="504" y="73"/>
                    <a:pt x="504" y="73"/>
                    <a:pt x="504" y="73"/>
                  </a:cubicBezTo>
                  <a:cubicBezTo>
                    <a:pt x="505" y="73"/>
                    <a:pt x="505" y="73"/>
                    <a:pt x="506" y="73"/>
                  </a:cubicBezTo>
                  <a:cubicBezTo>
                    <a:pt x="506" y="74"/>
                    <a:pt x="506" y="74"/>
                    <a:pt x="506" y="74"/>
                  </a:cubicBezTo>
                  <a:cubicBezTo>
                    <a:pt x="507" y="74"/>
                    <a:pt x="507" y="74"/>
                    <a:pt x="508" y="74"/>
                  </a:cubicBezTo>
                  <a:cubicBezTo>
                    <a:pt x="508" y="75"/>
                    <a:pt x="508" y="75"/>
                    <a:pt x="508" y="75"/>
                  </a:cubicBezTo>
                  <a:cubicBezTo>
                    <a:pt x="508" y="75"/>
                    <a:pt x="508" y="75"/>
                    <a:pt x="509" y="75"/>
                  </a:cubicBezTo>
                  <a:cubicBezTo>
                    <a:pt x="509" y="75"/>
                    <a:pt x="509" y="76"/>
                    <a:pt x="509" y="76"/>
                  </a:cubicBezTo>
                  <a:cubicBezTo>
                    <a:pt x="509" y="76"/>
                    <a:pt x="509" y="76"/>
                    <a:pt x="510" y="76"/>
                  </a:cubicBezTo>
                  <a:cubicBezTo>
                    <a:pt x="510" y="76"/>
                    <a:pt x="510" y="76"/>
                    <a:pt x="510" y="77"/>
                  </a:cubicBezTo>
                  <a:cubicBezTo>
                    <a:pt x="511" y="77"/>
                    <a:pt x="511" y="78"/>
                    <a:pt x="512" y="78"/>
                  </a:cubicBezTo>
                  <a:cubicBezTo>
                    <a:pt x="512" y="79"/>
                    <a:pt x="512" y="79"/>
                    <a:pt x="512" y="79"/>
                  </a:cubicBezTo>
                  <a:cubicBezTo>
                    <a:pt x="513" y="80"/>
                    <a:pt x="514" y="80"/>
                    <a:pt x="515" y="81"/>
                  </a:cubicBezTo>
                  <a:cubicBezTo>
                    <a:pt x="515" y="81"/>
                    <a:pt x="515" y="82"/>
                    <a:pt x="515" y="82"/>
                  </a:cubicBezTo>
                  <a:cubicBezTo>
                    <a:pt x="515" y="82"/>
                    <a:pt x="516" y="83"/>
                    <a:pt x="517" y="84"/>
                  </a:cubicBezTo>
                  <a:cubicBezTo>
                    <a:pt x="517" y="84"/>
                    <a:pt x="517" y="84"/>
                    <a:pt x="517" y="85"/>
                  </a:cubicBezTo>
                  <a:cubicBezTo>
                    <a:pt x="518" y="85"/>
                    <a:pt x="519" y="86"/>
                    <a:pt x="519" y="87"/>
                  </a:cubicBezTo>
                  <a:cubicBezTo>
                    <a:pt x="519" y="87"/>
                    <a:pt x="519" y="87"/>
                    <a:pt x="519" y="87"/>
                  </a:cubicBezTo>
                  <a:cubicBezTo>
                    <a:pt x="520" y="88"/>
                    <a:pt x="521" y="89"/>
                    <a:pt x="522" y="89"/>
                  </a:cubicBezTo>
                  <a:cubicBezTo>
                    <a:pt x="522" y="90"/>
                    <a:pt x="522" y="90"/>
                    <a:pt x="522" y="90"/>
                  </a:cubicBezTo>
                  <a:cubicBezTo>
                    <a:pt x="523" y="91"/>
                    <a:pt x="524" y="92"/>
                    <a:pt x="524" y="92"/>
                  </a:cubicBezTo>
                  <a:cubicBezTo>
                    <a:pt x="524" y="93"/>
                    <a:pt x="524" y="93"/>
                    <a:pt x="524" y="93"/>
                  </a:cubicBezTo>
                  <a:cubicBezTo>
                    <a:pt x="525" y="94"/>
                    <a:pt x="526" y="94"/>
                    <a:pt x="527" y="95"/>
                  </a:cubicBezTo>
                  <a:cubicBezTo>
                    <a:pt x="527" y="95"/>
                    <a:pt x="527" y="96"/>
                    <a:pt x="527" y="96"/>
                  </a:cubicBezTo>
                  <a:cubicBezTo>
                    <a:pt x="528" y="96"/>
                    <a:pt x="528" y="97"/>
                    <a:pt x="529" y="98"/>
                  </a:cubicBezTo>
                  <a:cubicBezTo>
                    <a:pt x="529" y="98"/>
                    <a:pt x="529" y="98"/>
                    <a:pt x="529" y="99"/>
                  </a:cubicBezTo>
                  <a:cubicBezTo>
                    <a:pt x="530" y="99"/>
                    <a:pt x="531" y="100"/>
                    <a:pt x="532" y="101"/>
                  </a:cubicBezTo>
                  <a:cubicBezTo>
                    <a:pt x="532" y="101"/>
                    <a:pt x="532" y="101"/>
                    <a:pt x="532" y="101"/>
                  </a:cubicBezTo>
                  <a:cubicBezTo>
                    <a:pt x="533" y="102"/>
                    <a:pt x="533" y="103"/>
                    <a:pt x="534" y="103"/>
                  </a:cubicBezTo>
                  <a:cubicBezTo>
                    <a:pt x="534" y="104"/>
                    <a:pt x="534" y="104"/>
                    <a:pt x="534" y="104"/>
                  </a:cubicBezTo>
                  <a:cubicBezTo>
                    <a:pt x="535" y="105"/>
                    <a:pt x="535" y="105"/>
                    <a:pt x="536" y="105"/>
                  </a:cubicBezTo>
                  <a:cubicBezTo>
                    <a:pt x="536" y="105"/>
                    <a:pt x="536" y="105"/>
                    <a:pt x="536" y="106"/>
                  </a:cubicBezTo>
                  <a:cubicBezTo>
                    <a:pt x="535" y="106"/>
                    <a:pt x="535" y="106"/>
                    <a:pt x="535" y="106"/>
                  </a:cubicBezTo>
                  <a:cubicBezTo>
                    <a:pt x="534" y="107"/>
                    <a:pt x="534" y="107"/>
                    <a:pt x="533" y="108"/>
                  </a:cubicBezTo>
                  <a:cubicBezTo>
                    <a:pt x="532" y="108"/>
                    <a:pt x="532" y="109"/>
                    <a:pt x="531" y="110"/>
                  </a:cubicBezTo>
                  <a:cubicBezTo>
                    <a:pt x="531" y="110"/>
                    <a:pt x="531" y="110"/>
                    <a:pt x="530" y="110"/>
                  </a:cubicBezTo>
                  <a:cubicBezTo>
                    <a:pt x="530" y="110"/>
                    <a:pt x="530" y="110"/>
                    <a:pt x="530" y="110"/>
                  </a:cubicBezTo>
                  <a:cubicBezTo>
                    <a:pt x="530" y="110"/>
                    <a:pt x="530" y="110"/>
                    <a:pt x="530" y="110"/>
                  </a:cubicBezTo>
                  <a:cubicBezTo>
                    <a:pt x="529" y="111"/>
                    <a:pt x="529" y="111"/>
                    <a:pt x="529" y="112"/>
                  </a:cubicBezTo>
                  <a:cubicBezTo>
                    <a:pt x="528" y="112"/>
                    <a:pt x="528" y="112"/>
                    <a:pt x="528" y="112"/>
                  </a:cubicBezTo>
                  <a:cubicBezTo>
                    <a:pt x="527" y="113"/>
                    <a:pt x="527" y="113"/>
                    <a:pt x="526" y="114"/>
                  </a:cubicBezTo>
                  <a:cubicBezTo>
                    <a:pt x="526" y="114"/>
                    <a:pt x="526" y="114"/>
                    <a:pt x="525" y="114"/>
                  </a:cubicBezTo>
                  <a:cubicBezTo>
                    <a:pt x="525" y="115"/>
                    <a:pt x="524" y="116"/>
                    <a:pt x="523" y="116"/>
                  </a:cubicBezTo>
                  <a:cubicBezTo>
                    <a:pt x="523" y="116"/>
                    <a:pt x="523" y="116"/>
                    <a:pt x="523" y="116"/>
                  </a:cubicBezTo>
                  <a:cubicBezTo>
                    <a:pt x="522" y="117"/>
                    <a:pt x="521" y="118"/>
                    <a:pt x="521" y="119"/>
                  </a:cubicBezTo>
                  <a:cubicBezTo>
                    <a:pt x="521" y="119"/>
                    <a:pt x="520" y="119"/>
                    <a:pt x="520" y="119"/>
                  </a:cubicBezTo>
                  <a:cubicBezTo>
                    <a:pt x="520" y="119"/>
                    <a:pt x="519" y="120"/>
                    <a:pt x="518" y="121"/>
                  </a:cubicBezTo>
                  <a:cubicBezTo>
                    <a:pt x="518" y="121"/>
                    <a:pt x="518" y="121"/>
                    <a:pt x="518" y="121"/>
                  </a:cubicBezTo>
                  <a:cubicBezTo>
                    <a:pt x="517" y="121"/>
                    <a:pt x="517" y="122"/>
                    <a:pt x="516" y="123"/>
                  </a:cubicBezTo>
                  <a:cubicBezTo>
                    <a:pt x="516" y="123"/>
                    <a:pt x="516" y="123"/>
                    <a:pt x="515" y="123"/>
                  </a:cubicBezTo>
                  <a:cubicBezTo>
                    <a:pt x="515" y="123"/>
                    <a:pt x="515" y="123"/>
                    <a:pt x="515" y="123"/>
                  </a:cubicBezTo>
                  <a:cubicBezTo>
                    <a:pt x="515" y="123"/>
                    <a:pt x="514" y="124"/>
                    <a:pt x="513" y="124"/>
                  </a:cubicBezTo>
                  <a:cubicBezTo>
                    <a:pt x="513" y="124"/>
                    <a:pt x="513" y="124"/>
                    <a:pt x="513" y="124"/>
                  </a:cubicBezTo>
                  <a:cubicBezTo>
                    <a:pt x="513" y="124"/>
                    <a:pt x="512" y="124"/>
                    <a:pt x="512" y="124"/>
                  </a:cubicBezTo>
                  <a:cubicBezTo>
                    <a:pt x="512" y="124"/>
                    <a:pt x="512" y="124"/>
                    <a:pt x="512" y="124"/>
                  </a:cubicBezTo>
                  <a:cubicBezTo>
                    <a:pt x="512" y="124"/>
                    <a:pt x="512" y="124"/>
                    <a:pt x="511" y="124"/>
                  </a:cubicBezTo>
                  <a:cubicBezTo>
                    <a:pt x="511" y="125"/>
                    <a:pt x="511" y="125"/>
                    <a:pt x="511" y="125"/>
                  </a:cubicBezTo>
                  <a:cubicBezTo>
                    <a:pt x="511" y="125"/>
                    <a:pt x="511" y="125"/>
                    <a:pt x="511" y="125"/>
                  </a:cubicBezTo>
                  <a:cubicBezTo>
                    <a:pt x="511" y="125"/>
                    <a:pt x="511" y="125"/>
                    <a:pt x="511" y="125"/>
                  </a:cubicBezTo>
                  <a:cubicBezTo>
                    <a:pt x="510" y="125"/>
                    <a:pt x="510" y="125"/>
                    <a:pt x="510" y="125"/>
                  </a:cubicBezTo>
                  <a:cubicBezTo>
                    <a:pt x="510" y="125"/>
                    <a:pt x="510" y="125"/>
                    <a:pt x="510" y="126"/>
                  </a:cubicBezTo>
                  <a:cubicBezTo>
                    <a:pt x="510" y="126"/>
                    <a:pt x="509" y="126"/>
                    <a:pt x="509" y="126"/>
                  </a:cubicBezTo>
                  <a:cubicBezTo>
                    <a:pt x="509" y="126"/>
                    <a:pt x="509" y="126"/>
                    <a:pt x="509" y="126"/>
                  </a:cubicBezTo>
                  <a:cubicBezTo>
                    <a:pt x="509" y="126"/>
                    <a:pt x="509" y="126"/>
                    <a:pt x="508" y="126"/>
                  </a:cubicBezTo>
                  <a:cubicBezTo>
                    <a:pt x="508" y="126"/>
                    <a:pt x="508" y="126"/>
                    <a:pt x="508" y="126"/>
                  </a:cubicBezTo>
                  <a:cubicBezTo>
                    <a:pt x="508" y="126"/>
                    <a:pt x="507" y="127"/>
                    <a:pt x="506" y="127"/>
                  </a:cubicBezTo>
                  <a:cubicBezTo>
                    <a:pt x="506" y="127"/>
                    <a:pt x="506" y="127"/>
                    <a:pt x="506" y="127"/>
                  </a:cubicBezTo>
                  <a:cubicBezTo>
                    <a:pt x="506" y="127"/>
                    <a:pt x="505" y="127"/>
                    <a:pt x="505" y="127"/>
                  </a:cubicBezTo>
                  <a:cubicBezTo>
                    <a:pt x="505" y="127"/>
                    <a:pt x="505" y="127"/>
                    <a:pt x="505" y="128"/>
                  </a:cubicBezTo>
                  <a:cubicBezTo>
                    <a:pt x="505" y="128"/>
                    <a:pt x="505" y="128"/>
                    <a:pt x="504" y="128"/>
                  </a:cubicBezTo>
                  <a:cubicBezTo>
                    <a:pt x="504" y="128"/>
                    <a:pt x="504" y="128"/>
                    <a:pt x="504" y="128"/>
                  </a:cubicBezTo>
                  <a:cubicBezTo>
                    <a:pt x="504" y="128"/>
                    <a:pt x="504" y="128"/>
                    <a:pt x="504" y="128"/>
                  </a:cubicBezTo>
                  <a:cubicBezTo>
                    <a:pt x="504" y="128"/>
                    <a:pt x="504" y="128"/>
                    <a:pt x="504" y="128"/>
                  </a:cubicBezTo>
                  <a:cubicBezTo>
                    <a:pt x="503" y="128"/>
                    <a:pt x="503" y="128"/>
                    <a:pt x="503" y="128"/>
                  </a:cubicBezTo>
                  <a:cubicBezTo>
                    <a:pt x="503" y="128"/>
                    <a:pt x="503" y="129"/>
                    <a:pt x="503" y="129"/>
                  </a:cubicBezTo>
                  <a:cubicBezTo>
                    <a:pt x="503" y="129"/>
                    <a:pt x="502" y="129"/>
                    <a:pt x="502" y="129"/>
                  </a:cubicBezTo>
                  <a:cubicBezTo>
                    <a:pt x="502" y="129"/>
                    <a:pt x="502" y="129"/>
                    <a:pt x="502" y="129"/>
                  </a:cubicBezTo>
                  <a:cubicBezTo>
                    <a:pt x="502" y="129"/>
                    <a:pt x="502" y="129"/>
                    <a:pt x="501" y="129"/>
                  </a:cubicBezTo>
                  <a:cubicBezTo>
                    <a:pt x="501" y="129"/>
                    <a:pt x="501" y="129"/>
                    <a:pt x="501" y="129"/>
                  </a:cubicBezTo>
                  <a:cubicBezTo>
                    <a:pt x="501" y="130"/>
                    <a:pt x="500" y="130"/>
                    <a:pt x="499" y="130"/>
                  </a:cubicBezTo>
                  <a:cubicBezTo>
                    <a:pt x="499" y="130"/>
                    <a:pt x="499" y="130"/>
                    <a:pt x="499" y="130"/>
                  </a:cubicBezTo>
                  <a:cubicBezTo>
                    <a:pt x="499" y="130"/>
                    <a:pt x="498" y="130"/>
                    <a:pt x="498" y="130"/>
                  </a:cubicBezTo>
                  <a:cubicBezTo>
                    <a:pt x="498" y="131"/>
                    <a:pt x="498" y="131"/>
                    <a:pt x="498" y="131"/>
                  </a:cubicBezTo>
                  <a:cubicBezTo>
                    <a:pt x="498" y="131"/>
                    <a:pt x="498" y="131"/>
                    <a:pt x="497" y="131"/>
                  </a:cubicBezTo>
                  <a:cubicBezTo>
                    <a:pt x="497" y="131"/>
                    <a:pt x="497" y="131"/>
                    <a:pt x="497" y="131"/>
                  </a:cubicBezTo>
                  <a:cubicBezTo>
                    <a:pt x="497" y="131"/>
                    <a:pt x="496" y="131"/>
                    <a:pt x="496" y="131"/>
                  </a:cubicBezTo>
                  <a:cubicBezTo>
                    <a:pt x="496" y="132"/>
                    <a:pt x="496" y="132"/>
                    <a:pt x="496" y="132"/>
                  </a:cubicBezTo>
                  <a:cubicBezTo>
                    <a:pt x="496" y="132"/>
                    <a:pt x="495" y="132"/>
                    <a:pt x="495" y="132"/>
                  </a:cubicBezTo>
                  <a:cubicBezTo>
                    <a:pt x="495" y="132"/>
                    <a:pt x="495" y="132"/>
                    <a:pt x="495" y="132"/>
                  </a:cubicBezTo>
                  <a:cubicBezTo>
                    <a:pt x="495" y="132"/>
                    <a:pt x="495" y="132"/>
                    <a:pt x="494" y="132"/>
                  </a:cubicBezTo>
                  <a:cubicBezTo>
                    <a:pt x="494" y="132"/>
                    <a:pt x="494" y="132"/>
                    <a:pt x="494" y="133"/>
                  </a:cubicBezTo>
                  <a:cubicBezTo>
                    <a:pt x="494" y="133"/>
                    <a:pt x="493" y="133"/>
                    <a:pt x="492" y="133"/>
                  </a:cubicBezTo>
                  <a:cubicBezTo>
                    <a:pt x="492" y="133"/>
                    <a:pt x="492" y="133"/>
                    <a:pt x="492" y="134"/>
                  </a:cubicBezTo>
                  <a:cubicBezTo>
                    <a:pt x="492" y="134"/>
                    <a:pt x="491" y="134"/>
                    <a:pt x="491" y="134"/>
                  </a:cubicBezTo>
                  <a:cubicBezTo>
                    <a:pt x="491" y="134"/>
                    <a:pt x="491" y="134"/>
                    <a:pt x="491" y="134"/>
                  </a:cubicBezTo>
                  <a:cubicBezTo>
                    <a:pt x="491" y="134"/>
                    <a:pt x="491" y="134"/>
                    <a:pt x="490" y="134"/>
                  </a:cubicBezTo>
                  <a:cubicBezTo>
                    <a:pt x="490" y="134"/>
                    <a:pt x="490" y="134"/>
                    <a:pt x="490" y="134"/>
                  </a:cubicBezTo>
                  <a:cubicBezTo>
                    <a:pt x="490" y="134"/>
                    <a:pt x="490" y="134"/>
                    <a:pt x="489" y="135"/>
                  </a:cubicBezTo>
                  <a:cubicBezTo>
                    <a:pt x="489" y="135"/>
                    <a:pt x="489" y="135"/>
                    <a:pt x="489" y="135"/>
                  </a:cubicBezTo>
                  <a:cubicBezTo>
                    <a:pt x="489" y="135"/>
                    <a:pt x="488" y="135"/>
                    <a:pt x="488" y="135"/>
                  </a:cubicBezTo>
                  <a:cubicBezTo>
                    <a:pt x="488" y="135"/>
                    <a:pt x="488" y="135"/>
                    <a:pt x="488" y="135"/>
                  </a:cubicBezTo>
                  <a:cubicBezTo>
                    <a:pt x="488" y="135"/>
                    <a:pt x="488" y="135"/>
                    <a:pt x="487" y="135"/>
                  </a:cubicBezTo>
                  <a:cubicBezTo>
                    <a:pt x="487" y="135"/>
                    <a:pt x="487" y="136"/>
                    <a:pt x="487" y="136"/>
                  </a:cubicBezTo>
                  <a:cubicBezTo>
                    <a:pt x="487" y="136"/>
                    <a:pt x="486" y="136"/>
                    <a:pt x="485" y="136"/>
                  </a:cubicBezTo>
                  <a:cubicBezTo>
                    <a:pt x="485" y="136"/>
                    <a:pt x="485" y="137"/>
                    <a:pt x="485" y="137"/>
                  </a:cubicBezTo>
                  <a:cubicBezTo>
                    <a:pt x="485" y="137"/>
                    <a:pt x="484" y="137"/>
                    <a:pt x="484" y="137"/>
                  </a:cubicBezTo>
                  <a:cubicBezTo>
                    <a:pt x="484" y="137"/>
                    <a:pt x="484" y="137"/>
                    <a:pt x="484" y="137"/>
                  </a:cubicBezTo>
                  <a:cubicBezTo>
                    <a:pt x="484" y="137"/>
                    <a:pt x="484" y="137"/>
                    <a:pt x="483" y="137"/>
                  </a:cubicBezTo>
                  <a:cubicBezTo>
                    <a:pt x="483" y="137"/>
                    <a:pt x="483" y="137"/>
                    <a:pt x="483" y="137"/>
                  </a:cubicBezTo>
                  <a:cubicBezTo>
                    <a:pt x="483" y="138"/>
                    <a:pt x="483" y="138"/>
                    <a:pt x="482" y="138"/>
                  </a:cubicBezTo>
                  <a:cubicBezTo>
                    <a:pt x="482" y="138"/>
                    <a:pt x="482" y="138"/>
                    <a:pt x="482" y="138"/>
                  </a:cubicBezTo>
                  <a:cubicBezTo>
                    <a:pt x="482" y="138"/>
                    <a:pt x="481" y="138"/>
                    <a:pt x="481" y="138"/>
                  </a:cubicBezTo>
                  <a:cubicBezTo>
                    <a:pt x="481" y="138"/>
                    <a:pt x="481" y="138"/>
                    <a:pt x="481" y="138"/>
                  </a:cubicBezTo>
                  <a:cubicBezTo>
                    <a:pt x="481" y="139"/>
                    <a:pt x="480" y="139"/>
                    <a:pt x="480" y="139"/>
                  </a:cubicBezTo>
                  <a:cubicBezTo>
                    <a:pt x="480" y="139"/>
                    <a:pt x="480" y="139"/>
                    <a:pt x="480" y="139"/>
                  </a:cubicBezTo>
                  <a:cubicBezTo>
                    <a:pt x="479" y="139"/>
                    <a:pt x="479" y="139"/>
                    <a:pt x="478" y="140"/>
                  </a:cubicBezTo>
                  <a:cubicBezTo>
                    <a:pt x="478" y="140"/>
                    <a:pt x="478" y="140"/>
                    <a:pt x="478" y="140"/>
                  </a:cubicBezTo>
                  <a:cubicBezTo>
                    <a:pt x="478" y="140"/>
                    <a:pt x="477" y="140"/>
                    <a:pt x="477" y="140"/>
                  </a:cubicBezTo>
                  <a:cubicBezTo>
                    <a:pt x="477" y="141"/>
                    <a:pt x="477" y="141"/>
                    <a:pt x="476" y="141"/>
                  </a:cubicBezTo>
                  <a:cubicBezTo>
                    <a:pt x="476" y="141"/>
                    <a:pt x="476" y="141"/>
                    <a:pt x="476" y="141"/>
                  </a:cubicBezTo>
                  <a:cubicBezTo>
                    <a:pt x="476" y="141"/>
                    <a:pt x="476" y="142"/>
                    <a:pt x="475" y="142"/>
                  </a:cubicBezTo>
                  <a:cubicBezTo>
                    <a:pt x="475" y="142"/>
                    <a:pt x="475" y="142"/>
                    <a:pt x="475" y="142"/>
                  </a:cubicBezTo>
                  <a:cubicBezTo>
                    <a:pt x="475" y="142"/>
                    <a:pt x="474" y="142"/>
                    <a:pt x="474" y="143"/>
                  </a:cubicBezTo>
                  <a:cubicBezTo>
                    <a:pt x="474" y="143"/>
                    <a:pt x="474" y="143"/>
                    <a:pt x="474" y="143"/>
                  </a:cubicBezTo>
                  <a:cubicBezTo>
                    <a:pt x="473" y="143"/>
                    <a:pt x="473" y="143"/>
                    <a:pt x="473" y="144"/>
                  </a:cubicBezTo>
                  <a:cubicBezTo>
                    <a:pt x="473" y="144"/>
                    <a:pt x="472" y="144"/>
                    <a:pt x="472" y="144"/>
                  </a:cubicBezTo>
                  <a:cubicBezTo>
                    <a:pt x="472" y="144"/>
                    <a:pt x="472" y="144"/>
                    <a:pt x="472" y="144"/>
                  </a:cubicBezTo>
                  <a:cubicBezTo>
                    <a:pt x="472" y="144"/>
                    <a:pt x="472" y="144"/>
                    <a:pt x="471" y="144"/>
                  </a:cubicBezTo>
                  <a:cubicBezTo>
                    <a:pt x="471" y="145"/>
                    <a:pt x="471" y="145"/>
                    <a:pt x="471" y="145"/>
                  </a:cubicBezTo>
                  <a:cubicBezTo>
                    <a:pt x="471" y="145"/>
                    <a:pt x="470" y="145"/>
                    <a:pt x="470" y="145"/>
                  </a:cubicBezTo>
                  <a:cubicBezTo>
                    <a:pt x="470" y="145"/>
                    <a:pt x="470" y="146"/>
                    <a:pt x="469" y="146"/>
                  </a:cubicBezTo>
                  <a:cubicBezTo>
                    <a:pt x="469" y="146"/>
                    <a:pt x="469" y="146"/>
                    <a:pt x="469" y="146"/>
                  </a:cubicBezTo>
                  <a:cubicBezTo>
                    <a:pt x="469" y="146"/>
                    <a:pt x="469" y="146"/>
                    <a:pt x="469" y="147"/>
                  </a:cubicBezTo>
                  <a:cubicBezTo>
                    <a:pt x="468" y="147"/>
                    <a:pt x="468" y="147"/>
                    <a:pt x="468" y="147"/>
                  </a:cubicBezTo>
                  <a:cubicBezTo>
                    <a:pt x="468" y="147"/>
                    <a:pt x="467" y="147"/>
                    <a:pt x="467" y="148"/>
                  </a:cubicBezTo>
                  <a:cubicBezTo>
                    <a:pt x="467" y="148"/>
                    <a:pt x="467" y="148"/>
                    <a:pt x="467" y="148"/>
                  </a:cubicBezTo>
                  <a:cubicBezTo>
                    <a:pt x="466" y="148"/>
                    <a:pt x="466" y="148"/>
                    <a:pt x="466" y="149"/>
                  </a:cubicBezTo>
                  <a:cubicBezTo>
                    <a:pt x="466" y="149"/>
                    <a:pt x="465" y="149"/>
                    <a:pt x="465" y="149"/>
                  </a:cubicBezTo>
                  <a:cubicBezTo>
                    <a:pt x="465" y="149"/>
                    <a:pt x="465" y="149"/>
                    <a:pt x="465" y="149"/>
                  </a:cubicBezTo>
                  <a:cubicBezTo>
                    <a:pt x="465" y="149"/>
                    <a:pt x="465" y="149"/>
                    <a:pt x="464" y="149"/>
                  </a:cubicBezTo>
                  <a:cubicBezTo>
                    <a:pt x="464" y="150"/>
                    <a:pt x="464" y="150"/>
                    <a:pt x="464" y="150"/>
                  </a:cubicBezTo>
                  <a:cubicBezTo>
                    <a:pt x="464" y="150"/>
                    <a:pt x="463" y="150"/>
                    <a:pt x="463" y="150"/>
                  </a:cubicBezTo>
                  <a:cubicBezTo>
                    <a:pt x="463" y="150"/>
                    <a:pt x="463" y="151"/>
                    <a:pt x="462" y="151"/>
                  </a:cubicBezTo>
                  <a:cubicBezTo>
                    <a:pt x="462" y="151"/>
                    <a:pt x="462" y="151"/>
                    <a:pt x="462" y="151"/>
                  </a:cubicBezTo>
                  <a:cubicBezTo>
                    <a:pt x="462" y="151"/>
                    <a:pt x="462" y="151"/>
                    <a:pt x="462" y="151"/>
                  </a:cubicBezTo>
                  <a:cubicBezTo>
                    <a:pt x="461" y="152"/>
                    <a:pt x="461" y="152"/>
                    <a:pt x="461" y="152"/>
                  </a:cubicBezTo>
                  <a:cubicBezTo>
                    <a:pt x="461" y="152"/>
                    <a:pt x="460" y="152"/>
                    <a:pt x="460" y="152"/>
                  </a:cubicBezTo>
                  <a:cubicBezTo>
                    <a:pt x="460" y="152"/>
                    <a:pt x="460" y="152"/>
                    <a:pt x="460" y="152"/>
                  </a:cubicBezTo>
                  <a:cubicBezTo>
                    <a:pt x="459" y="153"/>
                    <a:pt x="459" y="153"/>
                    <a:pt x="459" y="153"/>
                  </a:cubicBezTo>
                  <a:cubicBezTo>
                    <a:pt x="459" y="153"/>
                    <a:pt x="458" y="153"/>
                    <a:pt x="458" y="153"/>
                  </a:cubicBezTo>
                  <a:cubicBezTo>
                    <a:pt x="458" y="154"/>
                    <a:pt x="458" y="154"/>
                    <a:pt x="458" y="154"/>
                  </a:cubicBezTo>
                  <a:cubicBezTo>
                    <a:pt x="458" y="154"/>
                    <a:pt x="458" y="154"/>
                    <a:pt x="457" y="154"/>
                  </a:cubicBezTo>
                  <a:cubicBezTo>
                    <a:pt x="457" y="154"/>
                    <a:pt x="457" y="155"/>
                    <a:pt x="457" y="155"/>
                  </a:cubicBezTo>
                  <a:cubicBezTo>
                    <a:pt x="457" y="155"/>
                    <a:pt x="456" y="155"/>
                    <a:pt x="456" y="155"/>
                  </a:cubicBezTo>
                  <a:cubicBezTo>
                    <a:pt x="456" y="155"/>
                    <a:pt x="456" y="156"/>
                    <a:pt x="455" y="156"/>
                  </a:cubicBezTo>
                  <a:cubicBezTo>
                    <a:pt x="455" y="156"/>
                    <a:pt x="455" y="156"/>
                    <a:pt x="455" y="156"/>
                  </a:cubicBezTo>
                  <a:cubicBezTo>
                    <a:pt x="455" y="156"/>
                    <a:pt x="455" y="156"/>
                    <a:pt x="455" y="156"/>
                  </a:cubicBezTo>
                  <a:cubicBezTo>
                    <a:pt x="454" y="156"/>
                    <a:pt x="454" y="157"/>
                    <a:pt x="454" y="157"/>
                  </a:cubicBezTo>
                  <a:cubicBezTo>
                    <a:pt x="454" y="157"/>
                    <a:pt x="453" y="157"/>
                    <a:pt x="453" y="157"/>
                  </a:cubicBezTo>
                  <a:cubicBezTo>
                    <a:pt x="453" y="157"/>
                    <a:pt x="453" y="157"/>
                    <a:pt x="453" y="157"/>
                  </a:cubicBezTo>
                  <a:cubicBezTo>
                    <a:pt x="452" y="158"/>
                    <a:pt x="452" y="158"/>
                    <a:pt x="452" y="158"/>
                  </a:cubicBezTo>
                  <a:cubicBezTo>
                    <a:pt x="452" y="158"/>
                    <a:pt x="451" y="158"/>
                    <a:pt x="451" y="158"/>
                  </a:cubicBezTo>
                  <a:cubicBezTo>
                    <a:pt x="451" y="159"/>
                    <a:pt x="451" y="159"/>
                    <a:pt x="451" y="159"/>
                  </a:cubicBezTo>
                  <a:cubicBezTo>
                    <a:pt x="451" y="159"/>
                    <a:pt x="451" y="159"/>
                    <a:pt x="450" y="159"/>
                  </a:cubicBezTo>
                  <a:cubicBezTo>
                    <a:pt x="450" y="159"/>
                    <a:pt x="450" y="160"/>
                    <a:pt x="450" y="160"/>
                  </a:cubicBezTo>
                  <a:cubicBezTo>
                    <a:pt x="450" y="160"/>
                    <a:pt x="449" y="160"/>
                    <a:pt x="449" y="160"/>
                  </a:cubicBezTo>
                  <a:cubicBezTo>
                    <a:pt x="449" y="160"/>
                    <a:pt x="449" y="160"/>
                    <a:pt x="448" y="161"/>
                  </a:cubicBezTo>
                  <a:cubicBezTo>
                    <a:pt x="448" y="161"/>
                    <a:pt x="448" y="161"/>
                    <a:pt x="448" y="161"/>
                  </a:cubicBezTo>
                  <a:cubicBezTo>
                    <a:pt x="448" y="161"/>
                    <a:pt x="448" y="161"/>
                    <a:pt x="447" y="162"/>
                  </a:cubicBezTo>
                  <a:cubicBezTo>
                    <a:pt x="447" y="162"/>
                    <a:pt x="447" y="162"/>
                    <a:pt x="447" y="162"/>
                  </a:cubicBezTo>
                  <a:cubicBezTo>
                    <a:pt x="447" y="162"/>
                    <a:pt x="446" y="162"/>
                    <a:pt x="446" y="162"/>
                  </a:cubicBezTo>
                  <a:cubicBezTo>
                    <a:pt x="446" y="162"/>
                    <a:pt x="446" y="162"/>
                    <a:pt x="446" y="162"/>
                  </a:cubicBezTo>
                  <a:cubicBezTo>
                    <a:pt x="445" y="163"/>
                    <a:pt x="445" y="163"/>
                    <a:pt x="445" y="163"/>
                  </a:cubicBezTo>
                  <a:cubicBezTo>
                    <a:pt x="445" y="163"/>
                    <a:pt x="445" y="163"/>
                    <a:pt x="444" y="163"/>
                  </a:cubicBezTo>
                  <a:cubicBezTo>
                    <a:pt x="444" y="163"/>
                    <a:pt x="444" y="164"/>
                    <a:pt x="444" y="164"/>
                  </a:cubicBezTo>
                  <a:cubicBezTo>
                    <a:pt x="444" y="164"/>
                    <a:pt x="444" y="164"/>
                    <a:pt x="443" y="164"/>
                  </a:cubicBezTo>
                  <a:cubicBezTo>
                    <a:pt x="443" y="164"/>
                    <a:pt x="443" y="164"/>
                    <a:pt x="443" y="165"/>
                  </a:cubicBezTo>
                  <a:cubicBezTo>
                    <a:pt x="443" y="165"/>
                    <a:pt x="442" y="165"/>
                    <a:pt x="442" y="165"/>
                  </a:cubicBezTo>
                  <a:cubicBezTo>
                    <a:pt x="442" y="165"/>
                    <a:pt x="442" y="165"/>
                    <a:pt x="441" y="166"/>
                  </a:cubicBezTo>
                  <a:cubicBezTo>
                    <a:pt x="441" y="166"/>
                    <a:pt x="441" y="166"/>
                    <a:pt x="441" y="166"/>
                  </a:cubicBezTo>
                  <a:cubicBezTo>
                    <a:pt x="441" y="166"/>
                    <a:pt x="441" y="166"/>
                    <a:pt x="441" y="166"/>
                  </a:cubicBezTo>
                  <a:cubicBezTo>
                    <a:pt x="440" y="166"/>
                    <a:pt x="440" y="166"/>
                    <a:pt x="440" y="166"/>
                  </a:cubicBezTo>
                  <a:cubicBezTo>
                    <a:pt x="440" y="167"/>
                    <a:pt x="439" y="167"/>
                    <a:pt x="439" y="167"/>
                  </a:cubicBezTo>
                  <a:cubicBezTo>
                    <a:pt x="439" y="167"/>
                    <a:pt x="439" y="167"/>
                    <a:pt x="439" y="167"/>
                  </a:cubicBezTo>
                  <a:cubicBezTo>
                    <a:pt x="438" y="167"/>
                    <a:pt x="438" y="168"/>
                    <a:pt x="438" y="168"/>
                  </a:cubicBezTo>
                  <a:cubicBezTo>
                    <a:pt x="438" y="168"/>
                    <a:pt x="438" y="168"/>
                    <a:pt x="437" y="168"/>
                  </a:cubicBezTo>
                  <a:cubicBezTo>
                    <a:pt x="437" y="168"/>
                    <a:pt x="437" y="168"/>
                    <a:pt x="437" y="169"/>
                  </a:cubicBezTo>
                  <a:cubicBezTo>
                    <a:pt x="437" y="169"/>
                    <a:pt x="437" y="169"/>
                    <a:pt x="436" y="169"/>
                  </a:cubicBezTo>
                  <a:cubicBezTo>
                    <a:pt x="436" y="169"/>
                    <a:pt x="436" y="169"/>
                    <a:pt x="436" y="170"/>
                  </a:cubicBezTo>
                  <a:cubicBezTo>
                    <a:pt x="436" y="170"/>
                    <a:pt x="435" y="170"/>
                    <a:pt x="435" y="170"/>
                  </a:cubicBezTo>
                  <a:cubicBezTo>
                    <a:pt x="435" y="170"/>
                    <a:pt x="435" y="170"/>
                    <a:pt x="434" y="171"/>
                  </a:cubicBezTo>
                  <a:cubicBezTo>
                    <a:pt x="434" y="171"/>
                    <a:pt x="434" y="171"/>
                    <a:pt x="434" y="171"/>
                  </a:cubicBezTo>
                  <a:cubicBezTo>
                    <a:pt x="434" y="171"/>
                    <a:pt x="434" y="171"/>
                    <a:pt x="433" y="171"/>
                  </a:cubicBezTo>
                  <a:cubicBezTo>
                    <a:pt x="433" y="171"/>
                    <a:pt x="433" y="172"/>
                    <a:pt x="432" y="172"/>
                  </a:cubicBezTo>
                  <a:cubicBezTo>
                    <a:pt x="432" y="172"/>
                    <a:pt x="432" y="172"/>
                    <a:pt x="432" y="172"/>
                  </a:cubicBezTo>
                  <a:cubicBezTo>
                    <a:pt x="432" y="172"/>
                    <a:pt x="432" y="172"/>
                    <a:pt x="432" y="172"/>
                  </a:cubicBezTo>
                  <a:cubicBezTo>
                    <a:pt x="432" y="172"/>
                    <a:pt x="431" y="172"/>
                    <a:pt x="431" y="173"/>
                  </a:cubicBezTo>
                  <a:cubicBezTo>
                    <a:pt x="431" y="173"/>
                    <a:pt x="431" y="173"/>
                    <a:pt x="431" y="173"/>
                  </a:cubicBezTo>
                  <a:cubicBezTo>
                    <a:pt x="431" y="173"/>
                    <a:pt x="430" y="173"/>
                    <a:pt x="430" y="173"/>
                  </a:cubicBezTo>
                  <a:cubicBezTo>
                    <a:pt x="430" y="173"/>
                    <a:pt x="430" y="173"/>
                    <a:pt x="430" y="173"/>
                  </a:cubicBezTo>
                  <a:cubicBezTo>
                    <a:pt x="429" y="174"/>
                    <a:pt x="429" y="174"/>
                    <a:pt x="429" y="174"/>
                  </a:cubicBezTo>
                  <a:cubicBezTo>
                    <a:pt x="429" y="174"/>
                    <a:pt x="429" y="174"/>
                    <a:pt x="429" y="174"/>
                  </a:cubicBezTo>
                  <a:cubicBezTo>
                    <a:pt x="428" y="174"/>
                    <a:pt x="428" y="175"/>
                    <a:pt x="428" y="175"/>
                  </a:cubicBezTo>
                  <a:cubicBezTo>
                    <a:pt x="428" y="175"/>
                    <a:pt x="428" y="175"/>
                    <a:pt x="427" y="175"/>
                  </a:cubicBezTo>
                  <a:cubicBezTo>
                    <a:pt x="427" y="175"/>
                    <a:pt x="427" y="175"/>
                    <a:pt x="427" y="176"/>
                  </a:cubicBezTo>
                  <a:cubicBezTo>
                    <a:pt x="427" y="176"/>
                    <a:pt x="427" y="176"/>
                    <a:pt x="426" y="176"/>
                  </a:cubicBezTo>
                  <a:cubicBezTo>
                    <a:pt x="426" y="176"/>
                    <a:pt x="426" y="176"/>
                    <a:pt x="426" y="176"/>
                  </a:cubicBezTo>
                  <a:cubicBezTo>
                    <a:pt x="426" y="176"/>
                    <a:pt x="426" y="176"/>
                    <a:pt x="425" y="176"/>
                  </a:cubicBezTo>
                  <a:cubicBezTo>
                    <a:pt x="425" y="176"/>
                    <a:pt x="425" y="176"/>
                    <a:pt x="425" y="177"/>
                  </a:cubicBezTo>
                  <a:cubicBezTo>
                    <a:pt x="425" y="177"/>
                    <a:pt x="425" y="177"/>
                    <a:pt x="424" y="177"/>
                  </a:cubicBezTo>
                  <a:cubicBezTo>
                    <a:pt x="424" y="177"/>
                    <a:pt x="424" y="177"/>
                    <a:pt x="424" y="178"/>
                  </a:cubicBezTo>
                  <a:cubicBezTo>
                    <a:pt x="424" y="178"/>
                    <a:pt x="424" y="178"/>
                    <a:pt x="423" y="178"/>
                  </a:cubicBezTo>
                  <a:cubicBezTo>
                    <a:pt x="423" y="178"/>
                    <a:pt x="423" y="178"/>
                    <a:pt x="423" y="178"/>
                  </a:cubicBezTo>
                  <a:cubicBezTo>
                    <a:pt x="423" y="178"/>
                    <a:pt x="422" y="178"/>
                    <a:pt x="422" y="178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2" y="179"/>
                    <a:pt x="421" y="179"/>
                    <a:pt x="421" y="179"/>
                  </a:cubicBezTo>
                  <a:cubicBezTo>
                    <a:pt x="421" y="179"/>
                    <a:pt x="421" y="179"/>
                    <a:pt x="421" y="180"/>
                  </a:cubicBezTo>
                  <a:cubicBezTo>
                    <a:pt x="421" y="180"/>
                    <a:pt x="420" y="180"/>
                    <a:pt x="420" y="180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20" y="180"/>
                    <a:pt x="419" y="180"/>
                    <a:pt x="419" y="180"/>
                  </a:cubicBezTo>
                  <a:cubicBezTo>
                    <a:pt x="419" y="181"/>
                    <a:pt x="419" y="181"/>
                    <a:pt x="419" y="181"/>
                  </a:cubicBezTo>
                  <a:cubicBezTo>
                    <a:pt x="419" y="181"/>
                    <a:pt x="418" y="181"/>
                    <a:pt x="418" y="181"/>
                  </a:cubicBezTo>
                  <a:cubicBezTo>
                    <a:pt x="418" y="181"/>
                    <a:pt x="418" y="182"/>
                    <a:pt x="418" y="182"/>
                  </a:cubicBezTo>
                  <a:cubicBezTo>
                    <a:pt x="417" y="182"/>
                    <a:pt x="417" y="182"/>
                    <a:pt x="417" y="182"/>
                  </a:cubicBezTo>
                  <a:cubicBezTo>
                    <a:pt x="417" y="182"/>
                    <a:pt x="417" y="182"/>
                    <a:pt x="417" y="183"/>
                  </a:cubicBezTo>
                  <a:cubicBezTo>
                    <a:pt x="416" y="183"/>
                    <a:pt x="416" y="183"/>
                    <a:pt x="416" y="183"/>
                  </a:cubicBezTo>
                  <a:cubicBezTo>
                    <a:pt x="416" y="183"/>
                    <a:pt x="416" y="183"/>
                    <a:pt x="416" y="183"/>
                  </a:cubicBezTo>
                  <a:cubicBezTo>
                    <a:pt x="415" y="183"/>
                    <a:pt x="415" y="183"/>
                    <a:pt x="415" y="183"/>
                  </a:cubicBezTo>
                  <a:cubicBezTo>
                    <a:pt x="415" y="183"/>
                    <a:pt x="415" y="184"/>
                    <a:pt x="415" y="184"/>
                  </a:cubicBezTo>
                  <a:cubicBezTo>
                    <a:pt x="414" y="184"/>
                    <a:pt x="414" y="184"/>
                    <a:pt x="414" y="184"/>
                  </a:cubicBezTo>
                  <a:cubicBezTo>
                    <a:pt x="414" y="184"/>
                    <a:pt x="414" y="184"/>
                    <a:pt x="413" y="185"/>
                  </a:cubicBezTo>
                  <a:cubicBezTo>
                    <a:pt x="407" y="185"/>
                    <a:pt x="400" y="185"/>
                    <a:pt x="394" y="185"/>
                  </a:cubicBezTo>
                  <a:cubicBezTo>
                    <a:pt x="393" y="186"/>
                    <a:pt x="392" y="188"/>
                    <a:pt x="391" y="190"/>
                  </a:cubicBezTo>
                  <a:cubicBezTo>
                    <a:pt x="391" y="190"/>
                    <a:pt x="391" y="190"/>
                    <a:pt x="391" y="190"/>
                  </a:cubicBezTo>
                  <a:cubicBezTo>
                    <a:pt x="391" y="190"/>
                    <a:pt x="391" y="191"/>
                    <a:pt x="391" y="191"/>
                  </a:cubicBezTo>
                  <a:cubicBezTo>
                    <a:pt x="391" y="191"/>
                    <a:pt x="391" y="191"/>
                    <a:pt x="391" y="191"/>
                  </a:cubicBezTo>
                  <a:cubicBezTo>
                    <a:pt x="391" y="191"/>
                    <a:pt x="391" y="192"/>
                    <a:pt x="391" y="192"/>
                  </a:cubicBezTo>
                  <a:cubicBezTo>
                    <a:pt x="391" y="192"/>
                    <a:pt x="391" y="192"/>
                    <a:pt x="390" y="192"/>
                  </a:cubicBezTo>
                  <a:cubicBezTo>
                    <a:pt x="390" y="192"/>
                    <a:pt x="390" y="192"/>
                    <a:pt x="390" y="193"/>
                  </a:cubicBezTo>
                  <a:cubicBezTo>
                    <a:pt x="390" y="193"/>
                    <a:pt x="390" y="193"/>
                    <a:pt x="390" y="193"/>
                  </a:cubicBezTo>
                  <a:cubicBezTo>
                    <a:pt x="390" y="193"/>
                    <a:pt x="390" y="193"/>
                    <a:pt x="390" y="193"/>
                  </a:cubicBezTo>
                  <a:cubicBezTo>
                    <a:pt x="390" y="193"/>
                    <a:pt x="390" y="193"/>
                    <a:pt x="390" y="193"/>
                  </a:cubicBezTo>
                  <a:cubicBezTo>
                    <a:pt x="389" y="194"/>
                    <a:pt x="389" y="195"/>
                    <a:pt x="389" y="195"/>
                  </a:cubicBezTo>
                  <a:cubicBezTo>
                    <a:pt x="389" y="195"/>
                    <a:pt x="389" y="195"/>
                    <a:pt x="389" y="195"/>
                  </a:cubicBezTo>
                  <a:cubicBezTo>
                    <a:pt x="389" y="196"/>
                    <a:pt x="389" y="196"/>
                    <a:pt x="389" y="197"/>
                  </a:cubicBezTo>
                  <a:cubicBezTo>
                    <a:pt x="389" y="197"/>
                    <a:pt x="388" y="197"/>
                    <a:pt x="388" y="197"/>
                  </a:cubicBezTo>
                  <a:cubicBezTo>
                    <a:pt x="388" y="197"/>
                    <a:pt x="388" y="198"/>
                    <a:pt x="388" y="199"/>
                  </a:cubicBezTo>
                  <a:cubicBezTo>
                    <a:pt x="387" y="199"/>
                    <a:pt x="387" y="199"/>
                    <a:pt x="387" y="199"/>
                  </a:cubicBezTo>
                  <a:cubicBezTo>
                    <a:pt x="387" y="199"/>
                    <a:pt x="387" y="199"/>
                    <a:pt x="387" y="199"/>
                  </a:cubicBezTo>
                  <a:cubicBezTo>
                    <a:pt x="387" y="199"/>
                    <a:pt x="387" y="199"/>
                    <a:pt x="387" y="199"/>
                  </a:cubicBezTo>
                  <a:cubicBezTo>
                    <a:pt x="387" y="200"/>
                    <a:pt x="387" y="200"/>
                    <a:pt x="387" y="200"/>
                  </a:cubicBezTo>
                  <a:cubicBezTo>
                    <a:pt x="387" y="200"/>
                    <a:pt x="387" y="200"/>
                    <a:pt x="387" y="200"/>
                  </a:cubicBezTo>
                  <a:cubicBezTo>
                    <a:pt x="386" y="201"/>
                    <a:pt x="386" y="201"/>
                    <a:pt x="386" y="202"/>
                  </a:cubicBezTo>
                  <a:cubicBezTo>
                    <a:pt x="386" y="202"/>
                    <a:pt x="386" y="202"/>
                    <a:pt x="386" y="202"/>
                  </a:cubicBezTo>
                  <a:cubicBezTo>
                    <a:pt x="386" y="202"/>
                    <a:pt x="386" y="203"/>
                    <a:pt x="386" y="203"/>
                  </a:cubicBezTo>
                  <a:cubicBezTo>
                    <a:pt x="385" y="203"/>
                    <a:pt x="385" y="203"/>
                    <a:pt x="385" y="203"/>
                  </a:cubicBezTo>
                  <a:cubicBezTo>
                    <a:pt x="385" y="203"/>
                    <a:pt x="385" y="204"/>
                    <a:pt x="385" y="204"/>
                  </a:cubicBezTo>
                  <a:cubicBezTo>
                    <a:pt x="385" y="204"/>
                    <a:pt x="385" y="204"/>
                    <a:pt x="385" y="204"/>
                  </a:cubicBezTo>
                  <a:cubicBezTo>
                    <a:pt x="385" y="204"/>
                    <a:pt x="385" y="205"/>
                    <a:pt x="385" y="205"/>
                  </a:cubicBezTo>
                  <a:cubicBezTo>
                    <a:pt x="385" y="205"/>
                    <a:pt x="385" y="205"/>
                    <a:pt x="384" y="205"/>
                  </a:cubicBezTo>
                  <a:cubicBezTo>
                    <a:pt x="384" y="206"/>
                    <a:pt x="384" y="206"/>
                    <a:pt x="384" y="207"/>
                  </a:cubicBezTo>
                  <a:cubicBezTo>
                    <a:pt x="384" y="207"/>
                    <a:pt x="384" y="207"/>
                    <a:pt x="383" y="207"/>
                  </a:cubicBezTo>
                  <a:cubicBezTo>
                    <a:pt x="383" y="207"/>
                    <a:pt x="383" y="207"/>
                    <a:pt x="383" y="208"/>
                  </a:cubicBezTo>
                  <a:cubicBezTo>
                    <a:pt x="383" y="208"/>
                    <a:pt x="383" y="208"/>
                    <a:pt x="383" y="208"/>
                  </a:cubicBezTo>
                  <a:cubicBezTo>
                    <a:pt x="383" y="208"/>
                    <a:pt x="383" y="208"/>
                    <a:pt x="383" y="208"/>
                  </a:cubicBezTo>
                  <a:cubicBezTo>
                    <a:pt x="383" y="208"/>
                    <a:pt x="383" y="208"/>
                    <a:pt x="383" y="208"/>
                  </a:cubicBezTo>
                  <a:cubicBezTo>
                    <a:pt x="383" y="209"/>
                    <a:pt x="383" y="209"/>
                    <a:pt x="383" y="209"/>
                  </a:cubicBezTo>
                  <a:cubicBezTo>
                    <a:pt x="383" y="209"/>
                    <a:pt x="382" y="209"/>
                    <a:pt x="382" y="209"/>
                  </a:cubicBezTo>
                  <a:cubicBezTo>
                    <a:pt x="382" y="210"/>
                    <a:pt x="382" y="211"/>
                    <a:pt x="382" y="212"/>
                  </a:cubicBezTo>
                  <a:cubicBezTo>
                    <a:pt x="382" y="212"/>
                    <a:pt x="381" y="212"/>
                    <a:pt x="381" y="212"/>
                  </a:cubicBezTo>
                  <a:cubicBezTo>
                    <a:pt x="381" y="212"/>
                    <a:pt x="381" y="212"/>
                    <a:pt x="381" y="212"/>
                  </a:cubicBezTo>
                  <a:cubicBezTo>
                    <a:pt x="381" y="212"/>
                    <a:pt x="381" y="212"/>
                    <a:pt x="381" y="212"/>
                  </a:cubicBezTo>
                  <a:cubicBezTo>
                    <a:pt x="381" y="213"/>
                    <a:pt x="381" y="213"/>
                    <a:pt x="381" y="213"/>
                  </a:cubicBezTo>
                  <a:cubicBezTo>
                    <a:pt x="381" y="213"/>
                    <a:pt x="381" y="213"/>
                    <a:pt x="381" y="213"/>
                  </a:cubicBezTo>
                  <a:cubicBezTo>
                    <a:pt x="380" y="214"/>
                    <a:pt x="380" y="215"/>
                    <a:pt x="380" y="215"/>
                  </a:cubicBezTo>
                  <a:cubicBezTo>
                    <a:pt x="380" y="215"/>
                    <a:pt x="380" y="215"/>
                    <a:pt x="380" y="215"/>
                  </a:cubicBezTo>
                  <a:cubicBezTo>
                    <a:pt x="380" y="216"/>
                    <a:pt x="380" y="216"/>
                    <a:pt x="380" y="216"/>
                  </a:cubicBezTo>
                  <a:cubicBezTo>
                    <a:pt x="379" y="216"/>
                    <a:pt x="379" y="216"/>
                    <a:pt x="379" y="216"/>
                  </a:cubicBezTo>
                  <a:cubicBezTo>
                    <a:pt x="379" y="216"/>
                    <a:pt x="379" y="217"/>
                    <a:pt x="379" y="217"/>
                  </a:cubicBezTo>
                  <a:cubicBezTo>
                    <a:pt x="379" y="217"/>
                    <a:pt x="379" y="217"/>
                    <a:pt x="379" y="217"/>
                  </a:cubicBezTo>
                  <a:cubicBezTo>
                    <a:pt x="379" y="217"/>
                    <a:pt x="379" y="218"/>
                    <a:pt x="379" y="219"/>
                  </a:cubicBezTo>
                  <a:cubicBezTo>
                    <a:pt x="378" y="219"/>
                    <a:pt x="378" y="219"/>
                    <a:pt x="378" y="219"/>
                  </a:cubicBezTo>
                  <a:cubicBezTo>
                    <a:pt x="378" y="219"/>
                    <a:pt x="378" y="220"/>
                    <a:pt x="377" y="220"/>
                  </a:cubicBezTo>
                  <a:cubicBezTo>
                    <a:pt x="377" y="220"/>
                    <a:pt x="377" y="221"/>
                    <a:pt x="376" y="221"/>
                  </a:cubicBezTo>
                  <a:cubicBezTo>
                    <a:pt x="376" y="221"/>
                    <a:pt x="376" y="221"/>
                    <a:pt x="376" y="222"/>
                  </a:cubicBezTo>
                  <a:cubicBezTo>
                    <a:pt x="376" y="222"/>
                    <a:pt x="375" y="222"/>
                    <a:pt x="375" y="223"/>
                  </a:cubicBezTo>
                  <a:cubicBezTo>
                    <a:pt x="375" y="223"/>
                    <a:pt x="375" y="223"/>
                    <a:pt x="375" y="223"/>
                  </a:cubicBezTo>
                  <a:cubicBezTo>
                    <a:pt x="374" y="224"/>
                    <a:pt x="374" y="224"/>
                    <a:pt x="373" y="225"/>
                  </a:cubicBezTo>
                  <a:cubicBezTo>
                    <a:pt x="373" y="225"/>
                    <a:pt x="373" y="225"/>
                    <a:pt x="373" y="226"/>
                  </a:cubicBezTo>
                  <a:cubicBezTo>
                    <a:pt x="372" y="226"/>
                    <a:pt x="372" y="226"/>
                    <a:pt x="372" y="227"/>
                  </a:cubicBezTo>
                  <a:cubicBezTo>
                    <a:pt x="372" y="227"/>
                    <a:pt x="372" y="227"/>
                    <a:pt x="372" y="227"/>
                  </a:cubicBezTo>
                  <a:cubicBezTo>
                    <a:pt x="371" y="228"/>
                    <a:pt x="371" y="228"/>
                    <a:pt x="370" y="228"/>
                  </a:cubicBezTo>
                  <a:cubicBezTo>
                    <a:pt x="370" y="229"/>
                    <a:pt x="370" y="229"/>
                    <a:pt x="370" y="229"/>
                  </a:cubicBezTo>
                  <a:cubicBezTo>
                    <a:pt x="370" y="229"/>
                    <a:pt x="369" y="230"/>
                    <a:pt x="369" y="230"/>
                  </a:cubicBezTo>
                  <a:cubicBezTo>
                    <a:pt x="369" y="230"/>
                    <a:pt x="368" y="231"/>
                    <a:pt x="368" y="231"/>
                  </a:cubicBezTo>
                  <a:cubicBezTo>
                    <a:pt x="368" y="231"/>
                    <a:pt x="368" y="231"/>
                    <a:pt x="368" y="231"/>
                  </a:cubicBezTo>
                  <a:cubicBezTo>
                    <a:pt x="367" y="232"/>
                    <a:pt x="367" y="233"/>
                    <a:pt x="367" y="233"/>
                  </a:cubicBezTo>
                  <a:cubicBezTo>
                    <a:pt x="358" y="234"/>
                    <a:pt x="349" y="235"/>
                    <a:pt x="341" y="236"/>
                  </a:cubicBezTo>
                  <a:cubicBezTo>
                    <a:pt x="340" y="234"/>
                    <a:pt x="337" y="233"/>
                    <a:pt x="337" y="230"/>
                  </a:cubicBezTo>
                  <a:cubicBezTo>
                    <a:pt x="338" y="230"/>
                    <a:pt x="338" y="229"/>
                    <a:pt x="339" y="228"/>
                  </a:cubicBezTo>
                  <a:cubicBezTo>
                    <a:pt x="339" y="227"/>
                    <a:pt x="339" y="227"/>
                    <a:pt x="340" y="227"/>
                  </a:cubicBezTo>
                  <a:cubicBezTo>
                    <a:pt x="340" y="227"/>
                    <a:pt x="340" y="226"/>
                    <a:pt x="340" y="226"/>
                  </a:cubicBezTo>
                  <a:cubicBezTo>
                    <a:pt x="340" y="226"/>
                    <a:pt x="340" y="226"/>
                    <a:pt x="341" y="226"/>
                  </a:cubicBezTo>
                  <a:cubicBezTo>
                    <a:pt x="341" y="225"/>
                    <a:pt x="341" y="225"/>
                    <a:pt x="341" y="225"/>
                  </a:cubicBezTo>
                  <a:cubicBezTo>
                    <a:pt x="341" y="225"/>
                    <a:pt x="341" y="224"/>
                    <a:pt x="342" y="224"/>
                  </a:cubicBezTo>
                  <a:cubicBezTo>
                    <a:pt x="342" y="224"/>
                    <a:pt x="342" y="224"/>
                    <a:pt x="342" y="223"/>
                  </a:cubicBezTo>
                  <a:cubicBezTo>
                    <a:pt x="342" y="223"/>
                    <a:pt x="343" y="223"/>
                    <a:pt x="343" y="223"/>
                  </a:cubicBezTo>
                  <a:cubicBezTo>
                    <a:pt x="343" y="223"/>
                    <a:pt x="343" y="222"/>
                    <a:pt x="343" y="222"/>
                  </a:cubicBezTo>
                  <a:cubicBezTo>
                    <a:pt x="343" y="222"/>
                    <a:pt x="344" y="222"/>
                    <a:pt x="344" y="221"/>
                  </a:cubicBezTo>
                  <a:cubicBezTo>
                    <a:pt x="344" y="221"/>
                    <a:pt x="344" y="221"/>
                    <a:pt x="344" y="221"/>
                  </a:cubicBezTo>
                  <a:cubicBezTo>
                    <a:pt x="344" y="220"/>
                    <a:pt x="345" y="220"/>
                    <a:pt x="345" y="220"/>
                  </a:cubicBezTo>
                  <a:cubicBezTo>
                    <a:pt x="345" y="220"/>
                    <a:pt x="345" y="219"/>
                    <a:pt x="345" y="219"/>
                  </a:cubicBezTo>
                  <a:cubicBezTo>
                    <a:pt x="345" y="219"/>
                    <a:pt x="346" y="219"/>
                    <a:pt x="346" y="219"/>
                  </a:cubicBezTo>
                  <a:cubicBezTo>
                    <a:pt x="346" y="218"/>
                    <a:pt x="346" y="218"/>
                    <a:pt x="346" y="218"/>
                  </a:cubicBezTo>
                  <a:cubicBezTo>
                    <a:pt x="346" y="218"/>
                    <a:pt x="346" y="218"/>
                    <a:pt x="346" y="218"/>
                  </a:cubicBezTo>
                  <a:cubicBezTo>
                    <a:pt x="347" y="217"/>
                    <a:pt x="347" y="217"/>
                    <a:pt x="347" y="216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</a:ln>
            <a:effectLst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64800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4000" b="1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0000"/>
                </a:solidFill>
                <a:latin typeface="UKIJ Qolyazma" pitchFamily="18" charset="0"/>
                <a:cs typeface="UKIJ Qolyazma" pitchFamily="18" charset="0"/>
              </a:endParaRPr>
            </a:p>
          </p:txBody>
        </p:sp>
        <p:sp>
          <p:nvSpPr>
            <p:cNvPr id="125" name="Freeform 36">
              <a:extLst>
                <a:ext uri="{FF2B5EF4-FFF2-40B4-BE49-F238E27FC236}">
                  <a16:creationId xmlns:a16="http://schemas.microsoft.com/office/drawing/2014/main" id="{13375F73-27A2-D3FA-D982-9BB47C26BF15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6430" y="3248297"/>
              <a:ext cx="930521" cy="951108"/>
            </a:xfrm>
            <a:custGeom>
              <a:avLst/>
              <a:gdLst>
                <a:gd name="T0" fmla="*/ 303 w 428"/>
                <a:gd name="T1" fmla="*/ 56 h 437"/>
                <a:gd name="T2" fmla="*/ 330 w 428"/>
                <a:gd name="T3" fmla="*/ 75 h 437"/>
                <a:gd name="T4" fmla="*/ 340 w 428"/>
                <a:gd name="T5" fmla="*/ 82 h 437"/>
                <a:gd name="T6" fmla="*/ 351 w 428"/>
                <a:gd name="T7" fmla="*/ 90 h 437"/>
                <a:gd name="T8" fmla="*/ 369 w 428"/>
                <a:gd name="T9" fmla="*/ 120 h 437"/>
                <a:gd name="T10" fmla="*/ 390 w 428"/>
                <a:gd name="T11" fmla="*/ 124 h 437"/>
                <a:gd name="T12" fmla="*/ 401 w 428"/>
                <a:gd name="T13" fmla="*/ 132 h 437"/>
                <a:gd name="T14" fmla="*/ 413 w 428"/>
                <a:gd name="T15" fmla="*/ 140 h 437"/>
                <a:gd name="T16" fmla="*/ 424 w 428"/>
                <a:gd name="T17" fmla="*/ 148 h 437"/>
                <a:gd name="T18" fmla="*/ 421 w 428"/>
                <a:gd name="T19" fmla="*/ 197 h 437"/>
                <a:gd name="T20" fmla="*/ 410 w 428"/>
                <a:gd name="T21" fmla="*/ 204 h 437"/>
                <a:gd name="T22" fmla="*/ 399 w 428"/>
                <a:gd name="T23" fmla="*/ 212 h 437"/>
                <a:gd name="T24" fmla="*/ 390 w 428"/>
                <a:gd name="T25" fmla="*/ 217 h 437"/>
                <a:gd name="T26" fmla="*/ 383 w 428"/>
                <a:gd name="T27" fmla="*/ 220 h 437"/>
                <a:gd name="T28" fmla="*/ 383 w 428"/>
                <a:gd name="T29" fmla="*/ 254 h 437"/>
                <a:gd name="T30" fmla="*/ 396 w 428"/>
                <a:gd name="T31" fmla="*/ 294 h 437"/>
                <a:gd name="T32" fmla="*/ 385 w 428"/>
                <a:gd name="T33" fmla="*/ 319 h 437"/>
                <a:gd name="T34" fmla="*/ 369 w 428"/>
                <a:gd name="T35" fmla="*/ 328 h 437"/>
                <a:gd name="T36" fmla="*/ 369 w 428"/>
                <a:gd name="T37" fmla="*/ 360 h 437"/>
                <a:gd name="T38" fmla="*/ 365 w 428"/>
                <a:gd name="T39" fmla="*/ 370 h 437"/>
                <a:gd name="T40" fmla="*/ 345 w 428"/>
                <a:gd name="T41" fmla="*/ 395 h 437"/>
                <a:gd name="T42" fmla="*/ 335 w 428"/>
                <a:gd name="T43" fmla="*/ 410 h 437"/>
                <a:gd name="T44" fmla="*/ 328 w 428"/>
                <a:gd name="T45" fmla="*/ 422 h 437"/>
                <a:gd name="T46" fmla="*/ 303 w 428"/>
                <a:gd name="T47" fmla="*/ 435 h 437"/>
                <a:gd name="T48" fmla="*/ 296 w 428"/>
                <a:gd name="T49" fmla="*/ 403 h 437"/>
                <a:gd name="T50" fmla="*/ 275 w 428"/>
                <a:gd name="T51" fmla="*/ 389 h 437"/>
                <a:gd name="T52" fmla="*/ 259 w 428"/>
                <a:gd name="T53" fmla="*/ 384 h 437"/>
                <a:gd name="T54" fmla="*/ 247 w 428"/>
                <a:gd name="T55" fmla="*/ 393 h 437"/>
                <a:gd name="T56" fmla="*/ 232 w 428"/>
                <a:gd name="T57" fmla="*/ 408 h 437"/>
                <a:gd name="T58" fmla="*/ 211 w 428"/>
                <a:gd name="T59" fmla="*/ 390 h 437"/>
                <a:gd name="T60" fmla="*/ 191 w 428"/>
                <a:gd name="T61" fmla="*/ 369 h 437"/>
                <a:gd name="T62" fmla="*/ 154 w 428"/>
                <a:gd name="T63" fmla="*/ 326 h 437"/>
                <a:gd name="T64" fmla="*/ 141 w 428"/>
                <a:gd name="T65" fmla="*/ 336 h 437"/>
                <a:gd name="T66" fmla="*/ 121 w 428"/>
                <a:gd name="T67" fmla="*/ 333 h 437"/>
                <a:gd name="T68" fmla="*/ 108 w 428"/>
                <a:gd name="T69" fmla="*/ 332 h 437"/>
                <a:gd name="T70" fmla="*/ 91 w 428"/>
                <a:gd name="T71" fmla="*/ 347 h 437"/>
                <a:gd name="T72" fmla="*/ 62 w 428"/>
                <a:gd name="T73" fmla="*/ 349 h 437"/>
                <a:gd name="T74" fmla="*/ 52 w 428"/>
                <a:gd name="T75" fmla="*/ 346 h 437"/>
                <a:gd name="T76" fmla="*/ 43 w 428"/>
                <a:gd name="T77" fmla="*/ 341 h 437"/>
                <a:gd name="T78" fmla="*/ 35 w 428"/>
                <a:gd name="T79" fmla="*/ 337 h 437"/>
                <a:gd name="T80" fmla="*/ 14 w 428"/>
                <a:gd name="T81" fmla="*/ 325 h 437"/>
                <a:gd name="T82" fmla="*/ 15 w 428"/>
                <a:gd name="T83" fmla="*/ 308 h 437"/>
                <a:gd name="T84" fmla="*/ 14 w 428"/>
                <a:gd name="T85" fmla="*/ 290 h 437"/>
                <a:gd name="T86" fmla="*/ 9 w 428"/>
                <a:gd name="T87" fmla="*/ 276 h 437"/>
                <a:gd name="T88" fmla="*/ 5 w 428"/>
                <a:gd name="T89" fmla="*/ 263 h 437"/>
                <a:gd name="T90" fmla="*/ 22 w 428"/>
                <a:gd name="T91" fmla="*/ 215 h 437"/>
                <a:gd name="T92" fmla="*/ 69 w 428"/>
                <a:gd name="T93" fmla="*/ 222 h 437"/>
                <a:gd name="T94" fmla="*/ 82 w 428"/>
                <a:gd name="T95" fmla="*/ 201 h 437"/>
                <a:gd name="T96" fmla="*/ 86 w 428"/>
                <a:gd name="T97" fmla="*/ 184 h 437"/>
                <a:gd name="T98" fmla="*/ 127 w 428"/>
                <a:gd name="T99" fmla="*/ 171 h 437"/>
                <a:gd name="T100" fmla="*/ 140 w 428"/>
                <a:gd name="T101" fmla="*/ 162 h 437"/>
                <a:gd name="T102" fmla="*/ 150 w 428"/>
                <a:gd name="T103" fmla="*/ 148 h 437"/>
                <a:gd name="T104" fmla="*/ 161 w 428"/>
                <a:gd name="T105" fmla="*/ 120 h 437"/>
                <a:gd name="T106" fmla="*/ 164 w 428"/>
                <a:gd name="T107" fmla="*/ 111 h 437"/>
                <a:gd name="T108" fmla="*/ 169 w 428"/>
                <a:gd name="T109" fmla="*/ 98 h 437"/>
                <a:gd name="T110" fmla="*/ 171 w 428"/>
                <a:gd name="T111" fmla="*/ 33 h 437"/>
                <a:gd name="T112" fmla="*/ 175 w 428"/>
                <a:gd name="T113" fmla="*/ 6 h 437"/>
                <a:gd name="T114" fmla="*/ 192 w 428"/>
                <a:gd name="T115" fmla="*/ 7 h 437"/>
                <a:gd name="T116" fmla="*/ 204 w 428"/>
                <a:gd name="T117" fmla="*/ 22 h 437"/>
                <a:gd name="T118" fmla="*/ 238 w 428"/>
                <a:gd name="T119" fmla="*/ 30 h 437"/>
                <a:gd name="T120" fmla="*/ 259 w 428"/>
                <a:gd name="T121" fmla="*/ 41 h 437"/>
                <a:gd name="T122" fmla="*/ 268 w 428"/>
                <a:gd name="T123" fmla="*/ 52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28" h="437">
                  <a:moveTo>
                    <a:pt x="275" y="62"/>
                  </a:moveTo>
                  <a:cubicBezTo>
                    <a:pt x="279" y="61"/>
                    <a:pt x="284" y="61"/>
                    <a:pt x="289" y="61"/>
                  </a:cubicBezTo>
                  <a:cubicBezTo>
                    <a:pt x="288" y="55"/>
                    <a:pt x="288" y="50"/>
                    <a:pt x="288" y="44"/>
                  </a:cubicBezTo>
                  <a:cubicBezTo>
                    <a:pt x="290" y="45"/>
                    <a:pt x="292" y="46"/>
                    <a:pt x="294" y="46"/>
                  </a:cubicBezTo>
                  <a:cubicBezTo>
                    <a:pt x="294" y="46"/>
                    <a:pt x="295" y="46"/>
                    <a:pt x="295" y="46"/>
                  </a:cubicBezTo>
                  <a:cubicBezTo>
                    <a:pt x="295" y="46"/>
                    <a:pt x="295" y="46"/>
                    <a:pt x="295" y="47"/>
                  </a:cubicBezTo>
                  <a:cubicBezTo>
                    <a:pt x="296" y="47"/>
                    <a:pt x="297" y="47"/>
                    <a:pt x="297" y="47"/>
                  </a:cubicBezTo>
                  <a:cubicBezTo>
                    <a:pt x="297" y="47"/>
                    <a:pt x="297" y="47"/>
                    <a:pt x="297" y="47"/>
                  </a:cubicBezTo>
                  <a:cubicBezTo>
                    <a:pt x="298" y="48"/>
                    <a:pt x="298" y="49"/>
                    <a:pt x="299" y="50"/>
                  </a:cubicBezTo>
                  <a:cubicBezTo>
                    <a:pt x="299" y="50"/>
                    <a:pt x="299" y="50"/>
                    <a:pt x="299" y="50"/>
                  </a:cubicBezTo>
                  <a:cubicBezTo>
                    <a:pt x="299" y="50"/>
                    <a:pt x="299" y="51"/>
                    <a:pt x="299" y="51"/>
                  </a:cubicBezTo>
                  <a:cubicBezTo>
                    <a:pt x="300" y="51"/>
                    <a:pt x="300" y="51"/>
                    <a:pt x="300" y="51"/>
                  </a:cubicBezTo>
                  <a:cubicBezTo>
                    <a:pt x="300" y="52"/>
                    <a:pt x="300" y="52"/>
                    <a:pt x="300" y="53"/>
                  </a:cubicBezTo>
                  <a:cubicBezTo>
                    <a:pt x="301" y="53"/>
                    <a:pt x="301" y="53"/>
                    <a:pt x="301" y="53"/>
                  </a:cubicBezTo>
                  <a:cubicBezTo>
                    <a:pt x="301" y="53"/>
                    <a:pt x="301" y="53"/>
                    <a:pt x="301" y="54"/>
                  </a:cubicBezTo>
                  <a:cubicBezTo>
                    <a:pt x="301" y="54"/>
                    <a:pt x="302" y="54"/>
                    <a:pt x="302" y="54"/>
                  </a:cubicBezTo>
                  <a:cubicBezTo>
                    <a:pt x="302" y="54"/>
                    <a:pt x="302" y="55"/>
                    <a:pt x="302" y="55"/>
                  </a:cubicBezTo>
                  <a:cubicBezTo>
                    <a:pt x="302" y="55"/>
                    <a:pt x="303" y="56"/>
                    <a:pt x="303" y="56"/>
                  </a:cubicBezTo>
                  <a:cubicBezTo>
                    <a:pt x="303" y="56"/>
                    <a:pt x="303" y="56"/>
                    <a:pt x="303" y="56"/>
                  </a:cubicBezTo>
                  <a:cubicBezTo>
                    <a:pt x="303" y="57"/>
                    <a:pt x="304" y="58"/>
                    <a:pt x="305" y="59"/>
                  </a:cubicBezTo>
                  <a:cubicBezTo>
                    <a:pt x="310" y="59"/>
                    <a:pt x="315" y="59"/>
                    <a:pt x="321" y="59"/>
                  </a:cubicBezTo>
                  <a:cubicBezTo>
                    <a:pt x="321" y="61"/>
                    <a:pt x="321" y="61"/>
                    <a:pt x="322" y="62"/>
                  </a:cubicBezTo>
                  <a:cubicBezTo>
                    <a:pt x="322" y="62"/>
                    <a:pt x="322" y="63"/>
                    <a:pt x="322" y="63"/>
                  </a:cubicBezTo>
                  <a:cubicBezTo>
                    <a:pt x="323" y="63"/>
                    <a:pt x="323" y="64"/>
                    <a:pt x="323" y="64"/>
                  </a:cubicBezTo>
                  <a:cubicBezTo>
                    <a:pt x="323" y="64"/>
                    <a:pt x="323" y="65"/>
                    <a:pt x="323" y="65"/>
                  </a:cubicBezTo>
                  <a:cubicBezTo>
                    <a:pt x="324" y="65"/>
                    <a:pt x="324" y="65"/>
                    <a:pt x="324" y="65"/>
                  </a:cubicBezTo>
                  <a:cubicBezTo>
                    <a:pt x="324" y="66"/>
                    <a:pt x="324" y="66"/>
                    <a:pt x="325" y="67"/>
                  </a:cubicBezTo>
                  <a:cubicBezTo>
                    <a:pt x="325" y="67"/>
                    <a:pt x="325" y="67"/>
                    <a:pt x="325" y="67"/>
                  </a:cubicBezTo>
                  <a:cubicBezTo>
                    <a:pt x="325" y="68"/>
                    <a:pt x="326" y="69"/>
                    <a:pt x="326" y="69"/>
                  </a:cubicBezTo>
                  <a:cubicBezTo>
                    <a:pt x="326" y="69"/>
                    <a:pt x="326" y="70"/>
                    <a:pt x="327" y="70"/>
                  </a:cubicBezTo>
                  <a:cubicBezTo>
                    <a:pt x="327" y="70"/>
                    <a:pt x="327" y="71"/>
                    <a:pt x="327" y="71"/>
                  </a:cubicBezTo>
                  <a:cubicBezTo>
                    <a:pt x="327" y="71"/>
                    <a:pt x="327" y="71"/>
                    <a:pt x="328" y="71"/>
                  </a:cubicBezTo>
                  <a:cubicBezTo>
                    <a:pt x="328" y="72"/>
                    <a:pt x="328" y="72"/>
                    <a:pt x="328" y="72"/>
                  </a:cubicBezTo>
                  <a:cubicBezTo>
                    <a:pt x="328" y="73"/>
                    <a:pt x="329" y="73"/>
                    <a:pt x="329" y="75"/>
                  </a:cubicBezTo>
                  <a:cubicBezTo>
                    <a:pt x="329" y="75"/>
                    <a:pt x="330" y="75"/>
                    <a:pt x="330" y="75"/>
                  </a:cubicBezTo>
                  <a:cubicBezTo>
                    <a:pt x="330" y="75"/>
                    <a:pt x="330" y="75"/>
                    <a:pt x="330" y="75"/>
                  </a:cubicBezTo>
                  <a:cubicBezTo>
                    <a:pt x="330" y="75"/>
                    <a:pt x="331" y="75"/>
                    <a:pt x="331" y="76"/>
                  </a:cubicBezTo>
                  <a:cubicBezTo>
                    <a:pt x="331" y="76"/>
                    <a:pt x="331" y="76"/>
                    <a:pt x="332" y="76"/>
                  </a:cubicBezTo>
                  <a:cubicBezTo>
                    <a:pt x="332" y="76"/>
                    <a:pt x="332" y="76"/>
                    <a:pt x="332" y="76"/>
                  </a:cubicBezTo>
                  <a:cubicBezTo>
                    <a:pt x="332" y="77"/>
                    <a:pt x="332" y="77"/>
                    <a:pt x="333" y="77"/>
                  </a:cubicBezTo>
                  <a:cubicBezTo>
                    <a:pt x="333" y="77"/>
                    <a:pt x="333" y="77"/>
                    <a:pt x="333" y="77"/>
                  </a:cubicBezTo>
                  <a:cubicBezTo>
                    <a:pt x="333" y="77"/>
                    <a:pt x="334" y="77"/>
                    <a:pt x="334" y="78"/>
                  </a:cubicBezTo>
                  <a:cubicBezTo>
                    <a:pt x="334" y="78"/>
                    <a:pt x="334" y="78"/>
                    <a:pt x="334" y="78"/>
                  </a:cubicBezTo>
                  <a:cubicBezTo>
                    <a:pt x="335" y="78"/>
                    <a:pt x="335" y="78"/>
                    <a:pt x="335" y="79"/>
                  </a:cubicBezTo>
                  <a:cubicBezTo>
                    <a:pt x="335" y="79"/>
                    <a:pt x="335" y="79"/>
                    <a:pt x="336" y="79"/>
                  </a:cubicBezTo>
                  <a:cubicBezTo>
                    <a:pt x="336" y="79"/>
                    <a:pt x="336" y="79"/>
                    <a:pt x="336" y="79"/>
                  </a:cubicBezTo>
                  <a:cubicBezTo>
                    <a:pt x="336" y="79"/>
                    <a:pt x="336" y="79"/>
                    <a:pt x="337" y="79"/>
                  </a:cubicBezTo>
                  <a:cubicBezTo>
                    <a:pt x="337" y="80"/>
                    <a:pt x="337" y="80"/>
                    <a:pt x="337" y="80"/>
                  </a:cubicBezTo>
                  <a:cubicBezTo>
                    <a:pt x="337" y="80"/>
                    <a:pt x="338" y="80"/>
                    <a:pt x="338" y="80"/>
                  </a:cubicBezTo>
                  <a:cubicBezTo>
                    <a:pt x="338" y="80"/>
                    <a:pt x="338" y="81"/>
                    <a:pt x="339" y="81"/>
                  </a:cubicBezTo>
                  <a:cubicBezTo>
                    <a:pt x="339" y="81"/>
                    <a:pt x="339" y="81"/>
                    <a:pt x="339" y="81"/>
                  </a:cubicBezTo>
                  <a:cubicBezTo>
                    <a:pt x="339" y="81"/>
                    <a:pt x="339" y="82"/>
                    <a:pt x="340" y="82"/>
                  </a:cubicBezTo>
                  <a:cubicBezTo>
                    <a:pt x="340" y="82"/>
                    <a:pt x="340" y="82"/>
                    <a:pt x="340" y="82"/>
                  </a:cubicBezTo>
                  <a:cubicBezTo>
                    <a:pt x="340" y="82"/>
                    <a:pt x="340" y="82"/>
                    <a:pt x="340" y="82"/>
                  </a:cubicBezTo>
                  <a:cubicBezTo>
                    <a:pt x="341" y="82"/>
                    <a:pt x="341" y="82"/>
                    <a:pt x="341" y="83"/>
                  </a:cubicBezTo>
                  <a:cubicBezTo>
                    <a:pt x="341" y="83"/>
                    <a:pt x="342" y="83"/>
                    <a:pt x="342" y="83"/>
                  </a:cubicBezTo>
                  <a:cubicBezTo>
                    <a:pt x="342" y="83"/>
                    <a:pt x="342" y="83"/>
                    <a:pt x="342" y="83"/>
                  </a:cubicBezTo>
                  <a:cubicBezTo>
                    <a:pt x="343" y="84"/>
                    <a:pt x="343" y="84"/>
                    <a:pt x="343" y="84"/>
                  </a:cubicBezTo>
                  <a:cubicBezTo>
                    <a:pt x="343" y="84"/>
                    <a:pt x="344" y="84"/>
                    <a:pt x="344" y="84"/>
                  </a:cubicBezTo>
                  <a:cubicBezTo>
                    <a:pt x="344" y="84"/>
                    <a:pt x="344" y="85"/>
                    <a:pt x="344" y="85"/>
                  </a:cubicBezTo>
                  <a:cubicBezTo>
                    <a:pt x="344" y="85"/>
                    <a:pt x="344" y="85"/>
                    <a:pt x="345" y="85"/>
                  </a:cubicBezTo>
                  <a:cubicBezTo>
                    <a:pt x="345" y="85"/>
                    <a:pt x="345" y="86"/>
                    <a:pt x="345" y="86"/>
                  </a:cubicBezTo>
                  <a:cubicBezTo>
                    <a:pt x="345" y="86"/>
                    <a:pt x="346" y="86"/>
                    <a:pt x="346" y="86"/>
                  </a:cubicBezTo>
                  <a:cubicBezTo>
                    <a:pt x="346" y="86"/>
                    <a:pt x="346" y="86"/>
                    <a:pt x="347" y="87"/>
                  </a:cubicBezTo>
                  <a:cubicBezTo>
                    <a:pt x="347" y="87"/>
                    <a:pt x="347" y="87"/>
                    <a:pt x="347" y="87"/>
                  </a:cubicBezTo>
                  <a:cubicBezTo>
                    <a:pt x="347" y="87"/>
                    <a:pt x="347" y="87"/>
                    <a:pt x="347" y="87"/>
                  </a:cubicBezTo>
                  <a:cubicBezTo>
                    <a:pt x="348" y="87"/>
                    <a:pt x="348" y="87"/>
                    <a:pt x="348" y="87"/>
                  </a:cubicBezTo>
                  <a:cubicBezTo>
                    <a:pt x="348" y="88"/>
                    <a:pt x="349" y="88"/>
                    <a:pt x="349" y="88"/>
                  </a:cubicBezTo>
                  <a:cubicBezTo>
                    <a:pt x="349" y="88"/>
                    <a:pt x="349" y="88"/>
                    <a:pt x="349" y="88"/>
                  </a:cubicBezTo>
                  <a:cubicBezTo>
                    <a:pt x="350" y="89"/>
                    <a:pt x="350" y="89"/>
                    <a:pt x="350" y="89"/>
                  </a:cubicBezTo>
                  <a:cubicBezTo>
                    <a:pt x="350" y="89"/>
                    <a:pt x="351" y="89"/>
                    <a:pt x="351" y="89"/>
                  </a:cubicBezTo>
                  <a:cubicBezTo>
                    <a:pt x="351" y="89"/>
                    <a:pt x="351" y="90"/>
                    <a:pt x="351" y="90"/>
                  </a:cubicBezTo>
                  <a:cubicBezTo>
                    <a:pt x="351" y="90"/>
                    <a:pt x="352" y="90"/>
                    <a:pt x="352" y="90"/>
                  </a:cubicBezTo>
                  <a:cubicBezTo>
                    <a:pt x="352" y="90"/>
                    <a:pt x="352" y="90"/>
                    <a:pt x="352" y="90"/>
                  </a:cubicBezTo>
                  <a:cubicBezTo>
                    <a:pt x="352" y="90"/>
                    <a:pt x="353" y="91"/>
                    <a:pt x="353" y="91"/>
                  </a:cubicBezTo>
                  <a:cubicBezTo>
                    <a:pt x="353" y="91"/>
                    <a:pt x="353" y="91"/>
                    <a:pt x="353" y="91"/>
                  </a:cubicBezTo>
                  <a:cubicBezTo>
                    <a:pt x="353" y="91"/>
                    <a:pt x="354" y="91"/>
                    <a:pt x="354" y="91"/>
                  </a:cubicBezTo>
                  <a:cubicBezTo>
                    <a:pt x="354" y="92"/>
                    <a:pt x="354" y="92"/>
                    <a:pt x="355" y="92"/>
                  </a:cubicBezTo>
                  <a:cubicBezTo>
                    <a:pt x="355" y="92"/>
                    <a:pt x="355" y="92"/>
                    <a:pt x="355" y="92"/>
                  </a:cubicBezTo>
                  <a:cubicBezTo>
                    <a:pt x="355" y="93"/>
                    <a:pt x="356" y="93"/>
                    <a:pt x="356" y="93"/>
                  </a:cubicBezTo>
                  <a:cubicBezTo>
                    <a:pt x="356" y="93"/>
                    <a:pt x="356" y="93"/>
                    <a:pt x="356" y="93"/>
                  </a:cubicBezTo>
                  <a:cubicBezTo>
                    <a:pt x="356" y="93"/>
                    <a:pt x="357" y="94"/>
                    <a:pt x="357" y="94"/>
                  </a:cubicBezTo>
                  <a:cubicBezTo>
                    <a:pt x="357" y="94"/>
                    <a:pt x="357" y="94"/>
                    <a:pt x="358" y="94"/>
                  </a:cubicBezTo>
                  <a:cubicBezTo>
                    <a:pt x="358" y="97"/>
                    <a:pt x="358" y="100"/>
                    <a:pt x="358" y="104"/>
                  </a:cubicBezTo>
                  <a:cubicBezTo>
                    <a:pt x="358" y="104"/>
                    <a:pt x="358" y="107"/>
                    <a:pt x="358" y="108"/>
                  </a:cubicBezTo>
                  <a:cubicBezTo>
                    <a:pt x="358" y="112"/>
                    <a:pt x="358" y="116"/>
                    <a:pt x="358" y="119"/>
                  </a:cubicBezTo>
                  <a:cubicBezTo>
                    <a:pt x="360" y="119"/>
                    <a:pt x="362" y="120"/>
                    <a:pt x="363" y="120"/>
                  </a:cubicBezTo>
                  <a:cubicBezTo>
                    <a:pt x="364" y="120"/>
                    <a:pt x="365" y="120"/>
                    <a:pt x="367" y="120"/>
                  </a:cubicBezTo>
                  <a:cubicBezTo>
                    <a:pt x="367" y="120"/>
                    <a:pt x="367" y="120"/>
                    <a:pt x="367" y="120"/>
                  </a:cubicBezTo>
                  <a:cubicBezTo>
                    <a:pt x="367" y="120"/>
                    <a:pt x="368" y="120"/>
                    <a:pt x="369" y="120"/>
                  </a:cubicBezTo>
                  <a:cubicBezTo>
                    <a:pt x="369" y="120"/>
                    <a:pt x="369" y="121"/>
                    <a:pt x="369" y="121"/>
                  </a:cubicBezTo>
                  <a:cubicBezTo>
                    <a:pt x="370" y="121"/>
                    <a:pt x="371" y="121"/>
                    <a:pt x="372" y="121"/>
                  </a:cubicBezTo>
                  <a:cubicBezTo>
                    <a:pt x="372" y="121"/>
                    <a:pt x="372" y="121"/>
                    <a:pt x="372" y="121"/>
                  </a:cubicBezTo>
                  <a:cubicBezTo>
                    <a:pt x="373" y="121"/>
                    <a:pt x="374" y="121"/>
                    <a:pt x="375" y="121"/>
                  </a:cubicBezTo>
                  <a:cubicBezTo>
                    <a:pt x="375" y="121"/>
                    <a:pt x="375" y="121"/>
                    <a:pt x="375" y="121"/>
                  </a:cubicBezTo>
                  <a:cubicBezTo>
                    <a:pt x="376" y="121"/>
                    <a:pt x="377" y="121"/>
                    <a:pt x="378" y="121"/>
                  </a:cubicBezTo>
                  <a:cubicBezTo>
                    <a:pt x="378" y="122"/>
                    <a:pt x="378" y="122"/>
                    <a:pt x="378" y="122"/>
                  </a:cubicBezTo>
                  <a:cubicBezTo>
                    <a:pt x="379" y="122"/>
                    <a:pt x="380" y="122"/>
                    <a:pt x="381" y="122"/>
                  </a:cubicBezTo>
                  <a:cubicBezTo>
                    <a:pt x="381" y="122"/>
                    <a:pt x="381" y="122"/>
                    <a:pt x="381" y="122"/>
                  </a:cubicBezTo>
                  <a:cubicBezTo>
                    <a:pt x="382" y="122"/>
                    <a:pt x="383" y="122"/>
                    <a:pt x="384" y="122"/>
                  </a:cubicBezTo>
                  <a:cubicBezTo>
                    <a:pt x="384" y="122"/>
                    <a:pt x="384" y="122"/>
                    <a:pt x="384" y="122"/>
                  </a:cubicBezTo>
                  <a:cubicBezTo>
                    <a:pt x="385" y="122"/>
                    <a:pt x="386" y="122"/>
                    <a:pt x="387" y="122"/>
                  </a:cubicBezTo>
                  <a:cubicBezTo>
                    <a:pt x="387" y="123"/>
                    <a:pt x="387" y="123"/>
                    <a:pt x="387" y="123"/>
                  </a:cubicBezTo>
                  <a:cubicBezTo>
                    <a:pt x="387" y="123"/>
                    <a:pt x="388" y="123"/>
                    <a:pt x="388" y="123"/>
                  </a:cubicBezTo>
                  <a:cubicBezTo>
                    <a:pt x="388" y="123"/>
                    <a:pt x="388" y="123"/>
                    <a:pt x="388" y="123"/>
                  </a:cubicBezTo>
                  <a:cubicBezTo>
                    <a:pt x="388" y="123"/>
                    <a:pt x="389" y="123"/>
                    <a:pt x="389" y="123"/>
                  </a:cubicBezTo>
                  <a:cubicBezTo>
                    <a:pt x="389" y="124"/>
                    <a:pt x="389" y="124"/>
                    <a:pt x="390" y="124"/>
                  </a:cubicBezTo>
                  <a:cubicBezTo>
                    <a:pt x="390" y="124"/>
                    <a:pt x="390" y="124"/>
                    <a:pt x="390" y="124"/>
                  </a:cubicBezTo>
                  <a:cubicBezTo>
                    <a:pt x="390" y="124"/>
                    <a:pt x="391" y="125"/>
                    <a:pt x="391" y="125"/>
                  </a:cubicBezTo>
                  <a:cubicBezTo>
                    <a:pt x="391" y="125"/>
                    <a:pt x="391" y="125"/>
                    <a:pt x="391" y="125"/>
                  </a:cubicBezTo>
                  <a:cubicBezTo>
                    <a:pt x="392" y="125"/>
                    <a:pt x="392" y="126"/>
                    <a:pt x="392" y="126"/>
                  </a:cubicBezTo>
                  <a:cubicBezTo>
                    <a:pt x="392" y="126"/>
                    <a:pt x="393" y="126"/>
                    <a:pt x="393" y="126"/>
                  </a:cubicBezTo>
                  <a:cubicBezTo>
                    <a:pt x="393" y="126"/>
                    <a:pt x="393" y="126"/>
                    <a:pt x="393" y="127"/>
                  </a:cubicBezTo>
                  <a:cubicBezTo>
                    <a:pt x="393" y="127"/>
                    <a:pt x="394" y="127"/>
                    <a:pt x="394" y="127"/>
                  </a:cubicBezTo>
                  <a:cubicBezTo>
                    <a:pt x="394" y="127"/>
                    <a:pt x="394" y="127"/>
                    <a:pt x="394" y="127"/>
                  </a:cubicBezTo>
                  <a:cubicBezTo>
                    <a:pt x="394" y="127"/>
                    <a:pt x="395" y="128"/>
                    <a:pt x="395" y="128"/>
                  </a:cubicBezTo>
                  <a:cubicBezTo>
                    <a:pt x="395" y="128"/>
                    <a:pt x="396" y="128"/>
                    <a:pt x="396" y="129"/>
                  </a:cubicBezTo>
                  <a:cubicBezTo>
                    <a:pt x="396" y="129"/>
                    <a:pt x="396" y="129"/>
                    <a:pt x="397" y="129"/>
                  </a:cubicBezTo>
                  <a:cubicBezTo>
                    <a:pt x="397" y="129"/>
                    <a:pt x="397" y="129"/>
                    <a:pt x="397" y="129"/>
                  </a:cubicBezTo>
                  <a:cubicBezTo>
                    <a:pt x="397" y="129"/>
                    <a:pt x="397" y="129"/>
                    <a:pt x="398" y="129"/>
                  </a:cubicBezTo>
                  <a:cubicBezTo>
                    <a:pt x="398" y="130"/>
                    <a:pt x="398" y="130"/>
                    <a:pt x="398" y="131"/>
                  </a:cubicBezTo>
                  <a:cubicBezTo>
                    <a:pt x="399" y="131"/>
                    <a:pt x="399" y="131"/>
                    <a:pt x="399" y="131"/>
                  </a:cubicBezTo>
                  <a:cubicBezTo>
                    <a:pt x="399" y="131"/>
                    <a:pt x="399" y="131"/>
                    <a:pt x="399" y="131"/>
                  </a:cubicBezTo>
                  <a:cubicBezTo>
                    <a:pt x="400" y="131"/>
                    <a:pt x="400" y="131"/>
                    <a:pt x="400" y="131"/>
                  </a:cubicBezTo>
                  <a:cubicBezTo>
                    <a:pt x="400" y="132"/>
                    <a:pt x="401" y="132"/>
                    <a:pt x="401" y="132"/>
                  </a:cubicBezTo>
                  <a:cubicBezTo>
                    <a:pt x="401" y="132"/>
                    <a:pt x="401" y="132"/>
                    <a:pt x="401" y="132"/>
                  </a:cubicBezTo>
                  <a:cubicBezTo>
                    <a:pt x="402" y="132"/>
                    <a:pt x="402" y="133"/>
                    <a:pt x="402" y="133"/>
                  </a:cubicBezTo>
                  <a:cubicBezTo>
                    <a:pt x="402" y="133"/>
                    <a:pt x="402" y="133"/>
                    <a:pt x="403" y="133"/>
                  </a:cubicBezTo>
                  <a:cubicBezTo>
                    <a:pt x="403" y="133"/>
                    <a:pt x="403" y="134"/>
                    <a:pt x="403" y="134"/>
                  </a:cubicBezTo>
                  <a:cubicBezTo>
                    <a:pt x="403" y="134"/>
                    <a:pt x="404" y="134"/>
                    <a:pt x="404" y="134"/>
                  </a:cubicBezTo>
                  <a:cubicBezTo>
                    <a:pt x="404" y="134"/>
                    <a:pt x="404" y="134"/>
                    <a:pt x="404" y="135"/>
                  </a:cubicBezTo>
                  <a:cubicBezTo>
                    <a:pt x="405" y="135"/>
                    <a:pt x="405" y="135"/>
                    <a:pt x="405" y="135"/>
                  </a:cubicBezTo>
                  <a:cubicBezTo>
                    <a:pt x="405" y="135"/>
                    <a:pt x="405" y="135"/>
                    <a:pt x="406" y="136"/>
                  </a:cubicBezTo>
                  <a:cubicBezTo>
                    <a:pt x="406" y="136"/>
                    <a:pt x="406" y="136"/>
                    <a:pt x="406" y="136"/>
                  </a:cubicBezTo>
                  <a:cubicBezTo>
                    <a:pt x="406" y="136"/>
                    <a:pt x="407" y="136"/>
                    <a:pt x="407" y="136"/>
                  </a:cubicBezTo>
                  <a:cubicBezTo>
                    <a:pt x="407" y="136"/>
                    <a:pt x="407" y="136"/>
                    <a:pt x="407" y="136"/>
                  </a:cubicBezTo>
                  <a:cubicBezTo>
                    <a:pt x="408" y="137"/>
                    <a:pt x="408" y="137"/>
                    <a:pt x="408" y="137"/>
                  </a:cubicBezTo>
                  <a:cubicBezTo>
                    <a:pt x="408" y="137"/>
                    <a:pt x="409" y="137"/>
                    <a:pt x="409" y="137"/>
                  </a:cubicBezTo>
                  <a:cubicBezTo>
                    <a:pt x="409" y="138"/>
                    <a:pt x="409" y="138"/>
                    <a:pt x="409" y="138"/>
                  </a:cubicBezTo>
                  <a:cubicBezTo>
                    <a:pt x="409" y="138"/>
                    <a:pt x="410" y="138"/>
                    <a:pt x="410" y="138"/>
                  </a:cubicBezTo>
                  <a:cubicBezTo>
                    <a:pt x="410" y="138"/>
                    <a:pt x="410" y="139"/>
                    <a:pt x="410" y="139"/>
                  </a:cubicBezTo>
                  <a:cubicBezTo>
                    <a:pt x="411" y="139"/>
                    <a:pt x="411" y="139"/>
                    <a:pt x="411" y="139"/>
                  </a:cubicBezTo>
                  <a:cubicBezTo>
                    <a:pt x="412" y="140"/>
                    <a:pt x="412" y="140"/>
                    <a:pt x="412" y="140"/>
                  </a:cubicBezTo>
                  <a:cubicBezTo>
                    <a:pt x="412" y="140"/>
                    <a:pt x="412" y="140"/>
                    <a:pt x="413" y="140"/>
                  </a:cubicBezTo>
                  <a:cubicBezTo>
                    <a:pt x="413" y="141"/>
                    <a:pt x="413" y="141"/>
                    <a:pt x="413" y="141"/>
                  </a:cubicBezTo>
                  <a:cubicBezTo>
                    <a:pt x="413" y="141"/>
                    <a:pt x="413" y="141"/>
                    <a:pt x="414" y="141"/>
                  </a:cubicBezTo>
                  <a:cubicBezTo>
                    <a:pt x="414" y="141"/>
                    <a:pt x="414" y="142"/>
                    <a:pt x="414" y="142"/>
                  </a:cubicBezTo>
                  <a:cubicBezTo>
                    <a:pt x="415" y="142"/>
                    <a:pt x="415" y="142"/>
                    <a:pt x="415" y="142"/>
                  </a:cubicBezTo>
                  <a:cubicBezTo>
                    <a:pt x="415" y="142"/>
                    <a:pt x="415" y="143"/>
                    <a:pt x="415" y="143"/>
                  </a:cubicBezTo>
                  <a:cubicBezTo>
                    <a:pt x="416" y="143"/>
                    <a:pt x="416" y="143"/>
                    <a:pt x="416" y="143"/>
                  </a:cubicBezTo>
                  <a:cubicBezTo>
                    <a:pt x="416" y="143"/>
                    <a:pt x="417" y="143"/>
                    <a:pt x="417" y="144"/>
                  </a:cubicBezTo>
                  <a:cubicBezTo>
                    <a:pt x="417" y="144"/>
                    <a:pt x="417" y="144"/>
                    <a:pt x="418" y="144"/>
                  </a:cubicBezTo>
                  <a:cubicBezTo>
                    <a:pt x="418" y="144"/>
                    <a:pt x="418" y="144"/>
                    <a:pt x="418" y="144"/>
                  </a:cubicBezTo>
                  <a:cubicBezTo>
                    <a:pt x="418" y="144"/>
                    <a:pt x="418" y="144"/>
                    <a:pt x="419" y="144"/>
                  </a:cubicBezTo>
                  <a:cubicBezTo>
                    <a:pt x="419" y="145"/>
                    <a:pt x="419" y="145"/>
                    <a:pt x="419" y="146"/>
                  </a:cubicBezTo>
                  <a:cubicBezTo>
                    <a:pt x="420" y="146"/>
                    <a:pt x="420" y="146"/>
                    <a:pt x="420" y="146"/>
                  </a:cubicBezTo>
                  <a:cubicBezTo>
                    <a:pt x="420" y="146"/>
                    <a:pt x="420" y="146"/>
                    <a:pt x="420" y="146"/>
                  </a:cubicBezTo>
                  <a:cubicBezTo>
                    <a:pt x="421" y="146"/>
                    <a:pt x="421" y="146"/>
                    <a:pt x="421" y="146"/>
                  </a:cubicBezTo>
                  <a:cubicBezTo>
                    <a:pt x="421" y="147"/>
                    <a:pt x="422" y="147"/>
                    <a:pt x="422" y="147"/>
                  </a:cubicBezTo>
                  <a:cubicBezTo>
                    <a:pt x="422" y="147"/>
                    <a:pt x="422" y="147"/>
                    <a:pt x="422" y="147"/>
                  </a:cubicBezTo>
                  <a:cubicBezTo>
                    <a:pt x="423" y="148"/>
                    <a:pt x="423" y="148"/>
                    <a:pt x="423" y="148"/>
                  </a:cubicBezTo>
                  <a:cubicBezTo>
                    <a:pt x="423" y="148"/>
                    <a:pt x="423" y="148"/>
                    <a:pt x="424" y="148"/>
                  </a:cubicBezTo>
                  <a:cubicBezTo>
                    <a:pt x="424" y="148"/>
                    <a:pt x="424" y="149"/>
                    <a:pt x="424" y="149"/>
                  </a:cubicBezTo>
                  <a:cubicBezTo>
                    <a:pt x="424" y="149"/>
                    <a:pt x="425" y="149"/>
                    <a:pt x="425" y="149"/>
                  </a:cubicBezTo>
                  <a:cubicBezTo>
                    <a:pt x="425" y="149"/>
                    <a:pt x="425" y="150"/>
                    <a:pt x="425" y="150"/>
                  </a:cubicBezTo>
                  <a:cubicBezTo>
                    <a:pt x="425" y="150"/>
                    <a:pt x="426" y="150"/>
                    <a:pt x="426" y="150"/>
                  </a:cubicBezTo>
                  <a:cubicBezTo>
                    <a:pt x="426" y="150"/>
                    <a:pt x="426" y="150"/>
                    <a:pt x="426" y="150"/>
                  </a:cubicBezTo>
                  <a:cubicBezTo>
                    <a:pt x="426" y="150"/>
                    <a:pt x="427" y="151"/>
                    <a:pt x="427" y="151"/>
                  </a:cubicBezTo>
                  <a:cubicBezTo>
                    <a:pt x="428" y="165"/>
                    <a:pt x="428" y="179"/>
                    <a:pt x="428" y="193"/>
                  </a:cubicBezTo>
                  <a:cubicBezTo>
                    <a:pt x="428" y="193"/>
                    <a:pt x="428" y="193"/>
                    <a:pt x="427" y="193"/>
                  </a:cubicBezTo>
                  <a:cubicBezTo>
                    <a:pt x="427" y="194"/>
                    <a:pt x="427" y="194"/>
                    <a:pt x="427" y="194"/>
                  </a:cubicBezTo>
                  <a:cubicBezTo>
                    <a:pt x="427" y="194"/>
                    <a:pt x="426" y="194"/>
                    <a:pt x="426" y="194"/>
                  </a:cubicBezTo>
                  <a:cubicBezTo>
                    <a:pt x="426" y="194"/>
                    <a:pt x="426" y="194"/>
                    <a:pt x="426" y="195"/>
                  </a:cubicBezTo>
                  <a:cubicBezTo>
                    <a:pt x="426" y="195"/>
                    <a:pt x="425" y="195"/>
                    <a:pt x="425" y="195"/>
                  </a:cubicBezTo>
                  <a:cubicBezTo>
                    <a:pt x="425" y="195"/>
                    <a:pt x="425" y="195"/>
                    <a:pt x="425" y="196"/>
                  </a:cubicBezTo>
                  <a:cubicBezTo>
                    <a:pt x="424" y="196"/>
                    <a:pt x="424" y="196"/>
                    <a:pt x="424" y="196"/>
                  </a:cubicBezTo>
                  <a:cubicBezTo>
                    <a:pt x="424" y="196"/>
                    <a:pt x="424" y="196"/>
                    <a:pt x="424" y="196"/>
                  </a:cubicBezTo>
                  <a:cubicBezTo>
                    <a:pt x="423" y="196"/>
                    <a:pt x="423" y="196"/>
                    <a:pt x="422" y="197"/>
                  </a:cubicBezTo>
                  <a:cubicBezTo>
                    <a:pt x="422" y="197"/>
                    <a:pt x="422" y="197"/>
                    <a:pt x="422" y="197"/>
                  </a:cubicBezTo>
                  <a:cubicBezTo>
                    <a:pt x="422" y="197"/>
                    <a:pt x="422" y="197"/>
                    <a:pt x="421" y="197"/>
                  </a:cubicBezTo>
                  <a:cubicBezTo>
                    <a:pt x="421" y="198"/>
                    <a:pt x="421" y="198"/>
                    <a:pt x="421" y="198"/>
                  </a:cubicBezTo>
                  <a:cubicBezTo>
                    <a:pt x="420" y="198"/>
                    <a:pt x="420" y="198"/>
                    <a:pt x="420" y="198"/>
                  </a:cubicBezTo>
                  <a:cubicBezTo>
                    <a:pt x="420" y="198"/>
                    <a:pt x="420" y="198"/>
                    <a:pt x="420" y="199"/>
                  </a:cubicBezTo>
                  <a:cubicBezTo>
                    <a:pt x="419" y="199"/>
                    <a:pt x="419" y="199"/>
                    <a:pt x="419" y="199"/>
                  </a:cubicBezTo>
                  <a:cubicBezTo>
                    <a:pt x="419" y="199"/>
                    <a:pt x="419" y="199"/>
                    <a:pt x="419" y="199"/>
                  </a:cubicBezTo>
                  <a:cubicBezTo>
                    <a:pt x="418" y="200"/>
                    <a:pt x="418" y="200"/>
                    <a:pt x="417" y="200"/>
                  </a:cubicBezTo>
                  <a:cubicBezTo>
                    <a:pt x="417" y="200"/>
                    <a:pt x="417" y="200"/>
                    <a:pt x="417" y="200"/>
                  </a:cubicBezTo>
                  <a:cubicBezTo>
                    <a:pt x="417" y="200"/>
                    <a:pt x="416" y="200"/>
                    <a:pt x="416" y="200"/>
                  </a:cubicBezTo>
                  <a:cubicBezTo>
                    <a:pt x="416" y="201"/>
                    <a:pt x="416" y="201"/>
                    <a:pt x="416" y="201"/>
                  </a:cubicBezTo>
                  <a:cubicBezTo>
                    <a:pt x="416" y="201"/>
                    <a:pt x="415" y="201"/>
                    <a:pt x="415" y="201"/>
                  </a:cubicBezTo>
                  <a:cubicBezTo>
                    <a:pt x="415" y="201"/>
                    <a:pt x="415" y="202"/>
                    <a:pt x="415" y="202"/>
                  </a:cubicBezTo>
                  <a:cubicBezTo>
                    <a:pt x="414" y="202"/>
                    <a:pt x="414" y="202"/>
                    <a:pt x="413" y="202"/>
                  </a:cubicBezTo>
                  <a:cubicBezTo>
                    <a:pt x="413" y="202"/>
                    <a:pt x="413" y="203"/>
                    <a:pt x="413" y="203"/>
                  </a:cubicBezTo>
                  <a:cubicBezTo>
                    <a:pt x="413" y="203"/>
                    <a:pt x="413" y="203"/>
                    <a:pt x="412" y="203"/>
                  </a:cubicBezTo>
                  <a:cubicBezTo>
                    <a:pt x="412" y="203"/>
                    <a:pt x="412" y="203"/>
                    <a:pt x="412" y="204"/>
                  </a:cubicBezTo>
                  <a:cubicBezTo>
                    <a:pt x="412" y="204"/>
                    <a:pt x="412" y="204"/>
                    <a:pt x="411" y="204"/>
                  </a:cubicBezTo>
                  <a:cubicBezTo>
                    <a:pt x="411" y="204"/>
                    <a:pt x="411" y="204"/>
                    <a:pt x="411" y="204"/>
                  </a:cubicBezTo>
                  <a:cubicBezTo>
                    <a:pt x="411" y="204"/>
                    <a:pt x="410" y="204"/>
                    <a:pt x="410" y="204"/>
                  </a:cubicBezTo>
                  <a:cubicBezTo>
                    <a:pt x="410" y="205"/>
                    <a:pt x="410" y="205"/>
                    <a:pt x="410" y="205"/>
                  </a:cubicBezTo>
                  <a:cubicBezTo>
                    <a:pt x="409" y="205"/>
                    <a:pt x="409" y="205"/>
                    <a:pt x="408" y="205"/>
                  </a:cubicBezTo>
                  <a:cubicBezTo>
                    <a:pt x="408" y="206"/>
                    <a:pt x="408" y="206"/>
                    <a:pt x="408" y="206"/>
                  </a:cubicBezTo>
                  <a:cubicBezTo>
                    <a:pt x="408" y="206"/>
                    <a:pt x="408" y="206"/>
                    <a:pt x="407" y="206"/>
                  </a:cubicBezTo>
                  <a:cubicBezTo>
                    <a:pt x="407" y="206"/>
                    <a:pt x="407" y="207"/>
                    <a:pt x="407" y="207"/>
                  </a:cubicBezTo>
                  <a:cubicBezTo>
                    <a:pt x="407" y="207"/>
                    <a:pt x="407" y="207"/>
                    <a:pt x="406" y="207"/>
                  </a:cubicBezTo>
                  <a:cubicBezTo>
                    <a:pt x="406" y="207"/>
                    <a:pt x="406" y="207"/>
                    <a:pt x="406" y="207"/>
                  </a:cubicBezTo>
                  <a:cubicBezTo>
                    <a:pt x="406" y="208"/>
                    <a:pt x="405" y="208"/>
                    <a:pt x="405" y="208"/>
                  </a:cubicBezTo>
                  <a:cubicBezTo>
                    <a:pt x="405" y="208"/>
                    <a:pt x="404" y="208"/>
                    <a:pt x="404" y="208"/>
                  </a:cubicBezTo>
                  <a:cubicBezTo>
                    <a:pt x="404" y="208"/>
                    <a:pt x="404" y="208"/>
                    <a:pt x="404" y="208"/>
                  </a:cubicBezTo>
                  <a:cubicBezTo>
                    <a:pt x="403" y="209"/>
                    <a:pt x="403" y="209"/>
                    <a:pt x="403" y="209"/>
                  </a:cubicBezTo>
                  <a:cubicBezTo>
                    <a:pt x="403" y="209"/>
                    <a:pt x="403" y="209"/>
                    <a:pt x="403" y="209"/>
                  </a:cubicBezTo>
                  <a:cubicBezTo>
                    <a:pt x="402" y="209"/>
                    <a:pt x="402" y="210"/>
                    <a:pt x="402" y="210"/>
                  </a:cubicBezTo>
                  <a:cubicBezTo>
                    <a:pt x="402" y="210"/>
                    <a:pt x="401" y="210"/>
                    <a:pt x="401" y="210"/>
                  </a:cubicBezTo>
                  <a:cubicBezTo>
                    <a:pt x="401" y="210"/>
                    <a:pt x="401" y="211"/>
                    <a:pt x="400" y="211"/>
                  </a:cubicBezTo>
                  <a:cubicBezTo>
                    <a:pt x="400" y="211"/>
                    <a:pt x="400" y="211"/>
                    <a:pt x="400" y="211"/>
                  </a:cubicBezTo>
                  <a:cubicBezTo>
                    <a:pt x="400" y="211"/>
                    <a:pt x="399" y="211"/>
                    <a:pt x="399" y="212"/>
                  </a:cubicBezTo>
                  <a:cubicBezTo>
                    <a:pt x="399" y="212"/>
                    <a:pt x="399" y="212"/>
                    <a:pt x="399" y="212"/>
                  </a:cubicBezTo>
                  <a:cubicBezTo>
                    <a:pt x="399" y="212"/>
                    <a:pt x="398" y="212"/>
                    <a:pt x="398" y="212"/>
                  </a:cubicBezTo>
                  <a:cubicBezTo>
                    <a:pt x="398" y="212"/>
                    <a:pt x="397" y="213"/>
                    <a:pt x="397" y="213"/>
                  </a:cubicBezTo>
                  <a:cubicBezTo>
                    <a:pt x="397" y="213"/>
                    <a:pt x="397" y="213"/>
                    <a:pt x="397" y="213"/>
                  </a:cubicBezTo>
                  <a:cubicBezTo>
                    <a:pt x="396" y="213"/>
                    <a:pt x="396" y="213"/>
                    <a:pt x="396" y="213"/>
                  </a:cubicBezTo>
                  <a:cubicBezTo>
                    <a:pt x="396" y="214"/>
                    <a:pt x="396" y="214"/>
                    <a:pt x="396" y="214"/>
                  </a:cubicBezTo>
                  <a:cubicBezTo>
                    <a:pt x="396" y="214"/>
                    <a:pt x="395" y="214"/>
                    <a:pt x="395" y="214"/>
                  </a:cubicBezTo>
                  <a:cubicBezTo>
                    <a:pt x="395" y="214"/>
                    <a:pt x="395" y="214"/>
                    <a:pt x="395" y="214"/>
                  </a:cubicBezTo>
                  <a:cubicBezTo>
                    <a:pt x="395" y="214"/>
                    <a:pt x="395" y="214"/>
                    <a:pt x="394" y="214"/>
                  </a:cubicBezTo>
                  <a:cubicBezTo>
                    <a:pt x="394" y="214"/>
                    <a:pt x="394" y="214"/>
                    <a:pt x="394" y="214"/>
                  </a:cubicBezTo>
                  <a:cubicBezTo>
                    <a:pt x="394" y="214"/>
                    <a:pt x="394" y="214"/>
                    <a:pt x="394" y="214"/>
                  </a:cubicBezTo>
                  <a:cubicBezTo>
                    <a:pt x="394" y="215"/>
                    <a:pt x="394" y="215"/>
                    <a:pt x="394" y="215"/>
                  </a:cubicBezTo>
                  <a:cubicBezTo>
                    <a:pt x="393" y="215"/>
                    <a:pt x="393" y="215"/>
                    <a:pt x="392" y="215"/>
                  </a:cubicBezTo>
                  <a:cubicBezTo>
                    <a:pt x="392" y="215"/>
                    <a:pt x="392" y="216"/>
                    <a:pt x="392" y="216"/>
                  </a:cubicBezTo>
                  <a:cubicBezTo>
                    <a:pt x="392" y="216"/>
                    <a:pt x="392" y="216"/>
                    <a:pt x="391" y="216"/>
                  </a:cubicBezTo>
                  <a:cubicBezTo>
                    <a:pt x="391" y="216"/>
                    <a:pt x="391" y="216"/>
                    <a:pt x="391" y="216"/>
                  </a:cubicBezTo>
                  <a:cubicBezTo>
                    <a:pt x="391" y="216"/>
                    <a:pt x="391" y="216"/>
                    <a:pt x="391" y="216"/>
                  </a:cubicBezTo>
                  <a:cubicBezTo>
                    <a:pt x="391" y="216"/>
                    <a:pt x="391" y="216"/>
                    <a:pt x="391" y="217"/>
                  </a:cubicBezTo>
                  <a:cubicBezTo>
                    <a:pt x="390" y="217"/>
                    <a:pt x="390" y="217"/>
                    <a:pt x="390" y="217"/>
                  </a:cubicBezTo>
                  <a:cubicBezTo>
                    <a:pt x="390" y="217"/>
                    <a:pt x="390" y="217"/>
                    <a:pt x="390" y="217"/>
                  </a:cubicBezTo>
                  <a:cubicBezTo>
                    <a:pt x="390" y="217"/>
                    <a:pt x="389" y="217"/>
                    <a:pt x="389" y="217"/>
                  </a:cubicBezTo>
                  <a:cubicBezTo>
                    <a:pt x="389" y="217"/>
                    <a:pt x="389" y="217"/>
                    <a:pt x="389" y="217"/>
                  </a:cubicBezTo>
                  <a:cubicBezTo>
                    <a:pt x="389" y="217"/>
                    <a:pt x="389" y="217"/>
                    <a:pt x="389" y="217"/>
                  </a:cubicBezTo>
                  <a:cubicBezTo>
                    <a:pt x="388" y="217"/>
                    <a:pt x="388" y="218"/>
                    <a:pt x="388" y="218"/>
                  </a:cubicBezTo>
                  <a:cubicBezTo>
                    <a:pt x="388" y="218"/>
                    <a:pt x="388" y="218"/>
                    <a:pt x="387" y="218"/>
                  </a:cubicBezTo>
                  <a:cubicBezTo>
                    <a:pt x="387" y="218"/>
                    <a:pt x="387" y="218"/>
                    <a:pt x="387" y="218"/>
                  </a:cubicBezTo>
                  <a:cubicBezTo>
                    <a:pt x="387" y="218"/>
                    <a:pt x="387" y="218"/>
                    <a:pt x="387" y="218"/>
                  </a:cubicBezTo>
                  <a:cubicBezTo>
                    <a:pt x="387" y="218"/>
                    <a:pt x="387" y="219"/>
                    <a:pt x="387" y="219"/>
                  </a:cubicBezTo>
                  <a:cubicBezTo>
                    <a:pt x="387" y="219"/>
                    <a:pt x="386" y="219"/>
                    <a:pt x="386" y="219"/>
                  </a:cubicBezTo>
                  <a:cubicBezTo>
                    <a:pt x="386" y="219"/>
                    <a:pt x="386" y="219"/>
                    <a:pt x="386" y="219"/>
                  </a:cubicBezTo>
                  <a:cubicBezTo>
                    <a:pt x="386" y="219"/>
                    <a:pt x="386" y="219"/>
                    <a:pt x="385" y="219"/>
                  </a:cubicBezTo>
                  <a:cubicBezTo>
                    <a:pt x="385" y="219"/>
                    <a:pt x="385" y="219"/>
                    <a:pt x="385" y="219"/>
                  </a:cubicBezTo>
                  <a:cubicBezTo>
                    <a:pt x="385" y="219"/>
                    <a:pt x="385" y="219"/>
                    <a:pt x="385" y="219"/>
                  </a:cubicBezTo>
                  <a:cubicBezTo>
                    <a:pt x="385" y="219"/>
                    <a:pt x="385" y="220"/>
                    <a:pt x="385" y="220"/>
                  </a:cubicBezTo>
                  <a:cubicBezTo>
                    <a:pt x="384" y="220"/>
                    <a:pt x="384" y="220"/>
                    <a:pt x="384" y="220"/>
                  </a:cubicBezTo>
                  <a:cubicBezTo>
                    <a:pt x="384" y="220"/>
                    <a:pt x="384" y="220"/>
                    <a:pt x="384" y="220"/>
                  </a:cubicBezTo>
                  <a:cubicBezTo>
                    <a:pt x="383" y="220"/>
                    <a:pt x="383" y="220"/>
                    <a:pt x="383" y="220"/>
                  </a:cubicBezTo>
                  <a:cubicBezTo>
                    <a:pt x="383" y="220"/>
                    <a:pt x="383" y="221"/>
                    <a:pt x="383" y="221"/>
                  </a:cubicBezTo>
                  <a:cubicBezTo>
                    <a:pt x="383" y="221"/>
                    <a:pt x="382" y="221"/>
                    <a:pt x="382" y="221"/>
                  </a:cubicBezTo>
                  <a:cubicBezTo>
                    <a:pt x="382" y="221"/>
                    <a:pt x="382" y="221"/>
                    <a:pt x="382" y="221"/>
                  </a:cubicBezTo>
                  <a:cubicBezTo>
                    <a:pt x="382" y="221"/>
                    <a:pt x="382" y="221"/>
                    <a:pt x="382" y="221"/>
                  </a:cubicBezTo>
                  <a:cubicBezTo>
                    <a:pt x="382" y="221"/>
                    <a:pt x="382" y="221"/>
                    <a:pt x="382" y="221"/>
                  </a:cubicBezTo>
                  <a:cubicBezTo>
                    <a:pt x="381" y="221"/>
                    <a:pt x="381" y="221"/>
                    <a:pt x="381" y="221"/>
                  </a:cubicBezTo>
                  <a:cubicBezTo>
                    <a:pt x="381" y="222"/>
                    <a:pt x="381" y="222"/>
                    <a:pt x="381" y="222"/>
                  </a:cubicBezTo>
                  <a:cubicBezTo>
                    <a:pt x="381" y="222"/>
                    <a:pt x="380" y="222"/>
                    <a:pt x="380" y="222"/>
                  </a:cubicBezTo>
                  <a:cubicBezTo>
                    <a:pt x="380" y="222"/>
                    <a:pt x="380" y="222"/>
                    <a:pt x="380" y="222"/>
                  </a:cubicBezTo>
                  <a:cubicBezTo>
                    <a:pt x="380" y="222"/>
                    <a:pt x="380" y="222"/>
                    <a:pt x="379" y="222"/>
                  </a:cubicBezTo>
                  <a:cubicBezTo>
                    <a:pt x="379" y="222"/>
                    <a:pt x="379" y="223"/>
                    <a:pt x="379" y="223"/>
                  </a:cubicBezTo>
                  <a:cubicBezTo>
                    <a:pt x="379" y="223"/>
                    <a:pt x="377" y="223"/>
                    <a:pt x="377" y="224"/>
                  </a:cubicBezTo>
                  <a:cubicBezTo>
                    <a:pt x="377" y="232"/>
                    <a:pt x="377" y="240"/>
                    <a:pt x="377" y="249"/>
                  </a:cubicBezTo>
                  <a:cubicBezTo>
                    <a:pt x="378" y="249"/>
                    <a:pt x="379" y="250"/>
                    <a:pt x="379" y="251"/>
                  </a:cubicBezTo>
                  <a:cubicBezTo>
                    <a:pt x="380" y="251"/>
                    <a:pt x="380" y="252"/>
                    <a:pt x="380" y="252"/>
                  </a:cubicBezTo>
                  <a:cubicBezTo>
                    <a:pt x="380" y="252"/>
                    <a:pt x="381" y="252"/>
                    <a:pt x="381" y="252"/>
                  </a:cubicBezTo>
                  <a:cubicBezTo>
                    <a:pt x="381" y="253"/>
                    <a:pt x="382" y="253"/>
                    <a:pt x="383" y="254"/>
                  </a:cubicBezTo>
                  <a:cubicBezTo>
                    <a:pt x="383" y="254"/>
                    <a:pt x="383" y="254"/>
                    <a:pt x="383" y="254"/>
                  </a:cubicBezTo>
                  <a:cubicBezTo>
                    <a:pt x="384" y="255"/>
                    <a:pt x="384" y="255"/>
                    <a:pt x="385" y="256"/>
                  </a:cubicBezTo>
                  <a:cubicBezTo>
                    <a:pt x="385" y="256"/>
                    <a:pt x="386" y="256"/>
                    <a:pt x="386" y="256"/>
                  </a:cubicBezTo>
                  <a:cubicBezTo>
                    <a:pt x="386" y="257"/>
                    <a:pt x="387" y="257"/>
                    <a:pt x="387" y="258"/>
                  </a:cubicBezTo>
                  <a:cubicBezTo>
                    <a:pt x="388" y="258"/>
                    <a:pt x="388" y="258"/>
                    <a:pt x="388" y="258"/>
                  </a:cubicBezTo>
                  <a:cubicBezTo>
                    <a:pt x="389" y="259"/>
                    <a:pt x="389" y="260"/>
                    <a:pt x="390" y="260"/>
                  </a:cubicBezTo>
                  <a:cubicBezTo>
                    <a:pt x="390" y="260"/>
                    <a:pt x="390" y="260"/>
                    <a:pt x="391" y="260"/>
                  </a:cubicBezTo>
                  <a:cubicBezTo>
                    <a:pt x="391" y="261"/>
                    <a:pt x="392" y="262"/>
                    <a:pt x="392" y="262"/>
                  </a:cubicBezTo>
                  <a:cubicBezTo>
                    <a:pt x="393" y="262"/>
                    <a:pt x="393" y="262"/>
                    <a:pt x="393" y="262"/>
                  </a:cubicBezTo>
                  <a:cubicBezTo>
                    <a:pt x="394" y="263"/>
                    <a:pt x="394" y="264"/>
                    <a:pt x="394" y="264"/>
                  </a:cubicBezTo>
                  <a:cubicBezTo>
                    <a:pt x="395" y="264"/>
                    <a:pt x="395" y="264"/>
                    <a:pt x="395" y="264"/>
                  </a:cubicBezTo>
                  <a:cubicBezTo>
                    <a:pt x="395" y="265"/>
                    <a:pt x="395" y="267"/>
                    <a:pt x="395" y="268"/>
                  </a:cubicBezTo>
                  <a:cubicBezTo>
                    <a:pt x="396" y="269"/>
                    <a:pt x="395" y="274"/>
                    <a:pt x="396" y="276"/>
                  </a:cubicBezTo>
                  <a:cubicBezTo>
                    <a:pt x="396" y="276"/>
                    <a:pt x="396" y="276"/>
                    <a:pt x="396" y="276"/>
                  </a:cubicBezTo>
                  <a:cubicBezTo>
                    <a:pt x="396" y="278"/>
                    <a:pt x="396" y="279"/>
                    <a:pt x="396" y="281"/>
                  </a:cubicBezTo>
                  <a:cubicBezTo>
                    <a:pt x="396" y="281"/>
                    <a:pt x="396" y="281"/>
                    <a:pt x="396" y="281"/>
                  </a:cubicBezTo>
                  <a:cubicBezTo>
                    <a:pt x="396" y="282"/>
                    <a:pt x="396" y="283"/>
                    <a:pt x="396" y="285"/>
                  </a:cubicBezTo>
                  <a:cubicBezTo>
                    <a:pt x="397" y="287"/>
                    <a:pt x="397" y="291"/>
                    <a:pt x="397" y="294"/>
                  </a:cubicBezTo>
                  <a:cubicBezTo>
                    <a:pt x="397" y="294"/>
                    <a:pt x="397" y="294"/>
                    <a:pt x="396" y="294"/>
                  </a:cubicBezTo>
                  <a:cubicBezTo>
                    <a:pt x="395" y="296"/>
                    <a:pt x="395" y="298"/>
                    <a:pt x="394" y="300"/>
                  </a:cubicBezTo>
                  <a:cubicBezTo>
                    <a:pt x="394" y="300"/>
                    <a:pt x="394" y="300"/>
                    <a:pt x="393" y="300"/>
                  </a:cubicBezTo>
                  <a:cubicBezTo>
                    <a:pt x="393" y="301"/>
                    <a:pt x="393" y="301"/>
                    <a:pt x="393" y="302"/>
                  </a:cubicBezTo>
                  <a:cubicBezTo>
                    <a:pt x="393" y="302"/>
                    <a:pt x="393" y="302"/>
                    <a:pt x="393" y="302"/>
                  </a:cubicBezTo>
                  <a:cubicBezTo>
                    <a:pt x="393" y="302"/>
                    <a:pt x="393" y="302"/>
                    <a:pt x="393" y="303"/>
                  </a:cubicBezTo>
                  <a:cubicBezTo>
                    <a:pt x="393" y="303"/>
                    <a:pt x="393" y="303"/>
                    <a:pt x="393" y="303"/>
                  </a:cubicBezTo>
                  <a:cubicBezTo>
                    <a:pt x="394" y="306"/>
                    <a:pt x="396" y="307"/>
                    <a:pt x="396" y="310"/>
                  </a:cubicBezTo>
                  <a:cubicBezTo>
                    <a:pt x="395" y="311"/>
                    <a:pt x="394" y="311"/>
                    <a:pt x="394" y="312"/>
                  </a:cubicBezTo>
                  <a:cubicBezTo>
                    <a:pt x="394" y="312"/>
                    <a:pt x="393" y="312"/>
                    <a:pt x="393" y="313"/>
                  </a:cubicBezTo>
                  <a:cubicBezTo>
                    <a:pt x="393" y="313"/>
                    <a:pt x="393" y="313"/>
                    <a:pt x="392" y="313"/>
                  </a:cubicBezTo>
                  <a:cubicBezTo>
                    <a:pt x="392" y="313"/>
                    <a:pt x="392" y="314"/>
                    <a:pt x="391" y="314"/>
                  </a:cubicBezTo>
                  <a:cubicBezTo>
                    <a:pt x="391" y="314"/>
                    <a:pt x="391" y="314"/>
                    <a:pt x="391" y="314"/>
                  </a:cubicBezTo>
                  <a:cubicBezTo>
                    <a:pt x="390" y="315"/>
                    <a:pt x="390" y="315"/>
                    <a:pt x="389" y="316"/>
                  </a:cubicBezTo>
                  <a:cubicBezTo>
                    <a:pt x="389" y="316"/>
                    <a:pt x="389" y="316"/>
                    <a:pt x="389" y="316"/>
                  </a:cubicBezTo>
                  <a:cubicBezTo>
                    <a:pt x="388" y="316"/>
                    <a:pt x="388" y="317"/>
                    <a:pt x="387" y="317"/>
                  </a:cubicBezTo>
                  <a:cubicBezTo>
                    <a:pt x="387" y="317"/>
                    <a:pt x="387" y="317"/>
                    <a:pt x="387" y="317"/>
                  </a:cubicBezTo>
                  <a:cubicBezTo>
                    <a:pt x="386" y="318"/>
                    <a:pt x="386" y="318"/>
                    <a:pt x="386" y="319"/>
                  </a:cubicBezTo>
                  <a:cubicBezTo>
                    <a:pt x="386" y="319"/>
                    <a:pt x="385" y="319"/>
                    <a:pt x="385" y="319"/>
                  </a:cubicBezTo>
                  <a:cubicBezTo>
                    <a:pt x="385" y="319"/>
                    <a:pt x="385" y="319"/>
                    <a:pt x="384" y="320"/>
                  </a:cubicBezTo>
                  <a:cubicBezTo>
                    <a:pt x="384" y="320"/>
                    <a:pt x="383" y="320"/>
                    <a:pt x="383" y="320"/>
                  </a:cubicBezTo>
                  <a:cubicBezTo>
                    <a:pt x="383" y="320"/>
                    <a:pt x="383" y="320"/>
                    <a:pt x="383" y="320"/>
                  </a:cubicBezTo>
                  <a:cubicBezTo>
                    <a:pt x="382" y="320"/>
                    <a:pt x="382" y="320"/>
                    <a:pt x="382" y="320"/>
                  </a:cubicBezTo>
                  <a:cubicBezTo>
                    <a:pt x="382" y="321"/>
                    <a:pt x="382" y="321"/>
                    <a:pt x="382" y="321"/>
                  </a:cubicBezTo>
                  <a:cubicBezTo>
                    <a:pt x="381" y="321"/>
                    <a:pt x="380" y="321"/>
                    <a:pt x="380" y="321"/>
                  </a:cubicBezTo>
                  <a:cubicBezTo>
                    <a:pt x="380" y="322"/>
                    <a:pt x="380" y="322"/>
                    <a:pt x="380" y="322"/>
                  </a:cubicBezTo>
                  <a:cubicBezTo>
                    <a:pt x="379" y="322"/>
                    <a:pt x="378" y="323"/>
                    <a:pt x="377" y="323"/>
                  </a:cubicBezTo>
                  <a:cubicBezTo>
                    <a:pt x="377" y="323"/>
                    <a:pt x="377" y="323"/>
                    <a:pt x="377" y="323"/>
                  </a:cubicBezTo>
                  <a:cubicBezTo>
                    <a:pt x="376" y="323"/>
                    <a:pt x="376" y="323"/>
                    <a:pt x="376" y="323"/>
                  </a:cubicBezTo>
                  <a:cubicBezTo>
                    <a:pt x="376" y="323"/>
                    <a:pt x="376" y="323"/>
                    <a:pt x="376" y="324"/>
                  </a:cubicBezTo>
                  <a:cubicBezTo>
                    <a:pt x="376" y="324"/>
                    <a:pt x="375" y="324"/>
                    <a:pt x="375" y="324"/>
                  </a:cubicBezTo>
                  <a:cubicBezTo>
                    <a:pt x="375" y="324"/>
                    <a:pt x="375" y="324"/>
                    <a:pt x="375" y="324"/>
                  </a:cubicBezTo>
                  <a:cubicBezTo>
                    <a:pt x="374" y="324"/>
                    <a:pt x="374" y="324"/>
                    <a:pt x="373" y="325"/>
                  </a:cubicBezTo>
                  <a:cubicBezTo>
                    <a:pt x="373" y="325"/>
                    <a:pt x="373" y="325"/>
                    <a:pt x="373" y="325"/>
                  </a:cubicBezTo>
                  <a:cubicBezTo>
                    <a:pt x="372" y="325"/>
                    <a:pt x="372" y="325"/>
                    <a:pt x="371" y="325"/>
                  </a:cubicBezTo>
                  <a:cubicBezTo>
                    <a:pt x="371" y="326"/>
                    <a:pt x="370" y="327"/>
                    <a:pt x="369" y="328"/>
                  </a:cubicBezTo>
                  <a:cubicBezTo>
                    <a:pt x="369" y="328"/>
                    <a:pt x="369" y="328"/>
                    <a:pt x="369" y="328"/>
                  </a:cubicBezTo>
                  <a:cubicBezTo>
                    <a:pt x="368" y="328"/>
                    <a:pt x="367" y="329"/>
                    <a:pt x="367" y="330"/>
                  </a:cubicBezTo>
                  <a:cubicBezTo>
                    <a:pt x="365" y="332"/>
                    <a:pt x="362" y="334"/>
                    <a:pt x="360" y="335"/>
                  </a:cubicBezTo>
                  <a:cubicBezTo>
                    <a:pt x="361" y="340"/>
                    <a:pt x="362" y="345"/>
                    <a:pt x="363" y="349"/>
                  </a:cubicBezTo>
                  <a:cubicBezTo>
                    <a:pt x="364" y="349"/>
                    <a:pt x="366" y="350"/>
                    <a:pt x="368" y="351"/>
                  </a:cubicBezTo>
                  <a:cubicBezTo>
                    <a:pt x="369" y="351"/>
                    <a:pt x="369" y="351"/>
                    <a:pt x="369" y="352"/>
                  </a:cubicBezTo>
                  <a:cubicBezTo>
                    <a:pt x="369" y="352"/>
                    <a:pt x="370" y="352"/>
                    <a:pt x="370" y="352"/>
                  </a:cubicBezTo>
                  <a:cubicBezTo>
                    <a:pt x="370" y="352"/>
                    <a:pt x="370" y="353"/>
                    <a:pt x="370" y="353"/>
                  </a:cubicBezTo>
                  <a:cubicBezTo>
                    <a:pt x="370" y="353"/>
                    <a:pt x="370" y="353"/>
                    <a:pt x="370" y="353"/>
                  </a:cubicBezTo>
                  <a:cubicBezTo>
                    <a:pt x="370" y="354"/>
                    <a:pt x="370" y="355"/>
                    <a:pt x="370" y="355"/>
                  </a:cubicBezTo>
                  <a:cubicBezTo>
                    <a:pt x="370" y="355"/>
                    <a:pt x="370" y="355"/>
                    <a:pt x="370" y="355"/>
                  </a:cubicBezTo>
                  <a:cubicBezTo>
                    <a:pt x="370" y="356"/>
                    <a:pt x="370" y="357"/>
                    <a:pt x="370" y="357"/>
                  </a:cubicBezTo>
                  <a:cubicBezTo>
                    <a:pt x="370" y="357"/>
                    <a:pt x="371" y="357"/>
                    <a:pt x="371" y="357"/>
                  </a:cubicBezTo>
                  <a:cubicBezTo>
                    <a:pt x="371" y="357"/>
                    <a:pt x="371" y="357"/>
                    <a:pt x="371" y="357"/>
                  </a:cubicBezTo>
                  <a:cubicBezTo>
                    <a:pt x="371" y="357"/>
                    <a:pt x="370" y="357"/>
                    <a:pt x="370" y="357"/>
                  </a:cubicBezTo>
                  <a:cubicBezTo>
                    <a:pt x="370" y="358"/>
                    <a:pt x="370" y="358"/>
                    <a:pt x="370" y="358"/>
                  </a:cubicBezTo>
                  <a:cubicBezTo>
                    <a:pt x="370" y="358"/>
                    <a:pt x="370" y="358"/>
                    <a:pt x="370" y="358"/>
                  </a:cubicBezTo>
                  <a:cubicBezTo>
                    <a:pt x="370" y="359"/>
                    <a:pt x="370" y="360"/>
                    <a:pt x="370" y="360"/>
                  </a:cubicBezTo>
                  <a:cubicBezTo>
                    <a:pt x="370" y="360"/>
                    <a:pt x="369" y="360"/>
                    <a:pt x="369" y="360"/>
                  </a:cubicBezTo>
                  <a:cubicBezTo>
                    <a:pt x="369" y="361"/>
                    <a:pt x="369" y="361"/>
                    <a:pt x="369" y="361"/>
                  </a:cubicBezTo>
                  <a:cubicBezTo>
                    <a:pt x="369" y="361"/>
                    <a:pt x="369" y="361"/>
                    <a:pt x="369" y="361"/>
                  </a:cubicBezTo>
                  <a:cubicBezTo>
                    <a:pt x="369" y="361"/>
                    <a:pt x="369" y="362"/>
                    <a:pt x="369" y="362"/>
                  </a:cubicBezTo>
                  <a:cubicBezTo>
                    <a:pt x="369" y="362"/>
                    <a:pt x="369" y="362"/>
                    <a:pt x="369" y="362"/>
                  </a:cubicBezTo>
                  <a:cubicBezTo>
                    <a:pt x="369" y="362"/>
                    <a:pt x="369" y="362"/>
                    <a:pt x="369" y="363"/>
                  </a:cubicBezTo>
                  <a:cubicBezTo>
                    <a:pt x="368" y="363"/>
                    <a:pt x="368" y="363"/>
                    <a:pt x="368" y="363"/>
                  </a:cubicBezTo>
                  <a:cubicBezTo>
                    <a:pt x="368" y="363"/>
                    <a:pt x="368" y="364"/>
                    <a:pt x="368" y="365"/>
                  </a:cubicBezTo>
                  <a:cubicBezTo>
                    <a:pt x="368" y="365"/>
                    <a:pt x="368" y="365"/>
                    <a:pt x="368" y="365"/>
                  </a:cubicBezTo>
                  <a:cubicBezTo>
                    <a:pt x="367" y="365"/>
                    <a:pt x="367" y="366"/>
                    <a:pt x="367" y="367"/>
                  </a:cubicBezTo>
                  <a:cubicBezTo>
                    <a:pt x="367" y="367"/>
                    <a:pt x="367" y="367"/>
                    <a:pt x="367" y="367"/>
                  </a:cubicBezTo>
                  <a:cubicBezTo>
                    <a:pt x="367" y="367"/>
                    <a:pt x="367" y="367"/>
                    <a:pt x="367" y="367"/>
                  </a:cubicBezTo>
                  <a:cubicBezTo>
                    <a:pt x="367" y="367"/>
                    <a:pt x="367" y="367"/>
                    <a:pt x="367" y="367"/>
                  </a:cubicBezTo>
                  <a:cubicBezTo>
                    <a:pt x="367" y="368"/>
                    <a:pt x="367" y="368"/>
                    <a:pt x="367" y="368"/>
                  </a:cubicBezTo>
                  <a:cubicBezTo>
                    <a:pt x="366" y="368"/>
                    <a:pt x="366" y="368"/>
                    <a:pt x="366" y="368"/>
                  </a:cubicBezTo>
                  <a:cubicBezTo>
                    <a:pt x="366" y="369"/>
                    <a:pt x="366" y="369"/>
                    <a:pt x="366" y="369"/>
                  </a:cubicBezTo>
                  <a:cubicBezTo>
                    <a:pt x="366" y="369"/>
                    <a:pt x="366" y="369"/>
                    <a:pt x="366" y="369"/>
                  </a:cubicBezTo>
                  <a:cubicBezTo>
                    <a:pt x="366" y="370"/>
                    <a:pt x="366" y="370"/>
                    <a:pt x="366" y="370"/>
                  </a:cubicBezTo>
                  <a:cubicBezTo>
                    <a:pt x="366" y="370"/>
                    <a:pt x="366" y="370"/>
                    <a:pt x="365" y="370"/>
                  </a:cubicBezTo>
                  <a:cubicBezTo>
                    <a:pt x="365" y="370"/>
                    <a:pt x="365" y="371"/>
                    <a:pt x="365" y="371"/>
                  </a:cubicBezTo>
                  <a:cubicBezTo>
                    <a:pt x="365" y="371"/>
                    <a:pt x="365" y="371"/>
                    <a:pt x="365" y="371"/>
                  </a:cubicBezTo>
                  <a:cubicBezTo>
                    <a:pt x="365" y="371"/>
                    <a:pt x="365" y="372"/>
                    <a:pt x="365" y="372"/>
                  </a:cubicBezTo>
                  <a:cubicBezTo>
                    <a:pt x="365" y="372"/>
                    <a:pt x="365" y="372"/>
                    <a:pt x="365" y="372"/>
                  </a:cubicBezTo>
                  <a:cubicBezTo>
                    <a:pt x="364" y="375"/>
                    <a:pt x="364" y="379"/>
                    <a:pt x="363" y="382"/>
                  </a:cubicBezTo>
                  <a:cubicBezTo>
                    <a:pt x="359" y="384"/>
                    <a:pt x="355" y="385"/>
                    <a:pt x="350" y="387"/>
                  </a:cubicBezTo>
                  <a:cubicBezTo>
                    <a:pt x="350" y="388"/>
                    <a:pt x="350" y="388"/>
                    <a:pt x="350" y="388"/>
                  </a:cubicBezTo>
                  <a:cubicBezTo>
                    <a:pt x="350" y="388"/>
                    <a:pt x="349" y="388"/>
                    <a:pt x="349" y="388"/>
                  </a:cubicBezTo>
                  <a:cubicBezTo>
                    <a:pt x="349" y="388"/>
                    <a:pt x="349" y="389"/>
                    <a:pt x="349" y="389"/>
                  </a:cubicBezTo>
                  <a:cubicBezTo>
                    <a:pt x="349" y="389"/>
                    <a:pt x="349" y="389"/>
                    <a:pt x="349" y="389"/>
                  </a:cubicBezTo>
                  <a:cubicBezTo>
                    <a:pt x="349" y="390"/>
                    <a:pt x="349" y="390"/>
                    <a:pt x="349" y="390"/>
                  </a:cubicBezTo>
                  <a:cubicBezTo>
                    <a:pt x="348" y="390"/>
                    <a:pt x="348" y="390"/>
                    <a:pt x="348" y="391"/>
                  </a:cubicBezTo>
                  <a:cubicBezTo>
                    <a:pt x="348" y="391"/>
                    <a:pt x="348" y="391"/>
                    <a:pt x="348" y="391"/>
                  </a:cubicBezTo>
                  <a:cubicBezTo>
                    <a:pt x="347" y="392"/>
                    <a:pt x="347" y="392"/>
                    <a:pt x="347" y="392"/>
                  </a:cubicBezTo>
                  <a:cubicBezTo>
                    <a:pt x="347" y="392"/>
                    <a:pt x="347" y="393"/>
                    <a:pt x="347" y="393"/>
                  </a:cubicBezTo>
                  <a:cubicBezTo>
                    <a:pt x="346" y="393"/>
                    <a:pt x="346" y="393"/>
                    <a:pt x="346" y="393"/>
                  </a:cubicBezTo>
                  <a:cubicBezTo>
                    <a:pt x="346" y="393"/>
                    <a:pt x="346" y="394"/>
                    <a:pt x="346" y="394"/>
                  </a:cubicBezTo>
                  <a:cubicBezTo>
                    <a:pt x="346" y="394"/>
                    <a:pt x="345" y="394"/>
                    <a:pt x="345" y="395"/>
                  </a:cubicBezTo>
                  <a:cubicBezTo>
                    <a:pt x="345" y="395"/>
                    <a:pt x="345" y="395"/>
                    <a:pt x="345" y="395"/>
                  </a:cubicBezTo>
                  <a:cubicBezTo>
                    <a:pt x="345" y="395"/>
                    <a:pt x="344" y="395"/>
                    <a:pt x="344" y="396"/>
                  </a:cubicBezTo>
                  <a:cubicBezTo>
                    <a:pt x="344" y="396"/>
                    <a:pt x="344" y="396"/>
                    <a:pt x="344" y="396"/>
                  </a:cubicBezTo>
                  <a:cubicBezTo>
                    <a:pt x="344" y="397"/>
                    <a:pt x="343" y="397"/>
                    <a:pt x="343" y="397"/>
                  </a:cubicBezTo>
                  <a:cubicBezTo>
                    <a:pt x="343" y="398"/>
                    <a:pt x="343" y="399"/>
                    <a:pt x="343" y="399"/>
                  </a:cubicBezTo>
                  <a:cubicBezTo>
                    <a:pt x="343" y="401"/>
                    <a:pt x="342" y="404"/>
                    <a:pt x="342" y="405"/>
                  </a:cubicBezTo>
                  <a:cubicBezTo>
                    <a:pt x="342" y="406"/>
                    <a:pt x="341" y="406"/>
                    <a:pt x="341" y="406"/>
                  </a:cubicBezTo>
                  <a:cubicBezTo>
                    <a:pt x="341" y="406"/>
                    <a:pt x="341" y="406"/>
                    <a:pt x="341" y="406"/>
                  </a:cubicBezTo>
                  <a:cubicBezTo>
                    <a:pt x="341" y="406"/>
                    <a:pt x="341" y="406"/>
                    <a:pt x="340" y="406"/>
                  </a:cubicBezTo>
                  <a:cubicBezTo>
                    <a:pt x="340" y="406"/>
                    <a:pt x="340" y="407"/>
                    <a:pt x="340" y="407"/>
                  </a:cubicBezTo>
                  <a:cubicBezTo>
                    <a:pt x="339" y="407"/>
                    <a:pt x="339" y="407"/>
                    <a:pt x="339" y="407"/>
                  </a:cubicBezTo>
                  <a:cubicBezTo>
                    <a:pt x="338" y="407"/>
                    <a:pt x="338" y="408"/>
                    <a:pt x="338" y="408"/>
                  </a:cubicBezTo>
                  <a:cubicBezTo>
                    <a:pt x="338" y="408"/>
                    <a:pt x="338" y="408"/>
                    <a:pt x="337" y="408"/>
                  </a:cubicBezTo>
                  <a:cubicBezTo>
                    <a:pt x="337" y="408"/>
                    <a:pt x="337" y="408"/>
                    <a:pt x="337" y="409"/>
                  </a:cubicBezTo>
                  <a:cubicBezTo>
                    <a:pt x="337" y="409"/>
                    <a:pt x="337" y="409"/>
                    <a:pt x="336" y="409"/>
                  </a:cubicBezTo>
                  <a:cubicBezTo>
                    <a:pt x="336" y="409"/>
                    <a:pt x="336" y="409"/>
                    <a:pt x="336" y="409"/>
                  </a:cubicBezTo>
                  <a:cubicBezTo>
                    <a:pt x="336" y="409"/>
                    <a:pt x="336" y="409"/>
                    <a:pt x="335" y="409"/>
                  </a:cubicBezTo>
                  <a:cubicBezTo>
                    <a:pt x="335" y="409"/>
                    <a:pt x="335" y="410"/>
                    <a:pt x="335" y="410"/>
                  </a:cubicBezTo>
                  <a:cubicBezTo>
                    <a:pt x="334" y="410"/>
                    <a:pt x="333" y="411"/>
                    <a:pt x="332" y="411"/>
                  </a:cubicBezTo>
                  <a:cubicBezTo>
                    <a:pt x="332" y="412"/>
                    <a:pt x="332" y="412"/>
                    <a:pt x="332" y="412"/>
                  </a:cubicBezTo>
                  <a:cubicBezTo>
                    <a:pt x="332" y="412"/>
                    <a:pt x="332" y="412"/>
                    <a:pt x="332" y="412"/>
                  </a:cubicBezTo>
                  <a:cubicBezTo>
                    <a:pt x="332" y="412"/>
                    <a:pt x="332" y="413"/>
                    <a:pt x="332" y="413"/>
                  </a:cubicBezTo>
                  <a:cubicBezTo>
                    <a:pt x="332" y="413"/>
                    <a:pt x="332" y="413"/>
                    <a:pt x="332" y="413"/>
                  </a:cubicBezTo>
                  <a:cubicBezTo>
                    <a:pt x="332" y="413"/>
                    <a:pt x="332" y="413"/>
                    <a:pt x="332" y="414"/>
                  </a:cubicBezTo>
                  <a:cubicBezTo>
                    <a:pt x="331" y="414"/>
                    <a:pt x="331" y="414"/>
                    <a:pt x="331" y="414"/>
                  </a:cubicBezTo>
                  <a:cubicBezTo>
                    <a:pt x="331" y="414"/>
                    <a:pt x="331" y="414"/>
                    <a:pt x="331" y="414"/>
                  </a:cubicBezTo>
                  <a:cubicBezTo>
                    <a:pt x="331" y="414"/>
                    <a:pt x="331" y="414"/>
                    <a:pt x="331" y="414"/>
                  </a:cubicBezTo>
                  <a:cubicBezTo>
                    <a:pt x="331" y="415"/>
                    <a:pt x="331" y="415"/>
                    <a:pt x="331" y="415"/>
                  </a:cubicBezTo>
                  <a:cubicBezTo>
                    <a:pt x="331" y="415"/>
                    <a:pt x="331" y="415"/>
                    <a:pt x="330" y="415"/>
                  </a:cubicBezTo>
                  <a:cubicBezTo>
                    <a:pt x="330" y="416"/>
                    <a:pt x="330" y="417"/>
                    <a:pt x="330" y="417"/>
                  </a:cubicBezTo>
                  <a:cubicBezTo>
                    <a:pt x="330" y="417"/>
                    <a:pt x="330" y="417"/>
                    <a:pt x="329" y="417"/>
                  </a:cubicBezTo>
                  <a:cubicBezTo>
                    <a:pt x="329" y="418"/>
                    <a:pt x="329" y="419"/>
                    <a:pt x="328" y="420"/>
                  </a:cubicBezTo>
                  <a:cubicBezTo>
                    <a:pt x="328" y="420"/>
                    <a:pt x="328" y="420"/>
                    <a:pt x="328" y="420"/>
                  </a:cubicBezTo>
                  <a:cubicBezTo>
                    <a:pt x="328" y="421"/>
                    <a:pt x="328" y="421"/>
                    <a:pt x="328" y="421"/>
                  </a:cubicBezTo>
                  <a:cubicBezTo>
                    <a:pt x="328" y="421"/>
                    <a:pt x="328" y="421"/>
                    <a:pt x="328" y="421"/>
                  </a:cubicBezTo>
                  <a:cubicBezTo>
                    <a:pt x="328" y="421"/>
                    <a:pt x="328" y="422"/>
                    <a:pt x="328" y="422"/>
                  </a:cubicBezTo>
                  <a:cubicBezTo>
                    <a:pt x="328" y="422"/>
                    <a:pt x="327" y="422"/>
                    <a:pt x="327" y="422"/>
                  </a:cubicBezTo>
                  <a:cubicBezTo>
                    <a:pt x="327" y="423"/>
                    <a:pt x="327" y="424"/>
                    <a:pt x="327" y="424"/>
                  </a:cubicBezTo>
                  <a:cubicBezTo>
                    <a:pt x="327" y="424"/>
                    <a:pt x="326" y="424"/>
                    <a:pt x="326" y="424"/>
                  </a:cubicBezTo>
                  <a:cubicBezTo>
                    <a:pt x="326" y="425"/>
                    <a:pt x="326" y="425"/>
                    <a:pt x="326" y="426"/>
                  </a:cubicBezTo>
                  <a:cubicBezTo>
                    <a:pt x="325" y="426"/>
                    <a:pt x="325" y="426"/>
                    <a:pt x="325" y="427"/>
                  </a:cubicBezTo>
                  <a:cubicBezTo>
                    <a:pt x="325" y="427"/>
                    <a:pt x="325" y="427"/>
                    <a:pt x="325" y="427"/>
                  </a:cubicBezTo>
                  <a:cubicBezTo>
                    <a:pt x="324" y="428"/>
                    <a:pt x="324" y="428"/>
                    <a:pt x="323" y="428"/>
                  </a:cubicBezTo>
                  <a:cubicBezTo>
                    <a:pt x="323" y="429"/>
                    <a:pt x="323" y="429"/>
                    <a:pt x="323" y="429"/>
                  </a:cubicBezTo>
                  <a:cubicBezTo>
                    <a:pt x="323" y="430"/>
                    <a:pt x="322" y="430"/>
                    <a:pt x="321" y="431"/>
                  </a:cubicBezTo>
                  <a:cubicBezTo>
                    <a:pt x="321" y="431"/>
                    <a:pt x="321" y="431"/>
                    <a:pt x="321" y="431"/>
                  </a:cubicBezTo>
                  <a:cubicBezTo>
                    <a:pt x="321" y="432"/>
                    <a:pt x="320" y="432"/>
                    <a:pt x="320" y="432"/>
                  </a:cubicBezTo>
                  <a:cubicBezTo>
                    <a:pt x="320" y="433"/>
                    <a:pt x="320" y="433"/>
                    <a:pt x="320" y="433"/>
                  </a:cubicBezTo>
                  <a:cubicBezTo>
                    <a:pt x="320" y="433"/>
                    <a:pt x="319" y="433"/>
                    <a:pt x="319" y="434"/>
                  </a:cubicBezTo>
                  <a:cubicBezTo>
                    <a:pt x="318" y="435"/>
                    <a:pt x="318" y="435"/>
                    <a:pt x="317" y="436"/>
                  </a:cubicBezTo>
                  <a:cubicBezTo>
                    <a:pt x="315" y="435"/>
                    <a:pt x="312" y="435"/>
                    <a:pt x="310" y="436"/>
                  </a:cubicBezTo>
                  <a:cubicBezTo>
                    <a:pt x="309" y="436"/>
                    <a:pt x="308" y="436"/>
                    <a:pt x="307" y="436"/>
                  </a:cubicBezTo>
                  <a:cubicBezTo>
                    <a:pt x="307" y="436"/>
                    <a:pt x="307" y="436"/>
                    <a:pt x="307" y="437"/>
                  </a:cubicBezTo>
                  <a:cubicBezTo>
                    <a:pt x="305" y="437"/>
                    <a:pt x="304" y="436"/>
                    <a:pt x="303" y="435"/>
                  </a:cubicBezTo>
                  <a:cubicBezTo>
                    <a:pt x="302" y="434"/>
                    <a:pt x="301" y="433"/>
                    <a:pt x="300" y="432"/>
                  </a:cubicBezTo>
                  <a:cubicBezTo>
                    <a:pt x="300" y="429"/>
                    <a:pt x="299" y="425"/>
                    <a:pt x="299" y="422"/>
                  </a:cubicBezTo>
                  <a:cubicBezTo>
                    <a:pt x="299" y="420"/>
                    <a:pt x="299" y="419"/>
                    <a:pt x="299" y="418"/>
                  </a:cubicBezTo>
                  <a:cubicBezTo>
                    <a:pt x="299" y="418"/>
                    <a:pt x="298" y="418"/>
                    <a:pt x="298" y="418"/>
                  </a:cubicBezTo>
                  <a:cubicBezTo>
                    <a:pt x="298" y="416"/>
                    <a:pt x="298" y="415"/>
                    <a:pt x="298" y="414"/>
                  </a:cubicBezTo>
                  <a:cubicBezTo>
                    <a:pt x="298" y="414"/>
                    <a:pt x="298" y="414"/>
                    <a:pt x="298" y="414"/>
                  </a:cubicBezTo>
                  <a:cubicBezTo>
                    <a:pt x="298" y="413"/>
                    <a:pt x="298" y="412"/>
                    <a:pt x="298" y="411"/>
                  </a:cubicBezTo>
                  <a:cubicBezTo>
                    <a:pt x="298" y="411"/>
                    <a:pt x="298" y="411"/>
                    <a:pt x="298" y="411"/>
                  </a:cubicBezTo>
                  <a:cubicBezTo>
                    <a:pt x="298" y="410"/>
                    <a:pt x="298" y="410"/>
                    <a:pt x="298" y="409"/>
                  </a:cubicBezTo>
                  <a:cubicBezTo>
                    <a:pt x="297" y="409"/>
                    <a:pt x="297" y="409"/>
                    <a:pt x="297" y="409"/>
                  </a:cubicBezTo>
                  <a:cubicBezTo>
                    <a:pt x="297" y="408"/>
                    <a:pt x="297" y="408"/>
                    <a:pt x="297" y="407"/>
                  </a:cubicBezTo>
                  <a:cubicBezTo>
                    <a:pt x="297" y="407"/>
                    <a:pt x="297" y="407"/>
                    <a:pt x="297" y="407"/>
                  </a:cubicBezTo>
                  <a:cubicBezTo>
                    <a:pt x="297" y="407"/>
                    <a:pt x="297" y="407"/>
                    <a:pt x="297" y="406"/>
                  </a:cubicBezTo>
                  <a:cubicBezTo>
                    <a:pt x="297" y="406"/>
                    <a:pt x="297" y="406"/>
                    <a:pt x="297" y="406"/>
                  </a:cubicBezTo>
                  <a:cubicBezTo>
                    <a:pt x="296" y="405"/>
                    <a:pt x="296" y="404"/>
                    <a:pt x="296" y="404"/>
                  </a:cubicBezTo>
                  <a:cubicBezTo>
                    <a:pt x="296" y="404"/>
                    <a:pt x="296" y="404"/>
                    <a:pt x="296" y="404"/>
                  </a:cubicBezTo>
                  <a:cubicBezTo>
                    <a:pt x="296" y="403"/>
                    <a:pt x="296" y="403"/>
                    <a:pt x="296" y="403"/>
                  </a:cubicBezTo>
                  <a:cubicBezTo>
                    <a:pt x="296" y="403"/>
                    <a:pt x="296" y="403"/>
                    <a:pt x="296" y="403"/>
                  </a:cubicBezTo>
                  <a:cubicBezTo>
                    <a:pt x="296" y="403"/>
                    <a:pt x="296" y="402"/>
                    <a:pt x="296" y="402"/>
                  </a:cubicBezTo>
                  <a:cubicBezTo>
                    <a:pt x="295" y="402"/>
                    <a:pt x="295" y="402"/>
                    <a:pt x="295" y="402"/>
                  </a:cubicBezTo>
                  <a:cubicBezTo>
                    <a:pt x="295" y="401"/>
                    <a:pt x="295" y="400"/>
                    <a:pt x="294" y="400"/>
                  </a:cubicBezTo>
                  <a:cubicBezTo>
                    <a:pt x="294" y="400"/>
                    <a:pt x="294" y="400"/>
                    <a:pt x="294" y="400"/>
                  </a:cubicBezTo>
                  <a:cubicBezTo>
                    <a:pt x="294" y="399"/>
                    <a:pt x="294" y="399"/>
                    <a:pt x="294" y="398"/>
                  </a:cubicBezTo>
                  <a:cubicBezTo>
                    <a:pt x="294" y="398"/>
                    <a:pt x="293" y="398"/>
                    <a:pt x="293" y="398"/>
                  </a:cubicBezTo>
                  <a:cubicBezTo>
                    <a:pt x="293" y="398"/>
                    <a:pt x="293" y="398"/>
                    <a:pt x="293" y="397"/>
                  </a:cubicBezTo>
                  <a:cubicBezTo>
                    <a:pt x="293" y="397"/>
                    <a:pt x="292" y="397"/>
                    <a:pt x="292" y="397"/>
                  </a:cubicBezTo>
                  <a:cubicBezTo>
                    <a:pt x="292" y="396"/>
                    <a:pt x="292" y="396"/>
                    <a:pt x="292" y="396"/>
                  </a:cubicBezTo>
                  <a:cubicBezTo>
                    <a:pt x="292" y="396"/>
                    <a:pt x="291" y="395"/>
                    <a:pt x="291" y="395"/>
                  </a:cubicBezTo>
                  <a:cubicBezTo>
                    <a:pt x="291" y="395"/>
                    <a:pt x="290" y="394"/>
                    <a:pt x="290" y="394"/>
                  </a:cubicBezTo>
                  <a:cubicBezTo>
                    <a:pt x="288" y="392"/>
                    <a:pt x="285" y="392"/>
                    <a:pt x="282" y="391"/>
                  </a:cubicBezTo>
                  <a:cubicBezTo>
                    <a:pt x="282" y="391"/>
                    <a:pt x="281" y="391"/>
                    <a:pt x="280" y="391"/>
                  </a:cubicBezTo>
                  <a:cubicBezTo>
                    <a:pt x="280" y="391"/>
                    <a:pt x="280" y="391"/>
                    <a:pt x="280" y="391"/>
                  </a:cubicBezTo>
                  <a:cubicBezTo>
                    <a:pt x="280" y="391"/>
                    <a:pt x="279" y="391"/>
                    <a:pt x="279" y="391"/>
                  </a:cubicBezTo>
                  <a:cubicBezTo>
                    <a:pt x="278" y="390"/>
                    <a:pt x="277" y="390"/>
                    <a:pt x="276" y="390"/>
                  </a:cubicBezTo>
                  <a:cubicBezTo>
                    <a:pt x="276" y="390"/>
                    <a:pt x="276" y="389"/>
                    <a:pt x="276" y="389"/>
                  </a:cubicBezTo>
                  <a:cubicBezTo>
                    <a:pt x="275" y="389"/>
                    <a:pt x="275" y="389"/>
                    <a:pt x="275" y="389"/>
                  </a:cubicBezTo>
                  <a:cubicBezTo>
                    <a:pt x="275" y="389"/>
                    <a:pt x="275" y="389"/>
                    <a:pt x="275" y="389"/>
                  </a:cubicBezTo>
                  <a:cubicBezTo>
                    <a:pt x="275" y="389"/>
                    <a:pt x="274" y="389"/>
                    <a:pt x="274" y="389"/>
                  </a:cubicBezTo>
                  <a:cubicBezTo>
                    <a:pt x="274" y="389"/>
                    <a:pt x="274" y="388"/>
                    <a:pt x="274" y="388"/>
                  </a:cubicBezTo>
                  <a:cubicBezTo>
                    <a:pt x="274" y="388"/>
                    <a:pt x="273" y="388"/>
                    <a:pt x="273" y="388"/>
                  </a:cubicBezTo>
                  <a:cubicBezTo>
                    <a:pt x="273" y="388"/>
                    <a:pt x="272" y="387"/>
                    <a:pt x="272" y="387"/>
                  </a:cubicBezTo>
                  <a:cubicBezTo>
                    <a:pt x="272" y="387"/>
                    <a:pt x="272" y="387"/>
                    <a:pt x="271" y="387"/>
                  </a:cubicBezTo>
                  <a:cubicBezTo>
                    <a:pt x="271" y="387"/>
                    <a:pt x="271" y="386"/>
                    <a:pt x="271" y="386"/>
                  </a:cubicBezTo>
                  <a:cubicBezTo>
                    <a:pt x="271" y="386"/>
                    <a:pt x="271" y="386"/>
                    <a:pt x="270" y="386"/>
                  </a:cubicBezTo>
                  <a:cubicBezTo>
                    <a:pt x="270" y="386"/>
                    <a:pt x="270" y="386"/>
                    <a:pt x="270" y="386"/>
                  </a:cubicBezTo>
                  <a:cubicBezTo>
                    <a:pt x="270" y="386"/>
                    <a:pt x="269" y="386"/>
                    <a:pt x="269" y="385"/>
                  </a:cubicBezTo>
                  <a:cubicBezTo>
                    <a:pt x="269" y="385"/>
                    <a:pt x="269" y="385"/>
                    <a:pt x="269" y="385"/>
                  </a:cubicBezTo>
                  <a:cubicBezTo>
                    <a:pt x="268" y="385"/>
                    <a:pt x="267" y="385"/>
                    <a:pt x="266" y="384"/>
                  </a:cubicBezTo>
                  <a:cubicBezTo>
                    <a:pt x="266" y="384"/>
                    <a:pt x="266" y="384"/>
                    <a:pt x="266" y="384"/>
                  </a:cubicBezTo>
                  <a:cubicBezTo>
                    <a:pt x="265" y="384"/>
                    <a:pt x="265" y="384"/>
                    <a:pt x="264" y="384"/>
                  </a:cubicBezTo>
                  <a:cubicBezTo>
                    <a:pt x="264" y="384"/>
                    <a:pt x="262" y="383"/>
                    <a:pt x="261" y="384"/>
                  </a:cubicBezTo>
                  <a:cubicBezTo>
                    <a:pt x="261" y="384"/>
                    <a:pt x="261" y="384"/>
                    <a:pt x="261" y="384"/>
                  </a:cubicBezTo>
                  <a:cubicBezTo>
                    <a:pt x="260" y="384"/>
                    <a:pt x="260" y="384"/>
                    <a:pt x="259" y="384"/>
                  </a:cubicBezTo>
                  <a:cubicBezTo>
                    <a:pt x="259" y="384"/>
                    <a:pt x="259" y="384"/>
                    <a:pt x="259" y="384"/>
                  </a:cubicBezTo>
                  <a:cubicBezTo>
                    <a:pt x="259" y="385"/>
                    <a:pt x="259" y="385"/>
                    <a:pt x="258" y="385"/>
                  </a:cubicBezTo>
                  <a:cubicBezTo>
                    <a:pt x="258" y="385"/>
                    <a:pt x="258" y="385"/>
                    <a:pt x="258" y="385"/>
                  </a:cubicBezTo>
                  <a:cubicBezTo>
                    <a:pt x="258" y="385"/>
                    <a:pt x="258" y="385"/>
                    <a:pt x="257" y="385"/>
                  </a:cubicBezTo>
                  <a:cubicBezTo>
                    <a:pt x="257" y="385"/>
                    <a:pt x="257" y="386"/>
                    <a:pt x="257" y="386"/>
                  </a:cubicBezTo>
                  <a:cubicBezTo>
                    <a:pt x="257" y="386"/>
                    <a:pt x="257" y="386"/>
                    <a:pt x="256" y="386"/>
                  </a:cubicBezTo>
                  <a:cubicBezTo>
                    <a:pt x="256" y="386"/>
                    <a:pt x="256" y="387"/>
                    <a:pt x="256" y="387"/>
                  </a:cubicBezTo>
                  <a:cubicBezTo>
                    <a:pt x="255" y="387"/>
                    <a:pt x="255" y="387"/>
                    <a:pt x="255" y="387"/>
                  </a:cubicBezTo>
                  <a:cubicBezTo>
                    <a:pt x="254" y="387"/>
                    <a:pt x="254" y="388"/>
                    <a:pt x="254" y="389"/>
                  </a:cubicBezTo>
                  <a:cubicBezTo>
                    <a:pt x="253" y="389"/>
                    <a:pt x="253" y="389"/>
                    <a:pt x="253" y="389"/>
                  </a:cubicBezTo>
                  <a:cubicBezTo>
                    <a:pt x="253" y="389"/>
                    <a:pt x="252" y="389"/>
                    <a:pt x="252" y="390"/>
                  </a:cubicBezTo>
                  <a:cubicBezTo>
                    <a:pt x="252" y="390"/>
                    <a:pt x="252" y="390"/>
                    <a:pt x="251" y="390"/>
                  </a:cubicBezTo>
                  <a:cubicBezTo>
                    <a:pt x="251" y="390"/>
                    <a:pt x="251" y="390"/>
                    <a:pt x="251" y="390"/>
                  </a:cubicBezTo>
                  <a:cubicBezTo>
                    <a:pt x="251" y="390"/>
                    <a:pt x="251" y="390"/>
                    <a:pt x="250" y="390"/>
                  </a:cubicBezTo>
                  <a:cubicBezTo>
                    <a:pt x="250" y="391"/>
                    <a:pt x="250" y="391"/>
                    <a:pt x="250" y="391"/>
                  </a:cubicBezTo>
                  <a:cubicBezTo>
                    <a:pt x="250" y="391"/>
                    <a:pt x="250" y="391"/>
                    <a:pt x="249" y="391"/>
                  </a:cubicBezTo>
                  <a:cubicBezTo>
                    <a:pt x="249" y="391"/>
                    <a:pt x="249" y="392"/>
                    <a:pt x="249" y="392"/>
                  </a:cubicBezTo>
                  <a:cubicBezTo>
                    <a:pt x="248" y="392"/>
                    <a:pt x="248" y="392"/>
                    <a:pt x="248" y="392"/>
                  </a:cubicBezTo>
                  <a:cubicBezTo>
                    <a:pt x="248" y="392"/>
                    <a:pt x="247" y="393"/>
                    <a:pt x="247" y="393"/>
                  </a:cubicBezTo>
                  <a:cubicBezTo>
                    <a:pt x="247" y="393"/>
                    <a:pt x="247" y="393"/>
                    <a:pt x="247" y="393"/>
                  </a:cubicBezTo>
                  <a:cubicBezTo>
                    <a:pt x="247" y="393"/>
                    <a:pt x="247" y="394"/>
                    <a:pt x="247" y="394"/>
                  </a:cubicBezTo>
                  <a:cubicBezTo>
                    <a:pt x="246" y="394"/>
                    <a:pt x="246" y="395"/>
                    <a:pt x="245" y="395"/>
                  </a:cubicBezTo>
                  <a:cubicBezTo>
                    <a:pt x="245" y="395"/>
                    <a:pt x="245" y="396"/>
                    <a:pt x="245" y="396"/>
                  </a:cubicBezTo>
                  <a:cubicBezTo>
                    <a:pt x="245" y="396"/>
                    <a:pt x="245" y="396"/>
                    <a:pt x="244" y="396"/>
                  </a:cubicBezTo>
                  <a:cubicBezTo>
                    <a:pt x="244" y="397"/>
                    <a:pt x="244" y="397"/>
                    <a:pt x="244" y="397"/>
                  </a:cubicBezTo>
                  <a:cubicBezTo>
                    <a:pt x="244" y="397"/>
                    <a:pt x="244" y="397"/>
                    <a:pt x="244" y="397"/>
                  </a:cubicBezTo>
                  <a:cubicBezTo>
                    <a:pt x="244" y="398"/>
                    <a:pt x="244" y="398"/>
                    <a:pt x="244" y="398"/>
                  </a:cubicBezTo>
                  <a:cubicBezTo>
                    <a:pt x="244" y="398"/>
                    <a:pt x="243" y="398"/>
                    <a:pt x="243" y="398"/>
                  </a:cubicBezTo>
                  <a:cubicBezTo>
                    <a:pt x="243" y="399"/>
                    <a:pt x="243" y="399"/>
                    <a:pt x="243" y="399"/>
                  </a:cubicBezTo>
                  <a:cubicBezTo>
                    <a:pt x="243" y="399"/>
                    <a:pt x="243" y="399"/>
                    <a:pt x="242" y="399"/>
                  </a:cubicBezTo>
                  <a:cubicBezTo>
                    <a:pt x="242" y="400"/>
                    <a:pt x="242" y="400"/>
                    <a:pt x="242" y="400"/>
                  </a:cubicBezTo>
                  <a:cubicBezTo>
                    <a:pt x="242" y="400"/>
                    <a:pt x="242" y="400"/>
                    <a:pt x="242" y="400"/>
                  </a:cubicBezTo>
                  <a:cubicBezTo>
                    <a:pt x="242" y="401"/>
                    <a:pt x="241" y="401"/>
                    <a:pt x="241" y="402"/>
                  </a:cubicBezTo>
                  <a:cubicBezTo>
                    <a:pt x="241" y="402"/>
                    <a:pt x="241" y="402"/>
                    <a:pt x="241" y="402"/>
                  </a:cubicBezTo>
                  <a:cubicBezTo>
                    <a:pt x="241" y="402"/>
                    <a:pt x="241" y="403"/>
                    <a:pt x="241" y="403"/>
                  </a:cubicBezTo>
                  <a:cubicBezTo>
                    <a:pt x="240" y="403"/>
                    <a:pt x="240" y="403"/>
                    <a:pt x="240" y="404"/>
                  </a:cubicBezTo>
                  <a:cubicBezTo>
                    <a:pt x="238" y="406"/>
                    <a:pt x="236" y="408"/>
                    <a:pt x="232" y="408"/>
                  </a:cubicBezTo>
                  <a:cubicBezTo>
                    <a:pt x="232" y="408"/>
                    <a:pt x="232" y="408"/>
                    <a:pt x="232" y="408"/>
                  </a:cubicBezTo>
                  <a:cubicBezTo>
                    <a:pt x="231" y="408"/>
                    <a:pt x="230" y="408"/>
                    <a:pt x="230" y="407"/>
                  </a:cubicBezTo>
                  <a:cubicBezTo>
                    <a:pt x="230" y="407"/>
                    <a:pt x="230" y="407"/>
                    <a:pt x="230" y="407"/>
                  </a:cubicBezTo>
                  <a:cubicBezTo>
                    <a:pt x="229" y="407"/>
                    <a:pt x="228" y="407"/>
                    <a:pt x="228" y="406"/>
                  </a:cubicBezTo>
                  <a:cubicBezTo>
                    <a:pt x="228" y="406"/>
                    <a:pt x="228" y="406"/>
                    <a:pt x="228" y="406"/>
                  </a:cubicBezTo>
                  <a:cubicBezTo>
                    <a:pt x="227" y="406"/>
                    <a:pt x="227" y="406"/>
                    <a:pt x="227" y="406"/>
                  </a:cubicBezTo>
                  <a:cubicBezTo>
                    <a:pt x="227" y="406"/>
                    <a:pt x="227" y="406"/>
                    <a:pt x="227" y="405"/>
                  </a:cubicBezTo>
                  <a:cubicBezTo>
                    <a:pt x="226" y="405"/>
                    <a:pt x="226" y="405"/>
                    <a:pt x="226" y="405"/>
                  </a:cubicBezTo>
                  <a:cubicBezTo>
                    <a:pt x="226" y="405"/>
                    <a:pt x="225" y="405"/>
                    <a:pt x="225" y="404"/>
                  </a:cubicBezTo>
                  <a:cubicBezTo>
                    <a:pt x="225" y="404"/>
                    <a:pt x="225" y="404"/>
                    <a:pt x="225" y="404"/>
                  </a:cubicBezTo>
                  <a:cubicBezTo>
                    <a:pt x="224" y="404"/>
                    <a:pt x="224" y="403"/>
                    <a:pt x="223" y="403"/>
                  </a:cubicBezTo>
                  <a:cubicBezTo>
                    <a:pt x="223" y="403"/>
                    <a:pt x="223" y="403"/>
                    <a:pt x="222" y="403"/>
                  </a:cubicBezTo>
                  <a:cubicBezTo>
                    <a:pt x="221" y="401"/>
                    <a:pt x="220" y="400"/>
                    <a:pt x="219" y="398"/>
                  </a:cubicBezTo>
                  <a:cubicBezTo>
                    <a:pt x="217" y="397"/>
                    <a:pt x="216" y="396"/>
                    <a:pt x="215" y="395"/>
                  </a:cubicBezTo>
                  <a:cubicBezTo>
                    <a:pt x="215" y="395"/>
                    <a:pt x="215" y="395"/>
                    <a:pt x="215" y="395"/>
                  </a:cubicBezTo>
                  <a:cubicBezTo>
                    <a:pt x="214" y="394"/>
                    <a:pt x="213" y="393"/>
                    <a:pt x="212" y="392"/>
                  </a:cubicBezTo>
                  <a:cubicBezTo>
                    <a:pt x="212" y="392"/>
                    <a:pt x="212" y="392"/>
                    <a:pt x="212" y="391"/>
                  </a:cubicBezTo>
                  <a:cubicBezTo>
                    <a:pt x="212" y="391"/>
                    <a:pt x="211" y="390"/>
                    <a:pt x="211" y="390"/>
                  </a:cubicBezTo>
                  <a:cubicBezTo>
                    <a:pt x="211" y="390"/>
                    <a:pt x="211" y="390"/>
                    <a:pt x="211" y="389"/>
                  </a:cubicBezTo>
                  <a:cubicBezTo>
                    <a:pt x="210" y="389"/>
                    <a:pt x="209" y="388"/>
                    <a:pt x="209" y="388"/>
                  </a:cubicBezTo>
                  <a:cubicBezTo>
                    <a:pt x="209" y="388"/>
                    <a:pt x="209" y="387"/>
                    <a:pt x="209" y="387"/>
                  </a:cubicBezTo>
                  <a:cubicBezTo>
                    <a:pt x="208" y="387"/>
                    <a:pt x="208" y="386"/>
                    <a:pt x="207" y="386"/>
                  </a:cubicBezTo>
                  <a:cubicBezTo>
                    <a:pt x="207" y="386"/>
                    <a:pt x="207" y="385"/>
                    <a:pt x="207" y="385"/>
                  </a:cubicBezTo>
                  <a:cubicBezTo>
                    <a:pt x="206" y="385"/>
                    <a:pt x="206" y="384"/>
                    <a:pt x="205" y="384"/>
                  </a:cubicBezTo>
                  <a:cubicBezTo>
                    <a:pt x="205" y="383"/>
                    <a:pt x="205" y="383"/>
                    <a:pt x="205" y="383"/>
                  </a:cubicBezTo>
                  <a:cubicBezTo>
                    <a:pt x="205" y="382"/>
                    <a:pt x="204" y="382"/>
                    <a:pt x="203" y="381"/>
                  </a:cubicBezTo>
                  <a:cubicBezTo>
                    <a:pt x="203" y="381"/>
                    <a:pt x="203" y="381"/>
                    <a:pt x="203" y="381"/>
                  </a:cubicBezTo>
                  <a:cubicBezTo>
                    <a:pt x="202" y="380"/>
                    <a:pt x="201" y="379"/>
                    <a:pt x="200" y="378"/>
                  </a:cubicBezTo>
                  <a:cubicBezTo>
                    <a:pt x="200" y="378"/>
                    <a:pt x="200" y="377"/>
                    <a:pt x="200" y="377"/>
                  </a:cubicBezTo>
                  <a:cubicBezTo>
                    <a:pt x="200" y="377"/>
                    <a:pt x="199" y="376"/>
                    <a:pt x="199" y="376"/>
                  </a:cubicBezTo>
                  <a:cubicBezTo>
                    <a:pt x="198" y="375"/>
                    <a:pt x="197" y="374"/>
                    <a:pt x="196" y="373"/>
                  </a:cubicBezTo>
                  <a:cubicBezTo>
                    <a:pt x="196" y="373"/>
                    <a:pt x="196" y="373"/>
                    <a:pt x="195" y="373"/>
                  </a:cubicBezTo>
                  <a:cubicBezTo>
                    <a:pt x="195" y="372"/>
                    <a:pt x="194" y="372"/>
                    <a:pt x="193" y="371"/>
                  </a:cubicBezTo>
                  <a:cubicBezTo>
                    <a:pt x="193" y="371"/>
                    <a:pt x="193" y="371"/>
                    <a:pt x="193" y="371"/>
                  </a:cubicBezTo>
                  <a:cubicBezTo>
                    <a:pt x="192" y="370"/>
                    <a:pt x="192" y="370"/>
                    <a:pt x="192" y="369"/>
                  </a:cubicBezTo>
                  <a:cubicBezTo>
                    <a:pt x="191" y="369"/>
                    <a:pt x="191" y="369"/>
                    <a:pt x="191" y="369"/>
                  </a:cubicBezTo>
                  <a:cubicBezTo>
                    <a:pt x="191" y="369"/>
                    <a:pt x="190" y="369"/>
                    <a:pt x="190" y="368"/>
                  </a:cubicBezTo>
                  <a:cubicBezTo>
                    <a:pt x="190" y="368"/>
                    <a:pt x="190" y="368"/>
                    <a:pt x="190" y="368"/>
                  </a:cubicBezTo>
                  <a:cubicBezTo>
                    <a:pt x="189" y="368"/>
                    <a:pt x="189" y="368"/>
                    <a:pt x="189" y="368"/>
                  </a:cubicBezTo>
                  <a:cubicBezTo>
                    <a:pt x="185" y="365"/>
                    <a:pt x="176" y="366"/>
                    <a:pt x="171" y="364"/>
                  </a:cubicBezTo>
                  <a:cubicBezTo>
                    <a:pt x="170" y="364"/>
                    <a:pt x="170" y="364"/>
                    <a:pt x="169" y="364"/>
                  </a:cubicBezTo>
                  <a:cubicBezTo>
                    <a:pt x="169" y="364"/>
                    <a:pt x="169" y="364"/>
                    <a:pt x="169" y="364"/>
                  </a:cubicBezTo>
                  <a:cubicBezTo>
                    <a:pt x="167" y="363"/>
                    <a:pt x="165" y="363"/>
                    <a:pt x="165" y="361"/>
                  </a:cubicBezTo>
                  <a:cubicBezTo>
                    <a:pt x="164" y="360"/>
                    <a:pt x="164" y="359"/>
                    <a:pt x="164" y="358"/>
                  </a:cubicBezTo>
                  <a:cubicBezTo>
                    <a:pt x="164" y="358"/>
                    <a:pt x="163" y="358"/>
                    <a:pt x="163" y="358"/>
                  </a:cubicBezTo>
                  <a:cubicBezTo>
                    <a:pt x="163" y="357"/>
                    <a:pt x="163" y="356"/>
                    <a:pt x="163" y="355"/>
                  </a:cubicBezTo>
                  <a:cubicBezTo>
                    <a:pt x="163" y="353"/>
                    <a:pt x="163" y="350"/>
                    <a:pt x="163" y="348"/>
                  </a:cubicBezTo>
                  <a:cubicBezTo>
                    <a:pt x="163" y="343"/>
                    <a:pt x="163" y="339"/>
                    <a:pt x="163" y="334"/>
                  </a:cubicBezTo>
                  <a:cubicBezTo>
                    <a:pt x="163" y="331"/>
                    <a:pt x="163" y="325"/>
                    <a:pt x="160" y="325"/>
                  </a:cubicBezTo>
                  <a:cubicBezTo>
                    <a:pt x="159" y="324"/>
                    <a:pt x="158" y="324"/>
                    <a:pt x="157" y="324"/>
                  </a:cubicBezTo>
                  <a:cubicBezTo>
                    <a:pt x="156" y="325"/>
                    <a:pt x="156" y="325"/>
                    <a:pt x="155" y="325"/>
                  </a:cubicBezTo>
                  <a:cubicBezTo>
                    <a:pt x="155" y="325"/>
                    <a:pt x="155" y="325"/>
                    <a:pt x="155" y="325"/>
                  </a:cubicBezTo>
                  <a:cubicBezTo>
                    <a:pt x="155" y="325"/>
                    <a:pt x="155" y="325"/>
                    <a:pt x="155" y="325"/>
                  </a:cubicBezTo>
                  <a:cubicBezTo>
                    <a:pt x="154" y="326"/>
                    <a:pt x="154" y="326"/>
                    <a:pt x="154" y="326"/>
                  </a:cubicBezTo>
                  <a:cubicBezTo>
                    <a:pt x="154" y="326"/>
                    <a:pt x="154" y="326"/>
                    <a:pt x="154" y="326"/>
                  </a:cubicBezTo>
                  <a:cubicBezTo>
                    <a:pt x="153" y="326"/>
                    <a:pt x="153" y="326"/>
                    <a:pt x="153" y="327"/>
                  </a:cubicBezTo>
                  <a:cubicBezTo>
                    <a:pt x="153" y="327"/>
                    <a:pt x="153" y="327"/>
                    <a:pt x="152" y="327"/>
                  </a:cubicBezTo>
                  <a:cubicBezTo>
                    <a:pt x="152" y="327"/>
                    <a:pt x="152" y="327"/>
                    <a:pt x="152" y="328"/>
                  </a:cubicBezTo>
                  <a:cubicBezTo>
                    <a:pt x="152" y="328"/>
                    <a:pt x="151" y="328"/>
                    <a:pt x="151" y="328"/>
                  </a:cubicBezTo>
                  <a:cubicBezTo>
                    <a:pt x="151" y="328"/>
                    <a:pt x="150" y="329"/>
                    <a:pt x="150" y="329"/>
                  </a:cubicBezTo>
                  <a:cubicBezTo>
                    <a:pt x="149" y="329"/>
                    <a:pt x="149" y="329"/>
                    <a:pt x="149" y="329"/>
                  </a:cubicBezTo>
                  <a:cubicBezTo>
                    <a:pt x="149" y="330"/>
                    <a:pt x="148" y="331"/>
                    <a:pt x="148" y="331"/>
                  </a:cubicBezTo>
                  <a:cubicBezTo>
                    <a:pt x="147" y="331"/>
                    <a:pt x="147" y="331"/>
                    <a:pt x="147" y="331"/>
                  </a:cubicBezTo>
                  <a:cubicBezTo>
                    <a:pt x="146" y="332"/>
                    <a:pt x="146" y="332"/>
                    <a:pt x="145" y="333"/>
                  </a:cubicBezTo>
                  <a:cubicBezTo>
                    <a:pt x="145" y="333"/>
                    <a:pt x="145" y="333"/>
                    <a:pt x="145" y="333"/>
                  </a:cubicBezTo>
                  <a:cubicBezTo>
                    <a:pt x="145" y="333"/>
                    <a:pt x="144" y="334"/>
                    <a:pt x="144" y="334"/>
                  </a:cubicBezTo>
                  <a:cubicBezTo>
                    <a:pt x="144" y="334"/>
                    <a:pt x="144" y="334"/>
                    <a:pt x="143" y="334"/>
                  </a:cubicBezTo>
                  <a:cubicBezTo>
                    <a:pt x="143" y="334"/>
                    <a:pt x="143" y="335"/>
                    <a:pt x="143" y="335"/>
                  </a:cubicBezTo>
                  <a:cubicBezTo>
                    <a:pt x="143" y="335"/>
                    <a:pt x="143" y="335"/>
                    <a:pt x="142" y="335"/>
                  </a:cubicBezTo>
                  <a:cubicBezTo>
                    <a:pt x="142" y="335"/>
                    <a:pt x="142" y="335"/>
                    <a:pt x="142" y="335"/>
                  </a:cubicBezTo>
                  <a:cubicBezTo>
                    <a:pt x="142" y="336"/>
                    <a:pt x="141" y="336"/>
                    <a:pt x="141" y="336"/>
                  </a:cubicBezTo>
                  <a:cubicBezTo>
                    <a:pt x="141" y="336"/>
                    <a:pt x="141" y="336"/>
                    <a:pt x="141" y="336"/>
                  </a:cubicBezTo>
                  <a:cubicBezTo>
                    <a:pt x="141" y="336"/>
                    <a:pt x="140" y="336"/>
                    <a:pt x="140" y="336"/>
                  </a:cubicBezTo>
                  <a:cubicBezTo>
                    <a:pt x="140" y="336"/>
                    <a:pt x="140" y="336"/>
                    <a:pt x="140" y="336"/>
                  </a:cubicBezTo>
                  <a:cubicBezTo>
                    <a:pt x="140" y="337"/>
                    <a:pt x="139" y="337"/>
                    <a:pt x="139" y="337"/>
                  </a:cubicBezTo>
                  <a:cubicBezTo>
                    <a:pt x="139" y="337"/>
                    <a:pt x="139" y="337"/>
                    <a:pt x="139" y="337"/>
                  </a:cubicBezTo>
                  <a:cubicBezTo>
                    <a:pt x="138" y="338"/>
                    <a:pt x="133" y="338"/>
                    <a:pt x="131" y="338"/>
                  </a:cubicBezTo>
                  <a:cubicBezTo>
                    <a:pt x="131" y="338"/>
                    <a:pt x="131" y="338"/>
                    <a:pt x="131" y="338"/>
                  </a:cubicBezTo>
                  <a:cubicBezTo>
                    <a:pt x="130" y="338"/>
                    <a:pt x="130" y="338"/>
                    <a:pt x="130" y="338"/>
                  </a:cubicBezTo>
                  <a:cubicBezTo>
                    <a:pt x="130" y="337"/>
                    <a:pt x="130" y="337"/>
                    <a:pt x="130" y="337"/>
                  </a:cubicBezTo>
                  <a:cubicBezTo>
                    <a:pt x="129" y="337"/>
                    <a:pt x="129" y="337"/>
                    <a:pt x="128" y="337"/>
                  </a:cubicBezTo>
                  <a:cubicBezTo>
                    <a:pt x="128" y="337"/>
                    <a:pt x="128" y="337"/>
                    <a:pt x="128" y="337"/>
                  </a:cubicBezTo>
                  <a:cubicBezTo>
                    <a:pt x="128" y="337"/>
                    <a:pt x="128" y="337"/>
                    <a:pt x="128" y="337"/>
                  </a:cubicBezTo>
                  <a:cubicBezTo>
                    <a:pt x="128" y="337"/>
                    <a:pt x="128" y="337"/>
                    <a:pt x="128" y="336"/>
                  </a:cubicBezTo>
                  <a:cubicBezTo>
                    <a:pt x="127" y="336"/>
                    <a:pt x="126" y="336"/>
                    <a:pt x="124" y="335"/>
                  </a:cubicBezTo>
                  <a:cubicBezTo>
                    <a:pt x="124" y="335"/>
                    <a:pt x="124" y="335"/>
                    <a:pt x="124" y="335"/>
                  </a:cubicBezTo>
                  <a:cubicBezTo>
                    <a:pt x="124" y="335"/>
                    <a:pt x="123" y="335"/>
                    <a:pt x="123" y="334"/>
                  </a:cubicBezTo>
                  <a:cubicBezTo>
                    <a:pt x="123" y="334"/>
                    <a:pt x="123" y="334"/>
                    <a:pt x="122" y="334"/>
                  </a:cubicBezTo>
                  <a:cubicBezTo>
                    <a:pt x="122" y="334"/>
                    <a:pt x="122" y="334"/>
                    <a:pt x="122" y="334"/>
                  </a:cubicBezTo>
                  <a:cubicBezTo>
                    <a:pt x="122" y="333"/>
                    <a:pt x="121" y="333"/>
                    <a:pt x="121" y="333"/>
                  </a:cubicBezTo>
                  <a:cubicBezTo>
                    <a:pt x="121" y="333"/>
                    <a:pt x="121" y="333"/>
                    <a:pt x="121" y="333"/>
                  </a:cubicBezTo>
                  <a:cubicBezTo>
                    <a:pt x="121" y="333"/>
                    <a:pt x="120" y="333"/>
                    <a:pt x="120" y="332"/>
                  </a:cubicBezTo>
                  <a:cubicBezTo>
                    <a:pt x="120" y="332"/>
                    <a:pt x="120" y="332"/>
                    <a:pt x="120" y="332"/>
                  </a:cubicBezTo>
                  <a:cubicBezTo>
                    <a:pt x="119" y="332"/>
                    <a:pt x="119" y="332"/>
                    <a:pt x="119" y="332"/>
                  </a:cubicBezTo>
                  <a:cubicBezTo>
                    <a:pt x="119" y="332"/>
                    <a:pt x="119" y="332"/>
                    <a:pt x="119" y="332"/>
                  </a:cubicBezTo>
                  <a:cubicBezTo>
                    <a:pt x="118" y="331"/>
                    <a:pt x="118" y="331"/>
                    <a:pt x="118" y="331"/>
                  </a:cubicBezTo>
                  <a:cubicBezTo>
                    <a:pt x="118" y="331"/>
                    <a:pt x="117" y="331"/>
                    <a:pt x="117" y="331"/>
                  </a:cubicBezTo>
                  <a:cubicBezTo>
                    <a:pt x="117" y="330"/>
                    <a:pt x="117" y="330"/>
                    <a:pt x="116" y="329"/>
                  </a:cubicBezTo>
                  <a:cubicBezTo>
                    <a:pt x="116" y="329"/>
                    <a:pt x="114" y="328"/>
                    <a:pt x="113" y="328"/>
                  </a:cubicBezTo>
                  <a:cubicBezTo>
                    <a:pt x="113" y="329"/>
                    <a:pt x="113" y="329"/>
                    <a:pt x="113" y="329"/>
                  </a:cubicBezTo>
                  <a:cubicBezTo>
                    <a:pt x="113" y="329"/>
                    <a:pt x="112" y="329"/>
                    <a:pt x="112" y="329"/>
                  </a:cubicBezTo>
                  <a:cubicBezTo>
                    <a:pt x="112" y="329"/>
                    <a:pt x="112" y="329"/>
                    <a:pt x="112" y="329"/>
                  </a:cubicBezTo>
                  <a:cubicBezTo>
                    <a:pt x="112" y="329"/>
                    <a:pt x="111" y="329"/>
                    <a:pt x="111" y="329"/>
                  </a:cubicBezTo>
                  <a:cubicBezTo>
                    <a:pt x="111" y="329"/>
                    <a:pt x="111" y="329"/>
                    <a:pt x="111" y="329"/>
                  </a:cubicBezTo>
                  <a:cubicBezTo>
                    <a:pt x="111" y="329"/>
                    <a:pt x="111" y="329"/>
                    <a:pt x="111" y="329"/>
                  </a:cubicBezTo>
                  <a:cubicBezTo>
                    <a:pt x="110" y="330"/>
                    <a:pt x="110" y="330"/>
                    <a:pt x="110" y="331"/>
                  </a:cubicBezTo>
                  <a:cubicBezTo>
                    <a:pt x="110" y="331"/>
                    <a:pt x="109" y="331"/>
                    <a:pt x="109" y="331"/>
                  </a:cubicBezTo>
                  <a:cubicBezTo>
                    <a:pt x="109" y="331"/>
                    <a:pt x="108" y="331"/>
                    <a:pt x="108" y="332"/>
                  </a:cubicBezTo>
                  <a:cubicBezTo>
                    <a:pt x="108" y="332"/>
                    <a:pt x="108" y="332"/>
                    <a:pt x="107" y="332"/>
                  </a:cubicBezTo>
                  <a:cubicBezTo>
                    <a:pt x="107" y="332"/>
                    <a:pt x="107" y="332"/>
                    <a:pt x="107" y="332"/>
                  </a:cubicBezTo>
                  <a:cubicBezTo>
                    <a:pt x="107" y="333"/>
                    <a:pt x="106" y="333"/>
                    <a:pt x="106" y="333"/>
                  </a:cubicBezTo>
                  <a:cubicBezTo>
                    <a:pt x="105" y="334"/>
                    <a:pt x="105" y="335"/>
                    <a:pt x="105" y="335"/>
                  </a:cubicBezTo>
                  <a:cubicBezTo>
                    <a:pt x="104" y="335"/>
                    <a:pt x="104" y="335"/>
                    <a:pt x="104" y="335"/>
                  </a:cubicBezTo>
                  <a:cubicBezTo>
                    <a:pt x="102" y="337"/>
                    <a:pt x="101" y="338"/>
                    <a:pt x="100" y="340"/>
                  </a:cubicBezTo>
                  <a:cubicBezTo>
                    <a:pt x="99" y="340"/>
                    <a:pt x="99" y="340"/>
                    <a:pt x="99" y="340"/>
                  </a:cubicBezTo>
                  <a:cubicBezTo>
                    <a:pt x="98" y="340"/>
                    <a:pt x="98" y="341"/>
                    <a:pt x="97" y="342"/>
                  </a:cubicBezTo>
                  <a:cubicBezTo>
                    <a:pt x="97" y="342"/>
                    <a:pt x="97" y="342"/>
                    <a:pt x="97" y="342"/>
                  </a:cubicBezTo>
                  <a:cubicBezTo>
                    <a:pt x="96" y="342"/>
                    <a:pt x="96" y="343"/>
                    <a:pt x="95" y="343"/>
                  </a:cubicBezTo>
                  <a:cubicBezTo>
                    <a:pt x="95" y="343"/>
                    <a:pt x="95" y="343"/>
                    <a:pt x="94" y="343"/>
                  </a:cubicBezTo>
                  <a:cubicBezTo>
                    <a:pt x="94" y="344"/>
                    <a:pt x="94" y="344"/>
                    <a:pt x="94" y="345"/>
                  </a:cubicBezTo>
                  <a:cubicBezTo>
                    <a:pt x="93" y="345"/>
                    <a:pt x="93" y="345"/>
                    <a:pt x="93" y="345"/>
                  </a:cubicBezTo>
                  <a:cubicBezTo>
                    <a:pt x="93" y="345"/>
                    <a:pt x="93" y="345"/>
                    <a:pt x="93" y="345"/>
                  </a:cubicBezTo>
                  <a:cubicBezTo>
                    <a:pt x="92" y="345"/>
                    <a:pt x="92" y="345"/>
                    <a:pt x="92" y="345"/>
                  </a:cubicBezTo>
                  <a:cubicBezTo>
                    <a:pt x="92" y="345"/>
                    <a:pt x="92" y="346"/>
                    <a:pt x="92" y="346"/>
                  </a:cubicBezTo>
                  <a:cubicBezTo>
                    <a:pt x="91" y="346"/>
                    <a:pt x="91" y="346"/>
                    <a:pt x="91" y="346"/>
                  </a:cubicBezTo>
                  <a:cubicBezTo>
                    <a:pt x="91" y="346"/>
                    <a:pt x="91" y="346"/>
                    <a:pt x="91" y="347"/>
                  </a:cubicBezTo>
                  <a:cubicBezTo>
                    <a:pt x="90" y="347"/>
                    <a:pt x="90" y="347"/>
                    <a:pt x="90" y="347"/>
                  </a:cubicBezTo>
                  <a:cubicBezTo>
                    <a:pt x="90" y="347"/>
                    <a:pt x="90" y="347"/>
                    <a:pt x="90" y="347"/>
                  </a:cubicBezTo>
                  <a:cubicBezTo>
                    <a:pt x="89" y="347"/>
                    <a:pt x="89" y="348"/>
                    <a:pt x="88" y="348"/>
                  </a:cubicBezTo>
                  <a:cubicBezTo>
                    <a:pt x="88" y="348"/>
                    <a:pt x="88" y="348"/>
                    <a:pt x="88" y="348"/>
                  </a:cubicBezTo>
                  <a:cubicBezTo>
                    <a:pt x="88" y="348"/>
                    <a:pt x="88" y="348"/>
                    <a:pt x="87" y="348"/>
                  </a:cubicBezTo>
                  <a:cubicBezTo>
                    <a:pt x="87" y="348"/>
                    <a:pt x="87" y="348"/>
                    <a:pt x="87" y="348"/>
                  </a:cubicBezTo>
                  <a:cubicBezTo>
                    <a:pt x="87" y="349"/>
                    <a:pt x="86" y="349"/>
                    <a:pt x="85" y="349"/>
                  </a:cubicBezTo>
                  <a:cubicBezTo>
                    <a:pt x="85" y="349"/>
                    <a:pt x="85" y="349"/>
                    <a:pt x="85" y="349"/>
                  </a:cubicBezTo>
                  <a:cubicBezTo>
                    <a:pt x="85" y="349"/>
                    <a:pt x="85" y="349"/>
                    <a:pt x="84" y="349"/>
                  </a:cubicBezTo>
                  <a:cubicBezTo>
                    <a:pt x="84" y="350"/>
                    <a:pt x="84" y="350"/>
                    <a:pt x="84" y="350"/>
                  </a:cubicBezTo>
                  <a:cubicBezTo>
                    <a:pt x="81" y="351"/>
                    <a:pt x="78" y="351"/>
                    <a:pt x="74" y="351"/>
                  </a:cubicBezTo>
                  <a:cubicBezTo>
                    <a:pt x="73" y="351"/>
                    <a:pt x="72" y="351"/>
                    <a:pt x="71" y="351"/>
                  </a:cubicBezTo>
                  <a:cubicBezTo>
                    <a:pt x="71" y="351"/>
                    <a:pt x="71" y="351"/>
                    <a:pt x="71" y="351"/>
                  </a:cubicBezTo>
                  <a:cubicBezTo>
                    <a:pt x="70" y="351"/>
                    <a:pt x="69" y="351"/>
                    <a:pt x="69" y="351"/>
                  </a:cubicBezTo>
                  <a:cubicBezTo>
                    <a:pt x="69" y="351"/>
                    <a:pt x="69" y="351"/>
                    <a:pt x="69" y="350"/>
                  </a:cubicBezTo>
                  <a:cubicBezTo>
                    <a:pt x="68" y="350"/>
                    <a:pt x="67" y="350"/>
                    <a:pt x="66" y="350"/>
                  </a:cubicBezTo>
                  <a:cubicBezTo>
                    <a:pt x="66" y="350"/>
                    <a:pt x="66" y="350"/>
                    <a:pt x="66" y="350"/>
                  </a:cubicBezTo>
                  <a:cubicBezTo>
                    <a:pt x="65" y="350"/>
                    <a:pt x="64" y="350"/>
                    <a:pt x="62" y="349"/>
                  </a:cubicBezTo>
                  <a:cubicBezTo>
                    <a:pt x="62" y="349"/>
                    <a:pt x="62" y="349"/>
                    <a:pt x="62" y="349"/>
                  </a:cubicBezTo>
                  <a:cubicBezTo>
                    <a:pt x="62" y="349"/>
                    <a:pt x="62" y="349"/>
                    <a:pt x="61" y="349"/>
                  </a:cubicBezTo>
                  <a:cubicBezTo>
                    <a:pt x="61" y="349"/>
                    <a:pt x="61" y="349"/>
                    <a:pt x="61" y="349"/>
                  </a:cubicBezTo>
                  <a:cubicBezTo>
                    <a:pt x="61" y="349"/>
                    <a:pt x="60" y="349"/>
                    <a:pt x="60" y="349"/>
                  </a:cubicBezTo>
                  <a:cubicBezTo>
                    <a:pt x="60" y="349"/>
                    <a:pt x="60" y="349"/>
                    <a:pt x="60" y="348"/>
                  </a:cubicBezTo>
                  <a:cubicBezTo>
                    <a:pt x="60" y="348"/>
                    <a:pt x="59" y="348"/>
                    <a:pt x="59" y="348"/>
                  </a:cubicBezTo>
                  <a:cubicBezTo>
                    <a:pt x="59" y="348"/>
                    <a:pt x="59" y="348"/>
                    <a:pt x="59" y="348"/>
                  </a:cubicBezTo>
                  <a:cubicBezTo>
                    <a:pt x="59" y="348"/>
                    <a:pt x="58" y="348"/>
                    <a:pt x="58" y="348"/>
                  </a:cubicBezTo>
                  <a:cubicBezTo>
                    <a:pt x="58" y="348"/>
                    <a:pt x="58" y="348"/>
                    <a:pt x="58" y="348"/>
                  </a:cubicBezTo>
                  <a:cubicBezTo>
                    <a:pt x="57" y="348"/>
                    <a:pt x="57" y="347"/>
                    <a:pt x="56" y="347"/>
                  </a:cubicBezTo>
                  <a:cubicBezTo>
                    <a:pt x="56" y="347"/>
                    <a:pt x="56" y="347"/>
                    <a:pt x="56" y="347"/>
                  </a:cubicBezTo>
                  <a:cubicBezTo>
                    <a:pt x="56" y="347"/>
                    <a:pt x="55" y="347"/>
                    <a:pt x="55" y="347"/>
                  </a:cubicBezTo>
                  <a:cubicBezTo>
                    <a:pt x="55" y="347"/>
                    <a:pt x="55" y="347"/>
                    <a:pt x="55" y="347"/>
                  </a:cubicBezTo>
                  <a:cubicBezTo>
                    <a:pt x="55" y="347"/>
                    <a:pt x="55" y="347"/>
                    <a:pt x="54" y="347"/>
                  </a:cubicBezTo>
                  <a:cubicBezTo>
                    <a:pt x="54" y="347"/>
                    <a:pt x="54" y="346"/>
                    <a:pt x="54" y="346"/>
                  </a:cubicBezTo>
                  <a:cubicBezTo>
                    <a:pt x="54" y="346"/>
                    <a:pt x="54" y="346"/>
                    <a:pt x="53" y="346"/>
                  </a:cubicBezTo>
                  <a:cubicBezTo>
                    <a:pt x="53" y="346"/>
                    <a:pt x="53" y="346"/>
                    <a:pt x="53" y="346"/>
                  </a:cubicBezTo>
                  <a:cubicBezTo>
                    <a:pt x="53" y="346"/>
                    <a:pt x="53" y="346"/>
                    <a:pt x="52" y="346"/>
                  </a:cubicBezTo>
                  <a:cubicBezTo>
                    <a:pt x="52" y="346"/>
                    <a:pt x="52" y="346"/>
                    <a:pt x="52" y="346"/>
                  </a:cubicBezTo>
                  <a:cubicBezTo>
                    <a:pt x="52" y="345"/>
                    <a:pt x="52" y="345"/>
                    <a:pt x="51" y="345"/>
                  </a:cubicBezTo>
                  <a:cubicBezTo>
                    <a:pt x="51" y="345"/>
                    <a:pt x="51" y="345"/>
                    <a:pt x="51" y="345"/>
                  </a:cubicBezTo>
                  <a:cubicBezTo>
                    <a:pt x="51" y="345"/>
                    <a:pt x="50" y="345"/>
                    <a:pt x="50" y="345"/>
                  </a:cubicBezTo>
                  <a:cubicBezTo>
                    <a:pt x="50" y="345"/>
                    <a:pt x="50" y="345"/>
                    <a:pt x="50" y="345"/>
                  </a:cubicBezTo>
                  <a:cubicBezTo>
                    <a:pt x="50" y="345"/>
                    <a:pt x="50" y="345"/>
                    <a:pt x="49" y="345"/>
                  </a:cubicBezTo>
                  <a:cubicBezTo>
                    <a:pt x="49" y="344"/>
                    <a:pt x="49" y="344"/>
                    <a:pt x="49" y="344"/>
                  </a:cubicBezTo>
                  <a:cubicBezTo>
                    <a:pt x="49" y="344"/>
                    <a:pt x="48" y="344"/>
                    <a:pt x="48" y="344"/>
                  </a:cubicBezTo>
                  <a:cubicBezTo>
                    <a:pt x="48" y="344"/>
                    <a:pt x="48" y="344"/>
                    <a:pt x="48" y="343"/>
                  </a:cubicBezTo>
                  <a:cubicBezTo>
                    <a:pt x="47" y="343"/>
                    <a:pt x="47" y="343"/>
                    <a:pt x="47" y="343"/>
                  </a:cubicBezTo>
                  <a:cubicBezTo>
                    <a:pt x="47" y="343"/>
                    <a:pt x="47" y="343"/>
                    <a:pt x="47" y="343"/>
                  </a:cubicBezTo>
                  <a:cubicBezTo>
                    <a:pt x="46" y="343"/>
                    <a:pt x="46" y="343"/>
                    <a:pt x="45" y="342"/>
                  </a:cubicBezTo>
                  <a:cubicBezTo>
                    <a:pt x="45" y="342"/>
                    <a:pt x="45" y="342"/>
                    <a:pt x="45" y="342"/>
                  </a:cubicBezTo>
                  <a:cubicBezTo>
                    <a:pt x="45" y="342"/>
                    <a:pt x="45" y="342"/>
                    <a:pt x="44" y="342"/>
                  </a:cubicBezTo>
                  <a:cubicBezTo>
                    <a:pt x="44" y="342"/>
                    <a:pt x="44" y="342"/>
                    <a:pt x="44" y="342"/>
                  </a:cubicBezTo>
                  <a:cubicBezTo>
                    <a:pt x="44" y="342"/>
                    <a:pt x="44" y="342"/>
                    <a:pt x="44" y="342"/>
                  </a:cubicBezTo>
                  <a:cubicBezTo>
                    <a:pt x="44" y="342"/>
                    <a:pt x="44" y="342"/>
                    <a:pt x="44" y="341"/>
                  </a:cubicBezTo>
                  <a:cubicBezTo>
                    <a:pt x="43" y="341"/>
                    <a:pt x="43" y="341"/>
                    <a:pt x="43" y="341"/>
                  </a:cubicBezTo>
                  <a:cubicBezTo>
                    <a:pt x="43" y="341"/>
                    <a:pt x="43" y="341"/>
                    <a:pt x="43" y="341"/>
                  </a:cubicBezTo>
                  <a:cubicBezTo>
                    <a:pt x="43" y="341"/>
                    <a:pt x="43" y="341"/>
                    <a:pt x="42" y="341"/>
                  </a:cubicBezTo>
                  <a:cubicBezTo>
                    <a:pt x="42" y="341"/>
                    <a:pt x="42" y="341"/>
                    <a:pt x="42" y="341"/>
                  </a:cubicBezTo>
                  <a:cubicBezTo>
                    <a:pt x="42" y="341"/>
                    <a:pt x="42" y="341"/>
                    <a:pt x="42" y="341"/>
                  </a:cubicBezTo>
                  <a:cubicBezTo>
                    <a:pt x="42" y="341"/>
                    <a:pt x="42" y="340"/>
                    <a:pt x="42" y="340"/>
                  </a:cubicBezTo>
                  <a:cubicBezTo>
                    <a:pt x="41" y="340"/>
                    <a:pt x="41" y="340"/>
                    <a:pt x="40" y="340"/>
                  </a:cubicBezTo>
                  <a:cubicBezTo>
                    <a:pt x="40" y="340"/>
                    <a:pt x="40" y="340"/>
                    <a:pt x="40" y="340"/>
                  </a:cubicBezTo>
                  <a:cubicBezTo>
                    <a:pt x="40" y="340"/>
                    <a:pt x="39" y="339"/>
                    <a:pt x="39" y="339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39"/>
                    <a:pt x="38" y="339"/>
                    <a:pt x="38" y="339"/>
                  </a:cubicBezTo>
                  <a:cubicBezTo>
                    <a:pt x="38" y="339"/>
                    <a:pt x="38" y="339"/>
                    <a:pt x="38" y="339"/>
                  </a:cubicBezTo>
                  <a:cubicBezTo>
                    <a:pt x="38" y="339"/>
                    <a:pt x="38" y="339"/>
                    <a:pt x="37" y="339"/>
                  </a:cubicBezTo>
                  <a:cubicBezTo>
                    <a:pt x="37" y="338"/>
                    <a:pt x="37" y="338"/>
                    <a:pt x="37" y="338"/>
                  </a:cubicBezTo>
                  <a:cubicBezTo>
                    <a:pt x="37" y="338"/>
                    <a:pt x="37" y="338"/>
                    <a:pt x="37" y="338"/>
                  </a:cubicBezTo>
                  <a:cubicBezTo>
                    <a:pt x="37" y="338"/>
                    <a:pt x="37" y="338"/>
                    <a:pt x="37" y="338"/>
                  </a:cubicBezTo>
                  <a:cubicBezTo>
                    <a:pt x="36" y="338"/>
                    <a:pt x="36" y="338"/>
                    <a:pt x="36" y="338"/>
                  </a:cubicBezTo>
                  <a:cubicBezTo>
                    <a:pt x="36" y="338"/>
                    <a:pt x="36" y="338"/>
                    <a:pt x="36" y="338"/>
                  </a:cubicBezTo>
                  <a:cubicBezTo>
                    <a:pt x="36" y="337"/>
                    <a:pt x="35" y="337"/>
                    <a:pt x="35" y="337"/>
                  </a:cubicBezTo>
                  <a:cubicBezTo>
                    <a:pt x="34" y="337"/>
                    <a:pt x="34" y="337"/>
                    <a:pt x="34" y="336"/>
                  </a:cubicBezTo>
                  <a:cubicBezTo>
                    <a:pt x="32" y="335"/>
                    <a:pt x="29" y="334"/>
                    <a:pt x="27" y="333"/>
                  </a:cubicBezTo>
                  <a:cubicBezTo>
                    <a:pt x="26" y="333"/>
                    <a:pt x="25" y="333"/>
                    <a:pt x="24" y="333"/>
                  </a:cubicBezTo>
                  <a:cubicBezTo>
                    <a:pt x="24" y="333"/>
                    <a:pt x="24" y="333"/>
                    <a:pt x="24" y="333"/>
                  </a:cubicBezTo>
                  <a:cubicBezTo>
                    <a:pt x="24" y="333"/>
                    <a:pt x="24" y="333"/>
                    <a:pt x="24" y="333"/>
                  </a:cubicBezTo>
                  <a:cubicBezTo>
                    <a:pt x="24" y="333"/>
                    <a:pt x="24" y="332"/>
                    <a:pt x="24" y="332"/>
                  </a:cubicBezTo>
                  <a:cubicBezTo>
                    <a:pt x="23" y="332"/>
                    <a:pt x="22" y="332"/>
                    <a:pt x="21" y="331"/>
                  </a:cubicBezTo>
                  <a:cubicBezTo>
                    <a:pt x="21" y="331"/>
                    <a:pt x="20" y="331"/>
                    <a:pt x="20" y="331"/>
                  </a:cubicBezTo>
                  <a:cubicBezTo>
                    <a:pt x="20" y="331"/>
                    <a:pt x="20" y="331"/>
                    <a:pt x="20" y="331"/>
                  </a:cubicBezTo>
                  <a:cubicBezTo>
                    <a:pt x="19" y="330"/>
                    <a:pt x="19" y="330"/>
                    <a:pt x="19" y="330"/>
                  </a:cubicBezTo>
                  <a:cubicBezTo>
                    <a:pt x="19" y="330"/>
                    <a:pt x="19" y="330"/>
                    <a:pt x="19" y="330"/>
                  </a:cubicBezTo>
                  <a:cubicBezTo>
                    <a:pt x="18" y="329"/>
                    <a:pt x="18" y="329"/>
                    <a:pt x="17" y="328"/>
                  </a:cubicBezTo>
                  <a:cubicBezTo>
                    <a:pt x="17" y="328"/>
                    <a:pt x="17" y="328"/>
                    <a:pt x="17" y="328"/>
                  </a:cubicBezTo>
                  <a:cubicBezTo>
                    <a:pt x="17" y="328"/>
                    <a:pt x="17" y="328"/>
                    <a:pt x="17" y="328"/>
                  </a:cubicBezTo>
                  <a:cubicBezTo>
                    <a:pt x="16" y="328"/>
                    <a:pt x="16" y="328"/>
                    <a:pt x="16" y="327"/>
                  </a:cubicBezTo>
                  <a:cubicBezTo>
                    <a:pt x="16" y="327"/>
                    <a:pt x="16" y="327"/>
                    <a:pt x="16" y="327"/>
                  </a:cubicBezTo>
                  <a:cubicBezTo>
                    <a:pt x="15" y="326"/>
                    <a:pt x="15" y="326"/>
                    <a:pt x="14" y="326"/>
                  </a:cubicBezTo>
                  <a:cubicBezTo>
                    <a:pt x="14" y="325"/>
                    <a:pt x="14" y="325"/>
                    <a:pt x="14" y="325"/>
                  </a:cubicBezTo>
                  <a:cubicBezTo>
                    <a:pt x="14" y="325"/>
                    <a:pt x="14" y="325"/>
                    <a:pt x="14" y="325"/>
                  </a:cubicBezTo>
                  <a:cubicBezTo>
                    <a:pt x="14" y="324"/>
                    <a:pt x="14" y="324"/>
                    <a:pt x="14" y="324"/>
                  </a:cubicBezTo>
                  <a:cubicBezTo>
                    <a:pt x="14" y="324"/>
                    <a:pt x="13" y="324"/>
                    <a:pt x="13" y="324"/>
                  </a:cubicBezTo>
                  <a:cubicBezTo>
                    <a:pt x="13" y="323"/>
                    <a:pt x="13" y="323"/>
                    <a:pt x="13" y="322"/>
                  </a:cubicBezTo>
                  <a:cubicBezTo>
                    <a:pt x="12" y="322"/>
                    <a:pt x="12" y="322"/>
                    <a:pt x="12" y="322"/>
                  </a:cubicBezTo>
                  <a:cubicBezTo>
                    <a:pt x="12" y="321"/>
                    <a:pt x="12" y="320"/>
                    <a:pt x="12" y="320"/>
                  </a:cubicBezTo>
                  <a:cubicBezTo>
                    <a:pt x="12" y="320"/>
                    <a:pt x="12" y="320"/>
                    <a:pt x="12" y="320"/>
                  </a:cubicBezTo>
                  <a:cubicBezTo>
                    <a:pt x="12" y="319"/>
                    <a:pt x="12" y="318"/>
                    <a:pt x="12" y="318"/>
                  </a:cubicBezTo>
                  <a:cubicBezTo>
                    <a:pt x="11" y="318"/>
                    <a:pt x="11" y="318"/>
                    <a:pt x="11" y="318"/>
                  </a:cubicBezTo>
                  <a:cubicBezTo>
                    <a:pt x="11" y="316"/>
                    <a:pt x="12" y="314"/>
                    <a:pt x="12" y="313"/>
                  </a:cubicBezTo>
                  <a:cubicBezTo>
                    <a:pt x="12" y="313"/>
                    <a:pt x="12" y="312"/>
                    <a:pt x="12" y="311"/>
                  </a:cubicBezTo>
                  <a:cubicBezTo>
                    <a:pt x="12" y="311"/>
                    <a:pt x="12" y="311"/>
                    <a:pt x="13" y="311"/>
                  </a:cubicBezTo>
                  <a:cubicBezTo>
                    <a:pt x="13" y="311"/>
                    <a:pt x="13" y="311"/>
                    <a:pt x="13" y="311"/>
                  </a:cubicBezTo>
                  <a:cubicBezTo>
                    <a:pt x="13" y="310"/>
                    <a:pt x="13" y="310"/>
                    <a:pt x="14" y="310"/>
                  </a:cubicBezTo>
                  <a:cubicBezTo>
                    <a:pt x="14" y="310"/>
                    <a:pt x="14" y="309"/>
                    <a:pt x="14" y="309"/>
                  </a:cubicBezTo>
                  <a:cubicBezTo>
                    <a:pt x="14" y="309"/>
                    <a:pt x="14" y="309"/>
                    <a:pt x="14" y="309"/>
                  </a:cubicBezTo>
                  <a:cubicBezTo>
                    <a:pt x="14" y="309"/>
                    <a:pt x="14" y="309"/>
                    <a:pt x="15" y="308"/>
                  </a:cubicBezTo>
                  <a:cubicBezTo>
                    <a:pt x="15" y="308"/>
                    <a:pt x="15" y="308"/>
                    <a:pt x="15" y="308"/>
                  </a:cubicBezTo>
                  <a:cubicBezTo>
                    <a:pt x="15" y="308"/>
                    <a:pt x="16" y="308"/>
                    <a:pt x="16" y="307"/>
                  </a:cubicBezTo>
                  <a:cubicBezTo>
                    <a:pt x="16" y="307"/>
                    <a:pt x="16" y="307"/>
                    <a:pt x="16" y="307"/>
                  </a:cubicBezTo>
                  <a:cubicBezTo>
                    <a:pt x="17" y="307"/>
                    <a:pt x="17" y="307"/>
                    <a:pt x="17" y="307"/>
                  </a:cubicBezTo>
                  <a:cubicBezTo>
                    <a:pt x="18" y="307"/>
                    <a:pt x="19" y="306"/>
                    <a:pt x="20" y="306"/>
                  </a:cubicBezTo>
                  <a:cubicBezTo>
                    <a:pt x="20" y="304"/>
                    <a:pt x="19" y="303"/>
                    <a:pt x="18" y="301"/>
                  </a:cubicBezTo>
                  <a:cubicBezTo>
                    <a:pt x="18" y="300"/>
                    <a:pt x="18" y="300"/>
                    <a:pt x="18" y="299"/>
                  </a:cubicBezTo>
                  <a:cubicBezTo>
                    <a:pt x="18" y="299"/>
                    <a:pt x="18" y="299"/>
                    <a:pt x="17" y="299"/>
                  </a:cubicBezTo>
                  <a:cubicBezTo>
                    <a:pt x="17" y="299"/>
                    <a:pt x="17" y="299"/>
                    <a:pt x="17" y="298"/>
                  </a:cubicBezTo>
                  <a:cubicBezTo>
                    <a:pt x="17" y="298"/>
                    <a:pt x="17" y="298"/>
                    <a:pt x="17" y="298"/>
                  </a:cubicBezTo>
                  <a:cubicBezTo>
                    <a:pt x="17" y="297"/>
                    <a:pt x="17" y="296"/>
                    <a:pt x="16" y="295"/>
                  </a:cubicBezTo>
                  <a:cubicBezTo>
                    <a:pt x="16" y="295"/>
                    <a:pt x="16" y="295"/>
                    <a:pt x="16" y="295"/>
                  </a:cubicBezTo>
                  <a:cubicBezTo>
                    <a:pt x="16" y="295"/>
                    <a:pt x="16" y="295"/>
                    <a:pt x="16" y="295"/>
                  </a:cubicBezTo>
                  <a:cubicBezTo>
                    <a:pt x="16" y="295"/>
                    <a:pt x="16" y="295"/>
                    <a:pt x="16" y="295"/>
                  </a:cubicBezTo>
                  <a:cubicBezTo>
                    <a:pt x="15" y="293"/>
                    <a:pt x="15" y="292"/>
                    <a:pt x="15" y="291"/>
                  </a:cubicBezTo>
                  <a:cubicBezTo>
                    <a:pt x="15" y="291"/>
                    <a:pt x="15" y="291"/>
                    <a:pt x="15" y="291"/>
                  </a:cubicBezTo>
                  <a:cubicBezTo>
                    <a:pt x="15" y="291"/>
                    <a:pt x="15" y="291"/>
                    <a:pt x="15" y="291"/>
                  </a:cubicBezTo>
                  <a:cubicBezTo>
                    <a:pt x="15" y="291"/>
                    <a:pt x="14" y="291"/>
                    <a:pt x="14" y="291"/>
                  </a:cubicBezTo>
                  <a:cubicBezTo>
                    <a:pt x="14" y="290"/>
                    <a:pt x="14" y="290"/>
                    <a:pt x="14" y="290"/>
                  </a:cubicBezTo>
                  <a:cubicBezTo>
                    <a:pt x="14" y="290"/>
                    <a:pt x="14" y="290"/>
                    <a:pt x="14" y="290"/>
                  </a:cubicBezTo>
                  <a:cubicBezTo>
                    <a:pt x="14" y="289"/>
                    <a:pt x="14" y="289"/>
                    <a:pt x="14" y="289"/>
                  </a:cubicBezTo>
                  <a:cubicBezTo>
                    <a:pt x="14" y="289"/>
                    <a:pt x="14" y="289"/>
                    <a:pt x="14" y="289"/>
                  </a:cubicBezTo>
                  <a:cubicBezTo>
                    <a:pt x="14" y="288"/>
                    <a:pt x="14" y="288"/>
                    <a:pt x="14" y="288"/>
                  </a:cubicBezTo>
                  <a:cubicBezTo>
                    <a:pt x="14" y="288"/>
                    <a:pt x="13" y="288"/>
                    <a:pt x="13" y="288"/>
                  </a:cubicBezTo>
                  <a:cubicBezTo>
                    <a:pt x="13" y="287"/>
                    <a:pt x="13" y="287"/>
                    <a:pt x="13" y="286"/>
                  </a:cubicBezTo>
                  <a:cubicBezTo>
                    <a:pt x="13" y="286"/>
                    <a:pt x="13" y="286"/>
                    <a:pt x="13" y="286"/>
                  </a:cubicBezTo>
                  <a:cubicBezTo>
                    <a:pt x="13" y="286"/>
                    <a:pt x="13" y="286"/>
                    <a:pt x="13" y="286"/>
                  </a:cubicBezTo>
                  <a:cubicBezTo>
                    <a:pt x="13" y="286"/>
                    <a:pt x="13" y="286"/>
                    <a:pt x="13" y="286"/>
                  </a:cubicBezTo>
                  <a:cubicBezTo>
                    <a:pt x="12" y="285"/>
                    <a:pt x="12" y="284"/>
                    <a:pt x="12" y="284"/>
                  </a:cubicBezTo>
                  <a:cubicBezTo>
                    <a:pt x="12" y="284"/>
                    <a:pt x="12" y="284"/>
                    <a:pt x="12" y="284"/>
                  </a:cubicBezTo>
                  <a:cubicBezTo>
                    <a:pt x="12" y="283"/>
                    <a:pt x="12" y="283"/>
                    <a:pt x="12" y="283"/>
                  </a:cubicBezTo>
                  <a:cubicBezTo>
                    <a:pt x="12" y="283"/>
                    <a:pt x="12" y="283"/>
                    <a:pt x="12" y="283"/>
                  </a:cubicBezTo>
                  <a:cubicBezTo>
                    <a:pt x="11" y="282"/>
                    <a:pt x="11" y="281"/>
                    <a:pt x="11" y="280"/>
                  </a:cubicBezTo>
                  <a:cubicBezTo>
                    <a:pt x="11" y="280"/>
                    <a:pt x="11" y="280"/>
                    <a:pt x="10" y="280"/>
                  </a:cubicBezTo>
                  <a:cubicBezTo>
                    <a:pt x="10" y="280"/>
                    <a:pt x="10" y="279"/>
                    <a:pt x="10" y="279"/>
                  </a:cubicBezTo>
                  <a:cubicBezTo>
                    <a:pt x="10" y="279"/>
                    <a:pt x="10" y="279"/>
                    <a:pt x="10" y="279"/>
                  </a:cubicBezTo>
                  <a:cubicBezTo>
                    <a:pt x="10" y="278"/>
                    <a:pt x="10" y="277"/>
                    <a:pt x="9" y="276"/>
                  </a:cubicBezTo>
                  <a:cubicBezTo>
                    <a:pt x="9" y="276"/>
                    <a:pt x="9" y="276"/>
                    <a:pt x="9" y="276"/>
                  </a:cubicBezTo>
                  <a:cubicBezTo>
                    <a:pt x="9" y="276"/>
                    <a:pt x="9" y="276"/>
                    <a:pt x="9" y="275"/>
                  </a:cubicBezTo>
                  <a:cubicBezTo>
                    <a:pt x="9" y="275"/>
                    <a:pt x="9" y="275"/>
                    <a:pt x="9" y="275"/>
                  </a:cubicBezTo>
                  <a:cubicBezTo>
                    <a:pt x="8" y="274"/>
                    <a:pt x="8" y="273"/>
                    <a:pt x="8" y="272"/>
                  </a:cubicBezTo>
                  <a:cubicBezTo>
                    <a:pt x="8" y="272"/>
                    <a:pt x="8" y="272"/>
                    <a:pt x="8" y="272"/>
                  </a:cubicBezTo>
                  <a:cubicBezTo>
                    <a:pt x="8" y="272"/>
                    <a:pt x="8" y="272"/>
                    <a:pt x="8" y="271"/>
                  </a:cubicBezTo>
                  <a:cubicBezTo>
                    <a:pt x="8" y="271"/>
                    <a:pt x="7" y="271"/>
                    <a:pt x="7" y="271"/>
                  </a:cubicBezTo>
                  <a:cubicBezTo>
                    <a:pt x="7" y="271"/>
                    <a:pt x="7" y="270"/>
                    <a:pt x="7" y="269"/>
                  </a:cubicBezTo>
                  <a:cubicBezTo>
                    <a:pt x="7" y="269"/>
                    <a:pt x="7" y="269"/>
                    <a:pt x="7" y="269"/>
                  </a:cubicBezTo>
                  <a:cubicBezTo>
                    <a:pt x="7" y="269"/>
                    <a:pt x="7" y="269"/>
                    <a:pt x="7" y="268"/>
                  </a:cubicBezTo>
                  <a:cubicBezTo>
                    <a:pt x="7" y="268"/>
                    <a:pt x="6" y="268"/>
                    <a:pt x="6" y="268"/>
                  </a:cubicBezTo>
                  <a:cubicBezTo>
                    <a:pt x="6" y="268"/>
                    <a:pt x="6" y="268"/>
                    <a:pt x="6" y="268"/>
                  </a:cubicBezTo>
                  <a:cubicBezTo>
                    <a:pt x="6" y="268"/>
                    <a:pt x="6" y="268"/>
                    <a:pt x="6" y="268"/>
                  </a:cubicBezTo>
                  <a:cubicBezTo>
                    <a:pt x="6" y="267"/>
                    <a:pt x="6" y="267"/>
                    <a:pt x="6" y="267"/>
                  </a:cubicBezTo>
                  <a:cubicBezTo>
                    <a:pt x="6" y="267"/>
                    <a:pt x="6" y="267"/>
                    <a:pt x="6" y="267"/>
                  </a:cubicBezTo>
                  <a:cubicBezTo>
                    <a:pt x="5" y="265"/>
                    <a:pt x="5" y="264"/>
                    <a:pt x="5" y="263"/>
                  </a:cubicBezTo>
                  <a:cubicBezTo>
                    <a:pt x="5" y="263"/>
                    <a:pt x="5" y="263"/>
                    <a:pt x="5" y="263"/>
                  </a:cubicBezTo>
                  <a:cubicBezTo>
                    <a:pt x="5" y="263"/>
                    <a:pt x="5" y="263"/>
                    <a:pt x="5" y="263"/>
                  </a:cubicBezTo>
                  <a:cubicBezTo>
                    <a:pt x="4" y="263"/>
                    <a:pt x="4" y="263"/>
                    <a:pt x="4" y="263"/>
                  </a:cubicBezTo>
                  <a:cubicBezTo>
                    <a:pt x="4" y="262"/>
                    <a:pt x="4" y="261"/>
                    <a:pt x="4" y="261"/>
                  </a:cubicBezTo>
                  <a:cubicBezTo>
                    <a:pt x="4" y="261"/>
                    <a:pt x="4" y="261"/>
                    <a:pt x="3" y="261"/>
                  </a:cubicBezTo>
                  <a:cubicBezTo>
                    <a:pt x="3" y="260"/>
                    <a:pt x="3" y="260"/>
                    <a:pt x="3" y="260"/>
                  </a:cubicBezTo>
                  <a:cubicBezTo>
                    <a:pt x="3" y="260"/>
                    <a:pt x="3" y="260"/>
                    <a:pt x="3" y="260"/>
                  </a:cubicBezTo>
                  <a:cubicBezTo>
                    <a:pt x="3" y="259"/>
                    <a:pt x="3" y="258"/>
                    <a:pt x="2" y="257"/>
                  </a:cubicBezTo>
                  <a:cubicBezTo>
                    <a:pt x="2" y="257"/>
                    <a:pt x="2" y="257"/>
                    <a:pt x="2" y="257"/>
                  </a:cubicBezTo>
                  <a:cubicBezTo>
                    <a:pt x="2" y="257"/>
                    <a:pt x="2" y="256"/>
                    <a:pt x="2" y="256"/>
                  </a:cubicBezTo>
                  <a:cubicBezTo>
                    <a:pt x="2" y="256"/>
                    <a:pt x="2" y="256"/>
                    <a:pt x="1" y="256"/>
                  </a:cubicBezTo>
                  <a:cubicBezTo>
                    <a:pt x="1" y="255"/>
                    <a:pt x="1" y="253"/>
                    <a:pt x="0" y="252"/>
                  </a:cubicBezTo>
                  <a:cubicBezTo>
                    <a:pt x="0" y="250"/>
                    <a:pt x="0" y="245"/>
                    <a:pt x="1" y="244"/>
                  </a:cubicBezTo>
                  <a:cubicBezTo>
                    <a:pt x="1" y="242"/>
                    <a:pt x="0" y="240"/>
                    <a:pt x="0" y="238"/>
                  </a:cubicBezTo>
                  <a:cubicBezTo>
                    <a:pt x="2" y="237"/>
                    <a:pt x="3" y="235"/>
                    <a:pt x="5" y="234"/>
                  </a:cubicBezTo>
                  <a:cubicBezTo>
                    <a:pt x="5" y="234"/>
                    <a:pt x="5" y="234"/>
                    <a:pt x="5" y="233"/>
                  </a:cubicBezTo>
                  <a:cubicBezTo>
                    <a:pt x="6" y="232"/>
                    <a:pt x="8" y="230"/>
                    <a:pt x="10" y="228"/>
                  </a:cubicBezTo>
                  <a:cubicBezTo>
                    <a:pt x="10" y="228"/>
                    <a:pt x="10" y="228"/>
                    <a:pt x="10" y="228"/>
                  </a:cubicBezTo>
                  <a:cubicBezTo>
                    <a:pt x="13" y="225"/>
                    <a:pt x="17" y="221"/>
                    <a:pt x="20" y="218"/>
                  </a:cubicBezTo>
                  <a:cubicBezTo>
                    <a:pt x="21" y="217"/>
                    <a:pt x="22" y="216"/>
                    <a:pt x="22" y="215"/>
                  </a:cubicBezTo>
                  <a:cubicBezTo>
                    <a:pt x="23" y="215"/>
                    <a:pt x="23" y="215"/>
                    <a:pt x="23" y="215"/>
                  </a:cubicBezTo>
                  <a:cubicBezTo>
                    <a:pt x="23" y="215"/>
                    <a:pt x="23" y="215"/>
                    <a:pt x="23" y="215"/>
                  </a:cubicBezTo>
                  <a:cubicBezTo>
                    <a:pt x="24" y="214"/>
                    <a:pt x="24" y="214"/>
                    <a:pt x="25" y="214"/>
                  </a:cubicBezTo>
                  <a:cubicBezTo>
                    <a:pt x="26" y="213"/>
                    <a:pt x="26" y="211"/>
                    <a:pt x="28" y="211"/>
                  </a:cubicBezTo>
                  <a:cubicBezTo>
                    <a:pt x="29" y="212"/>
                    <a:pt x="31" y="212"/>
                    <a:pt x="33" y="212"/>
                  </a:cubicBezTo>
                  <a:cubicBezTo>
                    <a:pt x="35" y="213"/>
                    <a:pt x="39" y="213"/>
                    <a:pt x="42" y="213"/>
                  </a:cubicBezTo>
                  <a:cubicBezTo>
                    <a:pt x="43" y="215"/>
                    <a:pt x="44" y="215"/>
                    <a:pt x="45" y="217"/>
                  </a:cubicBezTo>
                  <a:cubicBezTo>
                    <a:pt x="45" y="217"/>
                    <a:pt x="46" y="217"/>
                    <a:pt x="46" y="218"/>
                  </a:cubicBezTo>
                  <a:cubicBezTo>
                    <a:pt x="46" y="218"/>
                    <a:pt x="46" y="218"/>
                    <a:pt x="47" y="218"/>
                  </a:cubicBezTo>
                  <a:cubicBezTo>
                    <a:pt x="47" y="218"/>
                    <a:pt x="47" y="218"/>
                    <a:pt x="47" y="219"/>
                  </a:cubicBezTo>
                  <a:cubicBezTo>
                    <a:pt x="48" y="220"/>
                    <a:pt x="49" y="221"/>
                    <a:pt x="50" y="222"/>
                  </a:cubicBezTo>
                  <a:cubicBezTo>
                    <a:pt x="51" y="223"/>
                    <a:pt x="52" y="224"/>
                    <a:pt x="52" y="225"/>
                  </a:cubicBezTo>
                  <a:cubicBezTo>
                    <a:pt x="53" y="225"/>
                    <a:pt x="54" y="225"/>
                    <a:pt x="55" y="225"/>
                  </a:cubicBezTo>
                  <a:cubicBezTo>
                    <a:pt x="56" y="224"/>
                    <a:pt x="57" y="225"/>
                    <a:pt x="58" y="224"/>
                  </a:cubicBezTo>
                  <a:cubicBezTo>
                    <a:pt x="60" y="224"/>
                    <a:pt x="63" y="223"/>
                    <a:pt x="65" y="222"/>
                  </a:cubicBezTo>
                  <a:cubicBezTo>
                    <a:pt x="66" y="222"/>
                    <a:pt x="67" y="222"/>
                    <a:pt x="67" y="222"/>
                  </a:cubicBezTo>
                  <a:cubicBezTo>
                    <a:pt x="67" y="222"/>
                    <a:pt x="67" y="222"/>
                    <a:pt x="67" y="222"/>
                  </a:cubicBezTo>
                  <a:cubicBezTo>
                    <a:pt x="68" y="222"/>
                    <a:pt x="69" y="222"/>
                    <a:pt x="69" y="222"/>
                  </a:cubicBezTo>
                  <a:cubicBezTo>
                    <a:pt x="69" y="222"/>
                    <a:pt x="69" y="222"/>
                    <a:pt x="69" y="222"/>
                  </a:cubicBezTo>
                  <a:cubicBezTo>
                    <a:pt x="71" y="222"/>
                    <a:pt x="72" y="221"/>
                    <a:pt x="73" y="221"/>
                  </a:cubicBezTo>
                  <a:cubicBezTo>
                    <a:pt x="73" y="221"/>
                    <a:pt x="73" y="221"/>
                    <a:pt x="73" y="221"/>
                  </a:cubicBezTo>
                  <a:cubicBezTo>
                    <a:pt x="74" y="220"/>
                    <a:pt x="75" y="220"/>
                    <a:pt x="75" y="219"/>
                  </a:cubicBezTo>
                  <a:cubicBezTo>
                    <a:pt x="75" y="219"/>
                    <a:pt x="75" y="219"/>
                    <a:pt x="75" y="219"/>
                  </a:cubicBezTo>
                  <a:cubicBezTo>
                    <a:pt x="77" y="217"/>
                    <a:pt x="78" y="216"/>
                    <a:pt x="80" y="214"/>
                  </a:cubicBezTo>
                  <a:cubicBezTo>
                    <a:pt x="80" y="214"/>
                    <a:pt x="80" y="214"/>
                    <a:pt x="80" y="213"/>
                  </a:cubicBezTo>
                  <a:cubicBezTo>
                    <a:pt x="80" y="213"/>
                    <a:pt x="81" y="213"/>
                    <a:pt x="81" y="213"/>
                  </a:cubicBezTo>
                  <a:cubicBezTo>
                    <a:pt x="82" y="212"/>
                    <a:pt x="82" y="211"/>
                    <a:pt x="83" y="210"/>
                  </a:cubicBezTo>
                  <a:cubicBezTo>
                    <a:pt x="83" y="210"/>
                    <a:pt x="84" y="210"/>
                    <a:pt x="84" y="210"/>
                  </a:cubicBezTo>
                  <a:cubicBezTo>
                    <a:pt x="84" y="210"/>
                    <a:pt x="84" y="209"/>
                    <a:pt x="84" y="209"/>
                  </a:cubicBezTo>
                  <a:cubicBezTo>
                    <a:pt x="84" y="209"/>
                    <a:pt x="84" y="209"/>
                    <a:pt x="84" y="209"/>
                  </a:cubicBezTo>
                  <a:cubicBezTo>
                    <a:pt x="83" y="207"/>
                    <a:pt x="83" y="206"/>
                    <a:pt x="83" y="204"/>
                  </a:cubicBezTo>
                  <a:cubicBezTo>
                    <a:pt x="83" y="204"/>
                    <a:pt x="83" y="204"/>
                    <a:pt x="83" y="204"/>
                  </a:cubicBezTo>
                  <a:cubicBezTo>
                    <a:pt x="83" y="204"/>
                    <a:pt x="83" y="203"/>
                    <a:pt x="83" y="203"/>
                  </a:cubicBezTo>
                  <a:cubicBezTo>
                    <a:pt x="82" y="203"/>
                    <a:pt x="82" y="203"/>
                    <a:pt x="82" y="203"/>
                  </a:cubicBezTo>
                  <a:cubicBezTo>
                    <a:pt x="82" y="202"/>
                    <a:pt x="82" y="202"/>
                    <a:pt x="82" y="201"/>
                  </a:cubicBezTo>
                  <a:cubicBezTo>
                    <a:pt x="82" y="201"/>
                    <a:pt x="82" y="201"/>
                    <a:pt x="82" y="201"/>
                  </a:cubicBezTo>
                  <a:cubicBezTo>
                    <a:pt x="82" y="201"/>
                    <a:pt x="82" y="200"/>
                    <a:pt x="82" y="200"/>
                  </a:cubicBezTo>
                  <a:cubicBezTo>
                    <a:pt x="82" y="200"/>
                    <a:pt x="82" y="200"/>
                    <a:pt x="81" y="200"/>
                  </a:cubicBezTo>
                  <a:cubicBezTo>
                    <a:pt x="81" y="199"/>
                    <a:pt x="81" y="199"/>
                    <a:pt x="81" y="198"/>
                  </a:cubicBezTo>
                  <a:cubicBezTo>
                    <a:pt x="81" y="198"/>
                    <a:pt x="81" y="198"/>
                    <a:pt x="81" y="198"/>
                  </a:cubicBezTo>
                  <a:cubicBezTo>
                    <a:pt x="81" y="198"/>
                    <a:pt x="81" y="197"/>
                    <a:pt x="81" y="197"/>
                  </a:cubicBezTo>
                  <a:cubicBezTo>
                    <a:pt x="81" y="197"/>
                    <a:pt x="81" y="197"/>
                    <a:pt x="81" y="197"/>
                  </a:cubicBezTo>
                  <a:cubicBezTo>
                    <a:pt x="81" y="196"/>
                    <a:pt x="81" y="195"/>
                    <a:pt x="80" y="194"/>
                  </a:cubicBezTo>
                  <a:cubicBezTo>
                    <a:pt x="80" y="194"/>
                    <a:pt x="80" y="194"/>
                    <a:pt x="80" y="194"/>
                  </a:cubicBezTo>
                  <a:cubicBezTo>
                    <a:pt x="80" y="193"/>
                    <a:pt x="80" y="193"/>
                    <a:pt x="80" y="192"/>
                  </a:cubicBezTo>
                  <a:cubicBezTo>
                    <a:pt x="80" y="192"/>
                    <a:pt x="80" y="192"/>
                    <a:pt x="80" y="192"/>
                  </a:cubicBezTo>
                  <a:cubicBezTo>
                    <a:pt x="80" y="192"/>
                    <a:pt x="80" y="191"/>
                    <a:pt x="80" y="191"/>
                  </a:cubicBezTo>
                  <a:cubicBezTo>
                    <a:pt x="79" y="190"/>
                    <a:pt x="79" y="188"/>
                    <a:pt x="79" y="187"/>
                  </a:cubicBezTo>
                  <a:cubicBezTo>
                    <a:pt x="79" y="187"/>
                    <a:pt x="79" y="187"/>
                    <a:pt x="79" y="187"/>
                  </a:cubicBezTo>
                  <a:cubicBezTo>
                    <a:pt x="79" y="187"/>
                    <a:pt x="79" y="187"/>
                    <a:pt x="79" y="186"/>
                  </a:cubicBezTo>
                  <a:cubicBezTo>
                    <a:pt x="81" y="186"/>
                    <a:pt x="82" y="186"/>
                    <a:pt x="84" y="185"/>
                  </a:cubicBezTo>
                  <a:cubicBezTo>
                    <a:pt x="84" y="185"/>
                    <a:pt x="84" y="185"/>
                    <a:pt x="84" y="185"/>
                  </a:cubicBezTo>
                  <a:cubicBezTo>
                    <a:pt x="84" y="185"/>
                    <a:pt x="85" y="185"/>
                    <a:pt x="86" y="185"/>
                  </a:cubicBezTo>
                  <a:cubicBezTo>
                    <a:pt x="86" y="185"/>
                    <a:pt x="86" y="184"/>
                    <a:pt x="86" y="184"/>
                  </a:cubicBezTo>
                  <a:cubicBezTo>
                    <a:pt x="86" y="184"/>
                    <a:pt x="87" y="184"/>
                    <a:pt x="87" y="184"/>
                  </a:cubicBezTo>
                  <a:cubicBezTo>
                    <a:pt x="87" y="184"/>
                    <a:pt x="87" y="184"/>
                    <a:pt x="87" y="184"/>
                  </a:cubicBezTo>
                  <a:cubicBezTo>
                    <a:pt x="88" y="184"/>
                    <a:pt x="88" y="184"/>
                    <a:pt x="88" y="184"/>
                  </a:cubicBezTo>
                  <a:cubicBezTo>
                    <a:pt x="88" y="184"/>
                    <a:pt x="88" y="184"/>
                    <a:pt x="88" y="184"/>
                  </a:cubicBezTo>
                  <a:cubicBezTo>
                    <a:pt x="89" y="184"/>
                    <a:pt x="89" y="184"/>
                    <a:pt x="90" y="184"/>
                  </a:cubicBezTo>
                  <a:cubicBezTo>
                    <a:pt x="90" y="184"/>
                    <a:pt x="90" y="183"/>
                    <a:pt x="90" y="183"/>
                  </a:cubicBezTo>
                  <a:cubicBezTo>
                    <a:pt x="90" y="183"/>
                    <a:pt x="91" y="183"/>
                    <a:pt x="91" y="183"/>
                  </a:cubicBezTo>
                  <a:cubicBezTo>
                    <a:pt x="91" y="183"/>
                    <a:pt x="91" y="183"/>
                    <a:pt x="91" y="183"/>
                  </a:cubicBezTo>
                  <a:cubicBezTo>
                    <a:pt x="92" y="183"/>
                    <a:pt x="93" y="182"/>
                    <a:pt x="94" y="182"/>
                  </a:cubicBezTo>
                  <a:cubicBezTo>
                    <a:pt x="94" y="182"/>
                    <a:pt x="94" y="182"/>
                    <a:pt x="94" y="182"/>
                  </a:cubicBezTo>
                  <a:cubicBezTo>
                    <a:pt x="95" y="182"/>
                    <a:pt x="96" y="182"/>
                    <a:pt x="97" y="182"/>
                  </a:cubicBezTo>
                  <a:cubicBezTo>
                    <a:pt x="97" y="181"/>
                    <a:pt x="97" y="181"/>
                    <a:pt x="97" y="181"/>
                  </a:cubicBezTo>
                  <a:cubicBezTo>
                    <a:pt x="98" y="181"/>
                    <a:pt x="98" y="181"/>
                    <a:pt x="99" y="181"/>
                  </a:cubicBezTo>
                  <a:cubicBezTo>
                    <a:pt x="99" y="181"/>
                    <a:pt x="99" y="181"/>
                    <a:pt x="99" y="181"/>
                  </a:cubicBezTo>
                  <a:cubicBezTo>
                    <a:pt x="101" y="180"/>
                    <a:pt x="104" y="180"/>
                    <a:pt x="106" y="179"/>
                  </a:cubicBezTo>
                  <a:cubicBezTo>
                    <a:pt x="112" y="177"/>
                    <a:pt x="118" y="175"/>
                    <a:pt x="124" y="172"/>
                  </a:cubicBezTo>
                  <a:cubicBezTo>
                    <a:pt x="125" y="172"/>
                    <a:pt x="126" y="172"/>
                    <a:pt x="127" y="172"/>
                  </a:cubicBezTo>
                  <a:cubicBezTo>
                    <a:pt x="127" y="172"/>
                    <a:pt x="127" y="172"/>
                    <a:pt x="127" y="171"/>
                  </a:cubicBezTo>
                  <a:cubicBezTo>
                    <a:pt x="128" y="171"/>
                    <a:pt x="129" y="171"/>
                    <a:pt x="130" y="171"/>
                  </a:cubicBezTo>
                  <a:cubicBezTo>
                    <a:pt x="130" y="171"/>
                    <a:pt x="130" y="170"/>
                    <a:pt x="130" y="170"/>
                  </a:cubicBezTo>
                  <a:cubicBezTo>
                    <a:pt x="131" y="170"/>
                    <a:pt x="131" y="170"/>
                    <a:pt x="131" y="170"/>
                  </a:cubicBezTo>
                  <a:cubicBezTo>
                    <a:pt x="131" y="170"/>
                    <a:pt x="131" y="170"/>
                    <a:pt x="131" y="170"/>
                  </a:cubicBezTo>
                  <a:cubicBezTo>
                    <a:pt x="131" y="170"/>
                    <a:pt x="132" y="170"/>
                    <a:pt x="132" y="170"/>
                  </a:cubicBezTo>
                  <a:cubicBezTo>
                    <a:pt x="132" y="170"/>
                    <a:pt x="132" y="170"/>
                    <a:pt x="132" y="170"/>
                  </a:cubicBezTo>
                  <a:cubicBezTo>
                    <a:pt x="133" y="170"/>
                    <a:pt x="134" y="169"/>
                    <a:pt x="134" y="169"/>
                  </a:cubicBezTo>
                  <a:cubicBezTo>
                    <a:pt x="134" y="169"/>
                    <a:pt x="134" y="169"/>
                    <a:pt x="134" y="169"/>
                  </a:cubicBezTo>
                  <a:cubicBezTo>
                    <a:pt x="135" y="169"/>
                    <a:pt x="135" y="169"/>
                    <a:pt x="135" y="169"/>
                  </a:cubicBezTo>
                  <a:cubicBezTo>
                    <a:pt x="135" y="168"/>
                    <a:pt x="135" y="168"/>
                    <a:pt x="135" y="168"/>
                  </a:cubicBezTo>
                  <a:cubicBezTo>
                    <a:pt x="135" y="168"/>
                    <a:pt x="136" y="167"/>
                    <a:pt x="136" y="167"/>
                  </a:cubicBezTo>
                  <a:cubicBezTo>
                    <a:pt x="136" y="167"/>
                    <a:pt x="136" y="167"/>
                    <a:pt x="136" y="167"/>
                  </a:cubicBezTo>
                  <a:cubicBezTo>
                    <a:pt x="136" y="166"/>
                    <a:pt x="137" y="166"/>
                    <a:pt x="137" y="165"/>
                  </a:cubicBezTo>
                  <a:cubicBezTo>
                    <a:pt x="137" y="165"/>
                    <a:pt x="137" y="165"/>
                    <a:pt x="137" y="165"/>
                  </a:cubicBezTo>
                  <a:cubicBezTo>
                    <a:pt x="138" y="165"/>
                    <a:pt x="138" y="164"/>
                    <a:pt x="138" y="164"/>
                  </a:cubicBezTo>
                  <a:cubicBezTo>
                    <a:pt x="138" y="164"/>
                    <a:pt x="138" y="164"/>
                    <a:pt x="138" y="163"/>
                  </a:cubicBezTo>
                  <a:cubicBezTo>
                    <a:pt x="139" y="163"/>
                    <a:pt x="139" y="163"/>
                    <a:pt x="139" y="163"/>
                  </a:cubicBezTo>
                  <a:cubicBezTo>
                    <a:pt x="139" y="163"/>
                    <a:pt x="139" y="162"/>
                    <a:pt x="140" y="162"/>
                  </a:cubicBezTo>
                  <a:cubicBezTo>
                    <a:pt x="140" y="162"/>
                    <a:pt x="140" y="161"/>
                    <a:pt x="141" y="161"/>
                  </a:cubicBezTo>
                  <a:cubicBezTo>
                    <a:pt x="141" y="161"/>
                    <a:pt x="141" y="160"/>
                    <a:pt x="141" y="160"/>
                  </a:cubicBezTo>
                  <a:cubicBezTo>
                    <a:pt x="141" y="160"/>
                    <a:pt x="142" y="160"/>
                    <a:pt x="142" y="160"/>
                  </a:cubicBezTo>
                  <a:cubicBezTo>
                    <a:pt x="142" y="159"/>
                    <a:pt x="142" y="159"/>
                    <a:pt x="142" y="159"/>
                  </a:cubicBezTo>
                  <a:cubicBezTo>
                    <a:pt x="142" y="159"/>
                    <a:pt x="143" y="158"/>
                    <a:pt x="143" y="158"/>
                  </a:cubicBezTo>
                  <a:cubicBezTo>
                    <a:pt x="143" y="158"/>
                    <a:pt x="143" y="158"/>
                    <a:pt x="143" y="157"/>
                  </a:cubicBezTo>
                  <a:cubicBezTo>
                    <a:pt x="143" y="157"/>
                    <a:pt x="143" y="157"/>
                    <a:pt x="144" y="157"/>
                  </a:cubicBezTo>
                  <a:cubicBezTo>
                    <a:pt x="144" y="157"/>
                    <a:pt x="144" y="156"/>
                    <a:pt x="144" y="156"/>
                  </a:cubicBezTo>
                  <a:cubicBezTo>
                    <a:pt x="145" y="156"/>
                    <a:pt x="145" y="155"/>
                    <a:pt x="145" y="155"/>
                  </a:cubicBezTo>
                  <a:cubicBezTo>
                    <a:pt x="145" y="155"/>
                    <a:pt x="145" y="155"/>
                    <a:pt x="145" y="154"/>
                  </a:cubicBezTo>
                  <a:cubicBezTo>
                    <a:pt x="146" y="154"/>
                    <a:pt x="146" y="154"/>
                    <a:pt x="147" y="154"/>
                  </a:cubicBezTo>
                  <a:cubicBezTo>
                    <a:pt x="147" y="153"/>
                    <a:pt x="147" y="153"/>
                    <a:pt x="147" y="153"/>
                  </a:cubicBezTo>
                  <a:cubicBezTo>
                    <a:pt x="147" y="153"/>
                    <a:pt x="147" y="152"/>
                    <a:pt x="148" y="152"/>
                  </a:cubicBezTo>
                  <a:cubicBezTo>
                    <a:pt x="148" y="152"/>
                    <a:pt x="148" y="152"/>
                    <a:pt x="148" y="151"/>
                  </a:cubicBezTo>
                  <a:cubicBezTo>
                    <a:pt x="148" y="151"/>
                    <a:pt x="148" y="151"/>
                    <a:pt x="149" y="151"/>
                  </a:cubicBezTo>
                  <a:cubicBezTo>
                    <a:pt x="149" y="151"/>
                    <a:pt x="149" y="150"/>
                    <a:pt x="149" y="150"/>
                  </a:cubicBezTo>
                  <a:cubicBezTo>
                    <a:pt x="149" y="150"/>
                    <a:pt x="150" y="149"/>
                    <a:pt x="150" y="149"/>
                  </a:cubicBezTo>
                  <a:cubicBezTo>
                    <a:pt x="150" y="149"/>
                    <a:pt x="150" y="149"/>
                    <a:pt x="150" y="148"/>
                  </a:cubicBezTo>
                  <a:cubicBezTo>
                    <a:pt x="150" y="148"/>
                    <a:pt x="151" y="148"/>
                    <a:pt x="151" y="148"/>
                  </a:cubicBezTo>
                  <a:cubicBezTo>
                    <a:pt x="151" y="147"/>
                    <a:pt x="151" y="147"/>
                    <a:pt x="151" y="147"/>
                  </a:cubicBezTo>
                  <a:cubicBezTo>
                    <a:pt x="152" y="146"/>
                    <a:pt x="152" y="146"/>
                    <a:pt x="152" y="146"/>
                  </a:cubicBezTo>
                  <a:cubicBezTo>
                    <a:pt x="154" y="141"/>
                    <a:pt x="156" y="136"/>
                    <a:pt x="157" y="131"/>
                  </a:cubicBezTo>
                  <a:cubicBezTo>
                    <a:pt x="157" y="131"/>
                    <a:pt x="158" y="131"/>
                    <a:pt x="158" y="131"/>
                  </a:cubicBezTo>
                  <a:cubicBezTo>
                    <a:pt x="158" y="130"/>
                    <a:pt x="158" y="130"/>
                    <a:pt x="158" y="130"/>
                  </a:cubicBezTo>
                  <a:cubicBezTo>
                    <a:pt x="158" y="130"/>
                    <a:pt x="158" y="130"/>
                    <a:pt x="158" y="130"/>
                  </a:cubicBezTo>
                  <a:cubicBezTo>
                    <a:pt x="158" y="129"/>
                    <a:pt x="158" y="128"/>
                    <a:pt x="158" y="128"/>
                  </a:cubicBezTo>
                  <a:cubicBezTo>
                    <a:pt x="159" y="128"/>
                    <a:pt x="159" y="128"/>
                    <a:pt x="159" y="128"/>
                  </a:cubicBezTo>
                  <a:cubicBezTo>
                    <a:pt x="159" y="127"/>
                    <a:pt x="159" y="126"/>
                    <a:pt x="159" y="126"/>
                  </a:cubicBezTo>
                  <a:cubicBezTo>
                    <a:pt x="159" y="126"/>
                    <a:pt x="159" y="126"/>
                    <a:pt x="159" y="126"/>
                  </a:cubicBezTo>
                  <a:cubicBezTo>
                    <a:pt x="159" y="125"/>
                    <a:pt x="159" y="125"/>
                    <a:pt x="159" y="125"/>
                  </a:cubicBezTo>
                  <a:cubicBezTo>
                    <a:pt x="160" y="125"/>
                    <a:pt x="160" y="125"/>
                    <a:pt x="160" y="125"/>
                  </a:cubicBezTo>
                  <a:cubicBezTo>
                    <a:pt x="160" y="124"/>
                    <a:pt x="160" y="123"/>
                    <a:pt x="161" y="122"/>
                  </a:cubicBezTo>
                  <a:cubicBezTo>
                    <a:pt x="161" y="122"/>
                    <a:pt x="161" y="122"/>
                    <a:pt x="161" y="122"/>
                  </a:cubicBezTo>
                  <a:cubicBezTo>
                    <a:pt x="161" y="122"/>
                    <a:pt x="161" y="121"/>
                    <a:pt x="161" y="121"/>
                  </a:cubicBezTo>
                  <a:cubicBezTo>
                    <a:pt x="161" y="121"/>
                    <a:pt x="161" y="121"/>
                    <a:pt x="161" y="121"/>
                  </a:cubicBezTo>
                  <a:cubicBezTo>
                    <a:pt x="161" y="121"/>
                    <a:pt x="161" y="120"/>
                    <a:pt x="161" y="120"/>
                  </a:cubicBezTo>
                  <a:cubicBezTo>
                    <a:pt x="161" y="120"/>
                    <a:pt x="161" y="120"/>
                    <a:pt x="162" y="120"/>
                  </a:cubicBezTo>
                  <a:cubicBezTo>
                    <a:pt x="162" y="120"/>
                    <a:pt x="162" y="119"/>
                    <a:pt x="162" y="119"/>
                  </a:cubicBezTo>
                  <a:cubicBezTo>
                    <a:pt x="162" y="119"/>
                    <a:pt x="162" y="119"/>
                    <a:pt x="162" y="119"/>
                  </a:cubicBezTo>
                  <a:cubicBezTo>
                    <a:pt x="162" y="119"/>
                    <a:pt x="162" y="118"/>
                    <a:pt x="162" y="118"/>
                  </a:cubicBezTo>
                  <a:cubicBezTo>
                    <a:pt x="162" y="118"/>
                    <a:pt x="162" y="118"/>
                    <a:pt x="162" y="118"/>
                  </a:cubicBezTo>
                  <a:cubicBezTo>
                    <a:pt x="162" y="118"/>
                    <a:pt x="162" y="117"/>
                    <a:pt x="162" y="117"/>
                  </a:cubicBezTo>
                  <a:cubicBezTo>
                    <a:pt x="162" y="117"/>
                    <a:pt x="162" y="117"/>
                    <a:pt x="163" y="117"/>
                  </a:cubicBezTo>
                  <a:cubicBezTo>
                    <a:pt x="163" y="117"/>
                    <a:pt x="163" y="116"/>
                    <a:pt x="163" y="116"/>
                  </a:cubicBezTo>
                  <a:cubicBezTo>
                    <a:pt x="163" y="116"/>
                    <a:pt x="163" y="116"/>
                    <a:pt x="163" y="116"/>
                  </a:cubicBezTo>
                  <a:cubicBezTo>
                    <a:pt x="163" y="116"/>
                    <a:pt x="163" y="115"/>
                    <a:pt x="163" y="115"/>
                  </a:cubicBezTo>
                  <a:cubicBezTo>
                    <a:pt x="163" y="115"/>
                    <a:pt x="163" y="115"/>
                    <a:pt x="163" y="115"/>
                  </a:cubicBezTo>
                  <a:cubicBezTo>
                    <a:pt x="163" y="115"/>
                    <a:pt x="163" y="114"/>
                    <a:pt x="163" y="114"/>
                  </a:cubicBezTo>
                  <a:cubicBezTo>
                    <a:pt x="163" y="114"/>
                    <a:pt x="164" y="114"/>
                    <a:pt x="164" y="114"/>
                  </a:cubicBezTo>
                  <a:cubicBezTo>
                    <a:pt x="164" y="114"/>
                    <a:pt x="164" y="113"/>
                    <a:pt x="164" y="113"/>
                  </a:cubicBezTo>
                  <a:cubicBezTo>
                    <a:pt x="164" y="113"/>
                    <a:pt x="164" y="113"/>
                    <a:pt x="164" y="113"/>
                  </a:cubicBezTo>
                  <a:cubicBezTo>
                    <a:pt x="164" y="113"/>
                    <a:pt x="164" y="112"/>
                    <a:pt x="164" y="112"/>
                  </a:cubicBezTo>
                  <a:cubicBezTo>
                    <a:pt x="164" y="112"/>
                    <a:pt x="164" y="112"/>
                    <a:pt x="164" y="112"/>
                  </a:cubicBezTo>
                  <a:cubicBezTo>
                    <a:pt x="164" y="112"/>
                    <a:pt x="164" y="111"/>
                    <a:pt x="164" y="111"/>
                  </a:cubicBezTo>
                  <a:cubicBezTo>
                    <a:pt x="164" y="111"/>
                    <a:pt x="165" y="111"/>
                    <a:pt x="165" y="111"/>
                  </a:cubicBezTo>
                  <a:cubicBezTo>
                    <a:pt x="165" y="111"/>
                    <a:pt x="165" y="110"/>
                    <a:pt x="165" y="109"/>
                  </a:cubicBezTo>
                  <a:cubicBezTo>
                    <a:pt x="165" y="109"/>
                    <a:pt x="165" y="109"/>
                    <a:pt x="165" y="109"/>
                  </a:cubicBezTo>
                  <a:cubicBezTo>
                    <a:pt x="165" y="109"/>
                    <a:pt x="165" y="108"/>
                    <a:pt x="165" y="108"/>
                  </a:cubicBezTo>
                  <a:cubicBezTo>
                    <a:pt x="166" y="108"/>
                    <a:pt x="166" y="108"/>
                    <a:pt x="166" y="108"/>
                  </a:cubicBezTo>
                  <a:cubicBezTo>
                    <a:pt x="166" y="108"/>
                    <a:pt x="166" y="108"/>
                    <a:pt x="166" y="107"/>
                  </a:cubicBezTo>
                  <a:cubicBezTo>
                    <a:pt x="166" y="107"/>
                    <a:pt x="166" y="107"/>
                    <a:pt x="166" y="107"/>
                  </a:cubicBezTo>
                  <a:cubicBezTo>
                    <a:pt x="166" y="107"/>
                    <a:pt x="166" y="107"/>
                    <a:pt x="166" y="106"/>
                  </a:cubicBezTo>
                  <a:cubicBezTo>
                    <a:pt x="166" y="106"/>
                    <a:pt x="166" y="106"/>
                    <a:pt x="166" y="106"/>
                  </a:cubicBezTo>
                  <a:cubicBezTo>
                    <a:pt x="167" y="105"/>
                    <a:pt x="167" y="104"/>
                    <a:pt x="167" y="103"/>
                  </a:cubicBezTo>
                  <a:cubicBezTo>
                    <a:pt x="167" y="103"/>
                    <a:pt x="167" y="103"/>
                    <a:pt x="168" y="103"/>
                  </a:cubicBezTo>
                  <a:cubicBezTo>
                    <a:pt x="168" y="103"/>
                    <a:pt x="168" y="103"/>
                    <a:pt x="168" y="103"/>
                  </a:cubicBezTo>
                  <a:cubicBezTo>
                    <a:pt x="168" y="103"/>
                    <a:pt x="168" y="103"/>
                    <a:pt x="168" y="103"/>
                  </a:cubicBezTo>
                  <a:cubicBezTo>
                    <a:pt x="168" y="101"/>
                    <a:pt x="168" y="100"/>
                    <a:pt x="169" y="99"/>
                  </a:cubicBezTo>
                  <a:cubicBezTo>
                    <a:pt x="169" y="99"/>
                    <a:pt x="169" y="99"/>
                    <a:pt x="169" y="99"/>
                  </a:cubicBezTo>
                  <a:cubicBezTo>
                    <a:pt x="169" y="99"/>
                    <a:pt x="169" y="99"/>
                    <a:pt x="169" y="99"/>
                  </a:cubicBezTo>
                  <a:cubicBezTo>
                    <a:pt x="169" y="99"/>
                    <a:pt x="169" y="99"/>
                    <a:pt x="169" y="99"/>
                  </a:cubicBezTo>
                  <a:cubicBezTo>
                    <a:pt x="169" y="98"/>
                    <a:pt x="169" y="98"/>
                    <a:pt x="169" y="98"/>
                  </a:cubicBezTo>
                  <a:cubicBezTo>
                    <a:pt x="169" y="98"/>
                    <a:pt x="169" y="98"/>
                    <a:pt x="170" y="98"/>
                  </a:cubicBezTo>
                  <a:cubicBezTo>
                    <a:pt x="170" y="97"/>
                    <a:pt x="170" y="96"/>
                    <a:pt x="170" y="94"/>
                  </a:cubicBezTo>
                  <a:cubicBezTo>
                    <a:pt x="170" y="92"/>
                    <a:pt x="170" y="88"/>
                    <a:pt x="169" y="86"/>
                  </a:cubicBezTo>
                  <a:cubicBezTo>
                    <a:pt x="169" y="84"/>
                    <a:pt x="169" y="82"/>
                    <a:pt x="169" y="80"/>
                  </a:cubicBezTo>
                  <a:cubicBezTo>
                    <a:pt x="169" y="73"/>
                    <a:pt x="169" y="67"/>
                    <a:pt x="169" y="61"/>
                  </a:cubicBezTo>
                  <a:cubicBezTo>
                    <a:pt x="169" y="61"/>
                    <a:pt x="169" y="61"/>
                    <a:pt x="169" y="61"/>
                  </a:cubicBezTo>
                  <a:cubicBezTo>
                    <a:pt x="169" y="57"/>
                    <a:pt x="169" y="54"/>
                    <a:pt x="169" y="50"/>
                  </a:cubicBezTo>
                  <a:cubicBezTo>
                    <a:pt x="169" y="47"/>
                    <a:pt x="169" y="45"/>
                    <a:pt x="169" y="42"/>
                  </a:cubicBezTo>
                  <a:cubicBezTo>
                    <a:pt x="169" y="42"/>
                    <a:pt x="169" y="42"/>
                    <a:pt x="169" y="42"/>
                  </a:cubicBezTo>
                  <a:cubicBezTo>
                    <a:pt x="169" y="41"/>
                    <a:pt x="169" y="41"/>
                    <a:pt x="169" y="41"/>
                  </a:cubicBezTo>
                  <a:cubicBezTo>
                    <a:pt x="169" y="41"/>
                    <a:pt x="169" y="41"/>
                    <a:pt x="170" y="41"/>
                  </a:cubicBezTo>
                  <a:cubicBezTo>
                    <a:pt x="170" y="40"/>
                    <a:pt x="170" y="40"/>
                    <a:pt x="170" y="39"/>
                  </a:cubicBezTo>
                  <a:cubicBezTo>
                    <a:pt x="170" y="39"/>
                    <a:pt x="170" y="39"/>
                    <a:pt x="170" y="39"/>
                  </a:cubicBezTo>
                  <a:cubicBezTo>
                    <a:pt x="170" y="39"/>
                    <a:pt x="170" y="39"/>
                    <a:pt x="170" y="38"/>
                  </a:cubicBezTo>
                  <a:cubicBezTo>
                    <a:pt x="170" y="38"/>
                    <a:pt x="170" y="38"/>
                    <a:pt x="170" y="38"/>
                  </a:cubicBezTo>
                  <a:cubicBezTo>
                    <a:pt x="170" y="37"/>
                    <a:pt x="171" y="37"/>
                    <a:pt x="171" y="36"/>
                  </a:cubicBezTo>
                  <a:cubicBezTo>
                    <a:pt x="171" y="36"/>
                    <a:pt x="171" y="36"/>
                    <a:pt x="171" y="36"/>
                  </a:cubicBezTo>
                  <a:cubicBezTo>
                    <a:pt x="171" y="35"/>
                    <a:pt x="171" y="34"/>
                    <a:pt x="171" y="33"/>
                  </a:cubicBezTo>
                  <a:cubicBezTo>
                    <a:pt x="171" y="33"/>
                    <a:pt x="172" y="33"/>
                    <a:pt x="172" y="33"/>
                  </a:cubicBezTo>
                  <a:cubicBezTo>
                    <a:pt x="172" y="33"/>
                    <a:pt x="172" y="32"/>
                    <a:pt x="172" y="32"/>
                  </a:cubicBezTo>
                  <a:cubicBezTo>
                    <a:pt x="172" y="32"/>
                    <a:pt x="172" y="32"/>
                    <a:pt x="172" y="32"/>
                  </a:cubicBezTo>
                  <a:cubicBezTo>
                    <a:pt x="172" y="31"/>
                    <a:pt x="172" y="31"/>
                    <a:pt x="172" y="30"/>
                  </a:cubicBezTo>
                  <a:cubicBezTo>
                    <a:pt x="172" y="30"/>
                    <a:pt x="172" y="30"/>
                    <a:pt x="172" y="30"/>
                  </a:cubicBezTo>
                  <a:cubicBezTo>
                    <a:pt x="172" y="30"/>
                    <a:pt x="172" y="30"/>
                    <a:pt x="172" y="29"/>
                  </a:cubicBezTo>
                  <a:cubicBezTo>
                    <a:pt x="173" y="29"/>
                    <a:pt x="173" y="29"/>
                    <a:pt x="173" y="29"/>
                  </a:cubicBezTo>
                  <a:cubicBezTo>
                    <a:pt x="173" y="29"/>
                    <a:pt x="173" y="28"/>
                    <a:pt x="173" y="28"/>
                  </a:cubicBezTo>
                  <a:cubicBezTo>
                    <a:pt x="173" y="28"/>
                    <a:pt x="173" y="28"/>
                    <a:pt x="173" y="28"/>
                  </a:cubicBezTo>
                  <a:cubicBezTo>
                    <a:pt x="173" y="28"/>
                    <a:pt x="173" y="27"/>
                    <a:pt x="173" y="27"/>
                  </a:cubicBezTo>
                  <a:cubicBezTo>
                    <a:pt x="173" y="27"/>
                    <a:pt x="173" y="27"/>
                    <a:pt x="173" y="27"/>
                  </a:cubicBezTo>
                  <a:cubicBezTo>
                    <a:pt x="174" y="26"/>
                    <a:pt x="174" y="25"/>
                    <a:pt x="174" y="25"/>
                  </a:cubicBezTo>
                  <a:cubicBezTo>
                    <a:pt x="174" y="25"/>
                    <a:pt x="174" y="25"/>
                    <a:pt x="174" y="25"/>
                  </a:cubicBezTo>
                  <a:cubicBezTo>
                    <a:pt x="174" y="23"/>
                    <a:pt x="173" y="23"/>
                    <a:pt x="173" y="22"/>
                  </a:cubicBezTo>
                  <a:cubicBezTo>
                    <a:pt x="174" y="22"/>
                    <a:pt x="174" y="22"/>
                    <a:pt x="174" y="22"/>
                  </a:cubicBezTo>
                  <a:cubicBezTo>
                    <a:pt x="174" y="21"/>
                    <a:pt x="174" y="19"/>
                    <a:pt x="174" y="18"/>
                  </a:cubicBezTo>
                  <a:cubicBezTo>
                    <a:pt x="174" y="14"/>
                    <a:pt x="174" y="10"/>
                    <a:pt x="174" y="6"/>
                  </a:cubicBezTo>
                  <a:cubicBezTo>
                    <a:pt x="174" y="6"/>
                    <a:pt x="174" y="6"/>
                    <a:pt x="175" y="6"/>
                  </a:cubicBezTo>
                  <a:cubicBezTo>
                    <a:pt x="175" y="6"/>
                    <a:pt x="175" y="6"/>
                    <a:pt x="175" y="5"/>
                  </a:cubicBezTo>
                  <a:cubicBezTo>
                    <a:pt x="175" y="5"/>
                    <a:pt x="175" y="5"/>
                    <a:pt x="175" y="5"/>
                  </a:cubicBezTo>
                  <a:cubicBezTo>
                    <a:pt x="175" y="5"/>
                    <a:pt x="175" y="4"/>
                    <a:pt x="175" y="4"/>
                  </a:cubicBezTo>
                  <a:cubicBezTo>
                    <a:pt x="176" y="3"/>
                    <a:pt x="180" y="2"/>
                    <a:pt x="181" y="2"/>
                  </a:cubicBezTo>
                  <a:cubicBezTo>
                    <a:pt x="181" y="2"/>
                    <a:pt x="181" y="2"/>
                    <a:pt x="181" y="1"/>
                  </a:cubicBezTo>
                  <a:cubicBezTo>
                    <a:pt x="182" y="1"/>
                    <a:pt x="183" y="1"/>
                    <a:pt x="184" y="1"/>
                  </a:cubicBezTo>
                  <a:cubicBezTo>
                    <a:pt x="184" y="1"/>
                    <a:pt x="184" y="1"/>
                    <a:pt x="184" y="1"/>
                  </a:cubicBezTo>
                  <a:cubicBezTo>
                    <a:pt x="184" y="1"/>
                    <a:pt x="185" y="1"/>
                    <a:pt x="186" y="0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87" y="1"/>
                    <a:pt x="186" y="1"/>
                    <a:pt x="187" y="1"/>
                  </a:cubicBezTo>
                  <a:cubicBezTo>
                    <a:pt x="187" y="2"/>
                    <a:pt x="188" y="2"/>
                    <a:pt x="188" y="2"/>
                  </a:cubicBezTo>
                  <a:cubicBezTo>
                    <a:pt x="188" y="3"/>
                    <a:pt x="188" y="3"/>
                    <a:pt x="188" y="3"/>
                  </a:cubicBezTo>
                  <a:cubicBezTo>
                    <a:pt x="189" y="4"/>
                    <a:pt x="189" y="4"/>
                    <a:pt x="190" y="4"/>
                  </a:cubicBezTo>
                  <a:cubicBezTo>
                    <a:pt x="190" y="4"/>
                    <a:pt x="190" y="5"/>
                    <a:pt x="190" y="5"/>
                  </a:cubicBezTo>
                  <a:cubicBezTo>
                    <a:pt x="190" y="5"/>
                    <a:pt x="190" y="5"/>
                    <a:pt x="191" y="6"/>
                  </a:cubicBezTo>
                  <a:cubicBezTo>
                    <a:pt x="191" y="6"/>
                    <a:pt x="191" y="6"/>
                    <a:pt x="191" y="6"/>
                  </a:cubicBezTo>
                  <a:cubicBezTo>
                    <a:pt x="191" y="7"/>
                    <a:pt x="192" y="7"/>
                    <a:pt x="192" y="7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92" y="8"/>
                    <a:pt x="193" y="9"/>
                    <a:pt x="193" y="9"/>
                  </a:cubicBezTo>
                  <a:cubicBezTo>
                    <a:pt x="193" y="9"/>
                    <a:pt x="193" y="10"/>
                    <a:pt x="193" y="10"/>
                  </a:cubicBezTo>
                  <a:cubicBezTo>
                    <a:pt x="194" y="10"/>
                    <a:pt x="194" y="11"/>
                    <a:pt x="195" y="11"/>
                  </a:cubicBezTo>
                  <a:cubicBezTo>
                    <a:pt x="195" y="11"/>
                    <a:pt x="195" y="11"/>
                    <a:pt x="195" y="12"/>
                  </a:cubicBezTo>
                  <a:cubicBezTo>
                    <a:pt x="195" y="12"/>
                    <a:pt x="196" y="12"/>
                    <a:pt x="196" y="13"/>
                  </a:cubicBezTo>
                  <a:cubicBezTo>
                    <a:pt x="196" y="13"/>
                    <a:pt x="196" y="13"/>
                    <a:pt x="196" y="13"/>
                  </a:cubicBezTo>
                  <a:cubicBezTo>
                    <a:pt x="197" y="14"/>
                    <a:pt x="197" y="14"/>
                    <a:pt x="197" y="14"/>
                  </a:cubicBezTo>
                  <a:cubicBezTo>
                    <a:pt x="197" y="14"/>
                    <a:pt x="197" y="15"/>
                    <a:pt x="197" y="15"/>
                  </a:cubicBezTo>
                  <a:cubicBezTo>
                    <a:pt x="198" y="15"/>
                    <a:pt x="198" y="15"/>
                    <a:pt x="199" y="16"/>
                  </a:cubicBezTo>
                  <a:cubicBezTo>
                    <a:pt x="199" y="16"/>
                    <a:pt x="199" y="16"/>
                    <a:pt x="199" y="16"/>
                  </a:cubicBezTo>
                  <a:cubicBezTo>
                    <a:pt x="199" y="17"/>
                    <a:pt x="200" y="17"/>
                    <a:pt x="200" y="18"/>
                  </a:cubicBezTo>
                  <a:cubicBezTo>
                    <a:pt x="200" y="18"/>
                    <a:pt x="200" y="18"/>
                    <a:pt x="200" y="18"/>
                  </a:cubicBezTo>
                  <a:cubicBezTo>
                    <a:pt x="201" y="19"/>
                    <a:pt x="201" y="19"/>
                    <a:pt x="201" y="19"/>
                  </a:cubicBezTo>
                  <a:cubicBezTo>
                    <a:pt x="201" y="20"/>
                    <a:pt x="201" y="20"/>
                    <a:pt x="201" y="20"/>
                  </a:cubicBezTo>
                  <a:cubicBezTo>
                    <a:pt x="202" y="20"/>
                    <a:pt x="202" y="21"/>
                    <a:pt x="203" y="21"/>
                  </a:cubicBezTo>
                  <a:cubicBezTo>
                    <a:pt x="203" y="21"/>
                    <a:pt x="203" y="22"/>
                    <a:pt x="203" y="22"/>
                  </a:cubicBezTo>
                  <a:cubicBezTo>
                    <a:pt x="203" y="22"/>
                    <a:pt x="204" y="22"/>
                    <a:pt x="204" y="22"/>
                  </a:cubicBezTo>
                  <a:cubicBezTo>
                    <a:pt x="205" y="23"/>
                    <a:pt x="206" y="22"/>
                    <a:pt x="207" y="23"/>
                  </a:cubicBezTo>
                  <a:cubicBezTo>
                    <a:pt x="207" y="23"/>
                    <a:pt x="207" y="23"/>
                    <a:pt x="207" y="23"/>
                  </a:cubicBezTo>
                  <a:cubicBezTo>
                    <a:pt x="207" y="23"/>
                    <a:pt x="208" y="23"/>
                    <a:pt x="208" y="23"/>
                  </a:cubicBezTo>
                  <a:cubicBezTo>
                    <a:pt x="208" y="23"/>
                    <a:pt x="208" y="23"/>
                    <a:pt x="208" y="23"/>
                  </a:cubicBezTo>
                  <a:cubicBezTo>
                    <a:pt x="209" y="23"/>
                    <a:pt x="209" y="23"/>
                    <a:pt x="210" y="23"/>
                  </a:cubicBezTo>
                  <a:cubicBezTo>
                    <a:pt x="210" y="24"/>
                    <a:pt x="210" y="24"/>
                    <a:pt x="210" y="24"/>
                  </a:cubicBezTo>
                  <a:cubicBezTo>
                    <a:pt x="210" y="24"/>
                    <a:pt x="211" y="24"/>
                    <a:pt x="211" y="24"/>
                  </a:cubicBezTo>
                  <a:cubicBezTo>
                    <a:pt x="213" y="24"/>
                    <a:pt x="215" y="25"/>
                    <a:pt x="217" y="26"/>
                  </a:cubicBezTo>
                  <a:cubicBezTo>
                    <a:pt x="217" y="26"/>
                    <a:pt x="218" y="26"/>
                    <a:pt x="218" y="26"/>
                  </a:cubicBezTo>
                  <a:cubicBezTo>
                    <a:pt x="218" y="26"/>
                    <a:pt x="218" y="26"/>
                    <a:pt x="218" y="26"/>
                  </a:cubicBezTo>
                  <a:cubicBezTo>
                    <a:pt x="219" y="26"/>
                    <a:pt x="219" y="26"/>
                    <a:pt x="220" y="26"/>
                  </a:cubicBezTo>
                  <a:cubicBezTo>
                    <a:pt x="224" y="27"/>
                    <a:pt x="228" y="28"/>
                    <a:pt x="232" y="29"/>
                  </a:cubicBezTo>
                  <a:cubicBezTo>
                    <a:pt x="233" y="29"/>
                    <a:pt x="234" y="29"/>
                    <a:pt x="235" y="29"/>
                  </a:cubicBezTo>
                  <a:cubicBezTo>
                    <a:pt x="235" y="30"/>
                    <a:pt x="235" y="30"/>
                    <a:pt x="235" y="30"/>
                  </a:cubicBezTo>
                  <a:cubicBezTo>
                    <a:pt x="235" y="30"/>
                    <a:pt x="236" y="30"/>
                    <a:pt x="236" y="30"/>
                  </a:cubicBezTo>
                  <a:cubicBezTo>
                    <a:pt x="236" y="30"/>
                    <a:pt x="236" y="30"/>
                    <a:pt x="236" y="30"/>
                  </a:cubicBezTo>
                  <a:cubicBezTo>
                    <a:pt x="237" y="30"/>
                    <a:pt x="237" y="30"/>
                    <a:pt x="238" y="30"/>
                  </a:cubicBezTo>
                  <a:cubicBezTo>
                    <a:pt x="238" y="30"/>
                    <a:pt x="238" y="30"/>
                    <a:pt x="238" y="30"/>
                  </a:cubicBezTo>
                  <a:cubicBezTo>
                    <a:pt x="238" y="30"/>
                    <a:pt x="239" y="30"/>
                    <a:pt x="240" y="30"/>
                  </a:cubicBezTo>
                  <a:cubicBezTo>
                    <a:pt x="240" y="31"/>
                    <a:pt x="240" y="31"/>
                    <a:pt x="240" y="31"/>
                  </a:cubicBezTo>
                  <a:cubicBezTo>
                    <a:pt x="241" y="31"/>
                    <a:pt x="242" y="31"/>
                    <a:pt x="243" y="31"/>
                  </a:cubicBezTo>
                  <a:cubicBezTo>
                    <a:pt x="243" y="31"/>
                    <a:pt x="243" y="31"/>
                    <a:pt x="243" y="32"/>
                  </a:cubicBezTo>
                  <a:cubicBezTo>
                    <a:pt x="243" y="32"/>
                    <a:pt x="244" y="32"/>
                    <a:pt x="244" y="32"/>
                  </a:cubicBezTo>
                  <a:cubicBezTo>
                    <a:pt x="244" y="32"/>
                    <a:pt x="244" y="32"/>
                    <a:pt x="244" y="32"/>
                  </a:cubicBezTo>
                  <a:cubicBezTo>
                    <a:pt x="245" y="32"/>
                    <a:pt x="246" y="32"/>
                    <a:pt x="247" y="32"/>
                  </a:cubicBezTo>
                  <a:cubicBezTo>
                    <a:pt x="249" y="33"/>
                    <a:pt x="252" y="34"/>
                    <a:pt x="255" y="34"/>
                  </a:cubicBezTo>
                  <a:cubicBezTo>
                    <a:pt x="255" y="34"/>
                    <a:pt x="255" y="34"/>
                    <a:pt x="256" y="35"/>
                  </a:cubicBezTo>
                  <a:cubicBezTo>
                    <a:pt x="256" y="35"/>
                    <a:pt x="256" y="35"/>
                    <a:pt x="256" y="35"/>
                  </a:cubicBezTo>
                  <a:cubicBezTo>
                    <a:pt x="256" y="35"/>
                    <a:pt x="256" y="36"/>
                    <a:pt x="256" y="36"/>
                  </a:cubicBezTo>
                  <a:cubicBezTo>
                    <a:pt x="256" y="36"/>
                    <a:pt x="256" y="36"/>
                    <a:pt x="256" y="36"/>
                  </a:cubicBezTo>
                  <a:cubicBezTo>
                    <a:pt x="257" y="37"/>
                    <a:pt x="257" y="37"/>
                    <a:pt x="257" y="37"/>
                  </a:cubicBezTo>
                  <a:cubicBezTo>
                    <a:pt x="257" y="37"/>
                    <a:pt x="257" y="38"/>
                    <a:pt x="257" y="38"/>
                  </a:cubicBezTo>
                  <a:cubicBezTo>
                    <a:pt x="258" y="38"/>
                    <a:pt x="258" y="38"/>
                    <a:pt x="258" y="39"/>
                  </a:cubicBezTo>
                  <a:cubicBezTo>
                    <a:pt x="258" y="39"/>
                    <a:pt x="258" y="39"/>
                    <a:pt x="258" y="39"/>
                  </a:cubicBezTo>
                  <a:cubicBezTo>
                    <a:pt x="259" y="39"/>
                    <a:pt x="259" y="40"/>
                    <a:pt x="259" y="40"/>
                  </a:cubicBezTo>
                  <a:cubicBezTo>
                    <a:pt x="259" y="40"/>
                    <a:pt x="259" y="40"/>
                    <a:pt x="259" y="41"/>
                  </a:cubicBezTo>
                  <a:cubicBezTo>
                    <a:pt x="260" y="41"/>
                    <a:pt x="260" y="41"/>
                    <a:pt x="260" y="41"/>
                  </a:cubicBezTo>
                  <a:cubicBezTo>
                    <a:pt x="260" y="41"/>
                    <a:pt x="260" y="41"/>
                    <a:pt x="260" y="42"/>
                  </a:cubicBezTo>
                  <a:cubicBezTo>
                    <a:pt x="261" y="42"/>
                    <a:pt x="261" y="42"/>
                    <a:pt x="261" y="42"/>
                  </a:cubicBezTo>
                  <a:cubicBezTo>
                    <a:pt x="261" y="43"/>
                    <a:pt x="261" y="43"/>
                    <a:pt x="261" y="43"/>
                  </a:cubicBezTo>
                  <a:cubicBezTo>
                    <a:pt x="262" y="43"/>
                    <a:pt x="262" y="44"/>
                    <a:pt x="262" y="44"/>
                  </a:cubicBezTo>
                  <a:cubicBezTo>
                    <a:pt x="262" y="44"/>
                    <a:pt x="262" y="44"/>
                    <a:pt x="262" y="44"/>
                  </a:cubicBezTo>
                  <a:cubicBezTo>
                    <a:pt x="263" y="45"/>
                    <a:pt x="263" y="45"/>
                    <a:pt x="263" y="45"/>
                  </a:cubicBezTo>
                  <a:cubicBezTo>
                    <a:pt x="263" y="45"/>
                    <a:pt x="263" y="46"/>
                    <a:pt x="263" y="46"/>
                  </a:cubicBezTo>
                  <a:cubicBezTo>
                    <a:pt x="264" y="46"/>
                    <a:pt x="264" y="46"/>
                    <a:pt x="264" y="46"/>
                  </a:cubicBezTo>
                  <a:cubicBezTo>
                    <a:pt x="264" y="46"/>
                    <a:pt x="264" y="47"/>
                    <a:pt x="264" y="47"/>
                  </a:cubicBezTo>
                  <a:cubicBezTo>
                    <a:pt x="264" y="47"/>
                    <a:pt x="265" y="47"/>
                    <a:pt x="265" y="47"/>
                  </a:cubicBezTo>
                  <a:cubicBezTo>
                    <a:pt x="265" y="48"/>
                    <a:pt x="265" y="48"/>
                    <a:pt x="265" y="48"/>
                  </a:cubicBezTo>
                  <a:cubicBezTo>
                    <a:pt x="265" y="49"/>
                    <a:pt x="266" y="49"/>
                    <a:pt x="266" y="49"/>
                  </a:cubicBezTo>
                  <a:cubicBezTo>
                    <a:pt x="266" y="49"/>
                    <a:pt x="266" y="49"/>
                    <a:pt x="266" y="50"/>
                  </a:cubicBezTo>
                  <a:cubicBezTo>
                    <a:pt x="266" y="50"/>
                    <a:pt x="267" y="50"/>
                    <a:pt x="267" y="50"/>
                  </a:cubicBezTo>
                  <a:cubicBezTo>
                    <a:pt x="267" y="51"/>
                    <a:pt x="267" y="51"/>
                    <a:pt x="267" y="51"/>
                  </a:cubicBezTo>
                  <a:cubicBezTo>
                    <a:pt x="267" y="51"/>
                    <a:pt x="268" y="51"/>
                    <a:pt x="268" y="51"/>
                  </a:cubicBezTo>
                  <a:cubicBezTo>
                    <a:pt x="268" y="52"/>
                    <a:pt x="268" y="52"/>
                    <a:pt x="268" y="52"/>
                  </a:cubicBezTo>
                  <a:cubicBezTo>
                    <a:pt x="268" y="52"/>
                    <a:pt x="269" y="53"/>
                    <a:pt x="269" y="53"/>
                  </a:cubicBezTo>
                  <a:cubicBezTo>
                    <a:pt x="269" y="53"/>
                    <a:pt x="269" y="53"/>
                    <a:pt x="269" y="54"/>
                  </a:cubicBezTo>
                  <a:cubicBezTo>
                    <a:pt x="269" y="54"/>
                    <a:pt x="270" y="54"/>
                    <a:pt x="270" y="54"/>
                  </a:cubicBezTo>
                  <a:cubicBezTo>
                    <a:pt x="270" y="55"/>
                    <a:pt x="270" y="55"/>
                    <a:pt x="270" y="55"/>
                  </a:cubicBezTo>
                  <a:cubicBezTo>
                    <a:pt x="271" y="55"/>
                    <a:pt x="271" y="56"/>
                    <a:pt x="271" y="56"/>
                  </a:cubicBezTo>
                  <a:cubicBezTo>
                    <a:pt x="271" y="56"/>
                    <a:pt x="271" y="56"/>
                    <a:pt x="271" y="56"/>
                  </a:cubicBezTo>
                  <a:cubicBezTo>
                    <a:pt x="271" y="56"/>
                    <a:pt x="271" y="57"/>
                    <a:pt x="272" y="57"/>
                  </a:cubicBezTo>
                  <a:cubicBezTo>
                    <a:pt x="272" y="57"/>
                    <a:pt x="272" y="57"/>
                    <a:pt x="272" y="57"/>
                  </a:cubicBezTo>
                  <a:cubicBezTo>
                    <a:pt x="272" y="58"/>
                    <a:pt x="272" y="58"/>
                    <a:pt x="273" y="58"/>
                  </a:cubicBezTo>
                  <a:cubicBezTo>
                    <a:pt x="273" y="58"/>
                    <a:pt x="273" y="59"/>
                    <a:pt x="273" y="59"/>
                  </a:cubicBezTo>
                  <a:cubicBezTo>
                    <a:pt x="273" y="59"/>
                    <a:pt x="273" y="59"/>
                    <a:pt x="273" y="59"/>
                  </a:cubicBezTo>
                  <a:cubicBezTo>
                    <a:pt x="274" y="60"/>
                    <a:pt x="274" y="60"/>
                    <a:pt x="274" y="60"/>
                  </a:cubicBezTo>
                  <a:cubicBezTo>
                    <a:pt x="274" y="60"/>
                    <a:pt x="274" y="60"/>
                    <a:pt x="274" y="60"/>
                  </a:cubicBezTo>
                  <a:cubicBezTo>
                    <a:pt x="275" y="61"/>
                    <a:pt x="275" y="61"/>
                    <a:pt x="275" y="62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</a:ln>
            <a:effectLst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64800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4000" b="1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0000"/>
                </a:solidFill>
                <a:latin typeface="UKIJ Qolyazma" pitchFamily="18" charset="0"/>
                <a:cs typeface="UKIJ Qolyazma" pitchFamily="18" charset="0"/>
              </a:endParaRPr>
            </a:p>
          </p:txBody>
        </p:sp>
        <p:sp>
          <p:nvSpPr>
            <p:cNvPr id="126" name="Freeform 37">
              <a:extLst>
                <a:ext uri="{FF2B5EF4-FFF2-40B4-BE49-F238E27FC236}">
                  <a16:creationId xmlns:a16="http://schemas.microsoft.com/office/drawing/2014/main" id="{BDC7AA5D-F65A-9AE3-9638-DBE7D5A18D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04028" y="3890604"/>
              <a:ext cx="660835" cy="828616"/>
            </a:xfrm>
            <a:custGeom>
              <a:avLst/>
              <a:gdLst>
                <a:gd name="T0" fmla="*/ 107 w 304"/>
                <a:gd name="T1" fmla="*/ 11 h 381"/>
                <a:gd name="T2" fmla="*/ 115 w 304"/>
                <a:gd name="T3" fmla="*/ 26 h 381"/>
                <a:gd name="T4" fmla="*/ 123 w 304"/>
                <a:gd name="T5" fmla="*/ 31 h 381"/>
                <a:gd name="T6" fmla="*/ 131 w 304"/>
                <a:gd name="T7" fmla="*/ 28 h 381"/>
                <a:gd name="T8" fmla="*/ 149 w 304"/>
                <a:gd name="T9" fmla="*/ 18 h 381"/>
                <a:gd name="T10" fmla="*/ 165 w 304"/>
                <a:gd name="T11" fmla="*/ 11 h 381"/>
                <a:gd name="T12" fmla="*/ 178 w 304"/>
                <a:gd name="T13" fmla="*/ 10 h 381"/>
                <a:gd name="T14" fmla="*/ 195 w 304"/>
                <a:gd name="T15" fmla="*/ 6 h 381"/>
                <a:gd name="T16" fmla="*/ 227 w 304"/>
                <a:gd name="T17" fmla="*/ 39 h 381"/>
                <a:gd name="T18" fmla="*/ 267 w 304"/>
                <a:gd name="T19" fmla="*/ 56 h 381"/>
                <a:gd name="T20" fmla="*/ 275 w 304"/>
                <a:gd name="T21" fmla="*/ 77 h 381"/>
                <a:gd name="T22" fmla="*/ 283 w 304"/>
                <a:gd name="T23" fmla="*/ 81 h 381"/>
                <a:gd name="T24" fmla="*/ 288 w 304"/>
                <a:gd name="T25" fmla="*/ 98 h 381"/>
                <a:gd name="T26" fmla="*/ 304 w 304"/>
                <a:gd name="T27" fmla="*/ 118 h 381"/>
                <a:gd name="T28" fmla="*/ 297 w 304"/>
                <a:gd name="T29" fmla="*/ 135 h 381"/>
                <a:gd name="T30" fmla="*/ 284 w 304"/>
                <a:gd name="T31" fmla="*/ 151 h 381"/>
                <a:gd name="T32" fmla="*/ 290 w 304"/>
                <a:gd name="T33" fmla="*/ 179 h 381"/>
                <a:gd name="T34" fmla="*/ 288 w 304"/>
                <a:gd name="T35" fmla="*/ 189 h 381"/>
                <a:gd name="T36" fmla="*/ 258 w 304"/>
                <a:gd name="T37" fmla="*/ 195 h 381"/>
                <a:gd name="T38" fmla="*/ 257 w 304"/>
                <a:gd name="T39" fmla="*/ 230 h 381"/>
                <a:gd name="T40" fmla="*/ 256 w 304"/>
                <a:gd name="T41" fmla="*/ 249 h 381"/>
                <a:gd name="T42" fmla="*/ 251 w 304"/>
                <a:gd name="T43" fmla="*/ 264 h 381"/>
                <a:gd name="T44" fmla="*/ 243 w 304"/>
                <a:gd name="T45" fmla="*/ 274 h 381"/>
                <a:gd name="T46" fmla="*/ 248 w 304"/>
                <a:gd name="T47" fmla="*/ 292 h 381"/>
                <a:gd name="T48" fmla="*/ 239 w 304"/>
                <a:gd name="T49" fmla="*/ 305 h 381"/>
                <a:gd name="T50" fmla="*/ 228 w 304"/>
                <a:gd name="T51" fmla="*/ 319 h 381"/>
                <a:gd name="T52" fmla="*/ 221 w 304"/>
                <a:gd name="T53" fmla="*/ 339 h 381"/>
                <a:gd name="T54" fmla="*/ 211 w 304"/>
                <a:gd name="T55" fmla="*/ 365 h 381"/>
                <a:gd name="T56" fmla="*/ 185 w 304"/>
                <a:gd name="T57" fmla="*/ 380 h 381"/>
                <a:gd name="T58" fmla="*/ 166 w 304"/>
                <a:gd name="T59" fmla="*/ 373 h 381"/>
                <a:gd name="T60" fmla="*/ 142 w 304"/>
                <a:gd name="T61" fmla="*/ 367 h 381"/>
                <a:gd name="T62" fmla="*/ 133 w 304"/>
                <a:gd name="T63" fmla="*/ 347 h 381"/>
                <a:gd name="T64" fmla="*/ 136 w 304"/>
                <a:gd name="T65" fmla="*/ 340 h 381"/>
                <a:gd name="T66" fmla="*/ 147 w 304"/>
                <a:gd name="T67" fmla="*/ 332 h 381"/>
                <a:gd name="T68" fmla="*/ 163 w 304"/>
                <a:gd name="T69" fmla="*/ 329 h 381"/>
                <a:gd name="T70" fmla="*/ 172 w 304"/>
                <a:gd name="T71" fmla="*/ 315 h 381"/>
                <a:gd name="T72" fmla="*/ 169 w 304"/>
                <a:gd name="T73" fmla="*/ 298 h 381"/>
                <a:gd name="T74" fmla="*/ 150 w 304"/>
                <a:gd name="T75" fmla="*/ 279 h 381"/>
                <a:gd name="T76" fmla="*/ 137 w 304"/>
                <a:gd name="T77" fmla="*/ 272 h 381"/>
                <a:gd name="T78" fmla="*/ 129 w 304"/>
                <a:gd name="T79" fmla="*/ 262 h 381"/>
                <a:gd name="T80" fmla="*/ 126 w 304"/>
                <a:gd name="T81" fmla="*/ 249 h 381"/>
                <a:gd name="T82" fmla="*/ 110 w 304"/>
                <a:gd name="T83" fmla="*/ 233 h 381"/>
                <a:gd name="T84" fmla="*/ 99 w 304"/>
                <a:gd name="T85" fmla="*/ 224 h 381"/>
                <a:gd name="T86" fmla="*/ 104 w 304"/>
                <a:gd name="T87" fmla="*/ 204 h 381"/>
                <a:gd name="T88" fmla="*/ 98 w 304"/>
                <a:gd name="T89" fmla="*/ 194 h 381"/>
                <a:gd name="T90" fmla="*/ 84 w 304"/>
                <a:gd name="T91" fmla="*/ 198 h 381"/>
                <a:gd name="T92" fmla="*/ 68 w 304"/>
                <a:gd name="T93" fmla="*/ 194 h 381"/>
                <a:gd name="T94" fmla="*/ 60 w 304"/>
                <a:gd name="T95" fmla="*/ 186 h 381"/>
                <a:gd name="T96" fmla="*/ 37 w 304"/>
                <a:gd name="T97" fmla="*/ 176 h 381"/>
                <a:gd name="T98" fmla="*/ 25 w 304"/>
                <a:gd name="T99" fmla="*/ 166 h 381"/>
                <a:gd name="T100" fmla="*/ 5 w 304"/>
                <a:gd name="T101" fmla="*/ 166 h 381"/>
                <a:gd name="T102" fmla="*/ 10 w 304"/>
                <a:gd name="T103" fmla="*/ 131 h 381"/>
                <a:gd name="T104" fmla="*/ 18 w 304"/>
                <a:gd name="T105" fmla="*/ 116 h 381"/>
                <a:gd name="T106" fmla="*/ 25 w 304"/>
                <a:gd name="T107" fmla="*/ 111 h 381"/>
                <a:gd name="T108" fmla="*/ 33 w 304"/>
                <a:gd name="T109" fmla="*/ 94 h 381"/>
                <a:gd name="T110" fmla="*/ 52 w 304"/>
                <a:gd name="T111" fmla="*/ 71 h 381"/>
                <a:gd name="T112" fmla="*/ 55 w 304"/>
                <a:gd name="T113" fmla="*/ 63 h 381"/>
                <a:gd name="T114" fmla="*/ 60 w 304"/>
                <a:gd name="T115" fmla="*/ 29 h 381"/>
                <a:gd name="T116" fmla="*/ 72 w 304"/>
                <a:gd name="T117" fmla="*/ 22 h 381"/>
                <a:gd name="T118" fmla="*/ 78 w 304"/>
                <a:gd name="T119" fmla="*/ 9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04" h="381">
                  <a:moveTo>
                    <a:pt x="81" y="0"/>
                  </a:moveTo>
                  <a:cubicBezTo>
                    <a:pt x="85" y="0"/>
                    <a:pt x="90" y="0"/>
                    <a:pt x="95" y="1"/>
                  </a:cubicBezTo>
                  <a:cubicBezTo>
                    <a:pt x="96" y="1"/>
                    <a:pt x="96" y="2"/>
                    <a:pt x="96" y="2"/>
                  </a:cubicBezTo>
                  <a:cubicBezTo>
                    <a:pt x="96" y="2"/>
                    <a:pt x="96" y="2"/>
                    <a:pt x="97" y="2"/>
                  </a:cubicBezTo>
                  <a:cubicBezTo>
                    <a:pt x="97" y="2"/>
                    <a:pt x="97" y="3"/>
                    <a:pt x="98" y="3"/>
                  </a:cubicBezTo>
                  <a:cubicBezTo>
                    <a:pt x="98" y="3"/>
                    <a:pt x="98" y="3"/>
                    <a:pt x="98" y="3"/>
                  </a:cubicBezTo>
                  <a:cubicBezTo>
                    <a:pt x="99" y="4"/>
                    <a:pt x="99" y="5"/>
                    <a:pt x="100" y="5"/>
                  </a:cubicBezTo>
                  <a:cubicBezTo>
                    <a:pt x="100" y="5"/>
                    <a:pt x="100" y="5"/>
                    <a:pt x="101" y="5"/>
                  </a:cubicBezTo>
                  <a:cubicBezTo>
                    <a:pt x="101" y="6"/>
                    <a:pt x="101" y="6"/>
                    <a:pt x="102" y="7"/>
                  </a:cubicBezTo>
                  <a:cubicBezTo>
                    <a:pt x="102" y="7"/>
                    <a:pt x="102" y="7"/>
                    <a:pt x="102" y="7"/>
                  </a:cubicBezTo>
                  <a:cubicBezTo>
                    <a:pt x="103" y="7"/>
                    <a:pt x="103" y="7"/>
                    <a:pt x="103" y="8"/>
                  </a:cubicBezTo>
                  <a:cubicBezTo>
                    <a:pt x="104" y="8"/>
                    <a:pt x="104" y="8"/>
                    <a:pt x="104" y="8"/>
                  </a:cubicBezTo>
                  <a:cubicBezTo>
                    <a:pt x="104" y="8"/>
                    <a:pt x="105" y="9"/>
                    <a:pt x="105" y="9"/>
                  </a:cubicBezTo>
                  <a:cubicBezTo>
                    <a:pt x="105" y="9"/>
                    <a:pt x="106" y="9"/>
                    <a:pt x="106" y="9"/>
                  </a:cubicBezTo>
                  <a:cubicBezTo>
                    <a:pt x="106" y="10"/>
                    <a:pt x="106" y="10"/>
                    <a:pt x="107" y="11"/>
                  </a:cubicBezTo>
                  <a:cubicBezTo>
                    <a:pt x="107" y="11"/>
                    <a:pt x="107" y="11"/>
                    <a:pt x="107" y="11"/>
                  </a:cubicBezTo>
                  <a:cubicBezTo>
                    <a:pt x="108" y="12"/>
                    <a:pt x="108" y="13"/>
                    <a:pt x="108" y="14"/>
                  </a:cubicBezTo>
                  <a:cubicBezTo>
                    <a:pt x="108" y="14"/>
                    <a:pt x="108" y="14"/>
                    <a:pt x="109" y="14"/>
                  </a:cubicBezTo>
                  <a:cubicBezTo>
                    <a:pt x="109" y="14"/>
                    <a:pt x="109" y="15"/>
                    <a:pt x="109" y="15"/>
                  </a:cubicBezTo>
                  <a:cubicBezTo>
                    <a:pt x="109" y="15"/>
                    <a:pt x="109" y="15"/>
                    <a:pt x="109" y="15"/>
                  </a:cubicBezTo>
                  <a:cubicBezTo>
                    <a:pt x="110" y="16"/>
                    <a:pt x="110" y="18"/>
                    <a:pt x="110" y="19"/>
                  </a:cubicBezTo>
                  <a:cubicBezTo>
                    <a:pt x="110" y="19"/>
                    <a:pt x="111" y="19"/>
                    <a:pt x="111" y="19"/>
                  </a:cubicBezTo>
                  <a:cubicBezTo>
                    <a:pt x="111" y="19"/>
                    <a:pt x="111" y="19"/>
                    <a:pt x="111" y="19"/>
                  </a:cubicBezTo>
                  <a:cubicBezTo>
                    <a:pt x="111" y="19"/>
                    <a:pt x="111" y="19"/>
                    <a:pt x="111" y="19"/>
                  </a:cubicBezTo>
                  <a:cubicBezTo>
                    <a:pt x="111" y="20"/>
                    <a:pt x="111" y="20"/>
                    <a:pt x="111" y="21"/>
                  </a:cubicBezTo>
                  <a:cubicBezTo>
                    <a:pt x="111" y="21"/>
                    <a:pt x="111" y="21"/>
                    <a:pt x="111" y="21"/>
                  </a:cubicBezTo>
                  <a:cubicBezTo>
                    <a:pt x="111" y="21"/>
                    <a:pt x="112" y="21"/>
                    <a:pt x="112" y="22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112" y="23"/>
                    <a:pt x="113" y="24"/>
                    <a:pt x="113" y="25"/>
                  </a:cubicBezTo>
                  <a:cubicBezTo>
                    <a:pt x="113" y="26"/>
                    <a:pt x="114" y="26"/>
                    <a:pt x="114" y="26"/>
                  </a:cubicBezTo>
                  <a:cubicBezTo>
                    <a:pt x="114" y="26"/>
                    <a:pt x="114" y="26"/>
                    <a:pt x="115" y="26"/>
                  </a:cubicBezTo>
                  <a:cubicBezTo>
                    <a:pt x="115" y="26"/>
                    <a:pt x="115" y="26"/>
                    <a:pt x="115" y="26"/>
                  </a:cubicBezTo>
                  <a:cubicBezTo>
                    <a:pt x="115" y="27"/>
                    <a:pt x="115" y="27"/>
                    <a:pt x="115" y="27"/>
                  </a:cubicBezTo>
                  <a:cubicBezTo>
                    <a:pt x="115" y="27"/>
                    <a:pt x="116" y="27"/>
                    <a:pt x="116" y="27"/>
                  </a:cubicBezTo>
                  <a:cubicBezTo>
                    <a:pt x="116" y="27"/>
                    <a:pt x="116" y="27"/>
                    <a:pt x="116" y="28"/>
                  </a:cubicBezTo>
                  <a:cubicBezTo>
                    <a:pt x="117" y="28"/>
                    <a:pt x="117" y="28"/>
                    <a:pt x="118" y="28"/>
                  </a:cubicBezTo>
                  <a:cubicBezTo>
                    <a:pt x="118" y="28"/>
                    <a:pt x="118" y="28"/>
                    <a:pt x="118" y="28"/>
                  </a:cubicBezTo>
                  <a:cubicBezTo>
                    <a:pt x="118" y="28"/>
                    <a:pt x="118" y="28"/>
                    <a:pt x="118" y="28"/>
                  </a:cubicBezTo>
                  <a:cubicBezTo>
                    <a:pt x="118" y="28"/>
                    <a:pt x="119" y="29"/>
                    <a:pt x="119" y="29"/>
                  </a:cubicBezTo>
                  <a:cubicBezTo>
                    <a:pt x="119" y="29"/>
                    <a:pt x="119" y="29"/>
                    <a:pt x="119" y="29"/>
                  </a:cubicBezTo>
                  <a:cubicBezTo>
                    <a:pt x="119" y="29"/>
                    <a:pt x="119" y="29"/>
                    <a:pt x="119" y="29"/>
                  </a:cubicBezTo>
                  <a:cubicBezTo>
                    <a:pt x="120" y="29"/>
                    <a:pt x="120" y="29"/>
                    <a:pt x="120" y="29"/>
                  </a:cubicBezTo>
                  <a:cubicBezTo>
                    <a:pt x="120" y="29"/>
                    <a:pt x="120" y="30"/>
                    <a:pt x="120" y="30"/>
                  </a:cubicBezTo>
                  <a:cubicBezTo>
                    <a:pt x="121" y="30"/>
                    <a:pt x="121" y="30"/>
                    <a:pt x="121" y="30"/>
                  </a:cubicBezTo>
                  <a:cubicBezTo>
                    <a:pt x="121" y="30"/>
                    <a:pt x="121" y="30"/>
                    <a:pt x="121" y="30"/>
                  </a:cubicBezTo>
                  <a:cubicBezTo>
                    <a:pt x="121" y="30"/>
                    <a:pt x="122" y="30"/>
                    <a:pt x="122" y="30"/>
                  </a:cubicBezTo>
                  <a:cubicBezTo>
                    <a:pt x="122" y="31"/>
                    <a:pt x="122" y="31"/>
                    <a:pt x="122" y="31"/>
                  </a:cubicBezTo>
                  <a:cubicBezTo>
                    <a:pt x="122" y="31"/>
                    <a:pt x="123" y="31"/>
                    <a:pt x="123" y="31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24" y="31"/>
                    <a:pt x="124" y="31"/>
                    <a:pt x="125" y="31"/>
                  </a:cubicBezTo>
                  <a:cubicBezTo>
                    <a:pt x="125" y="31"/>
                    <a:pt x="125" y="30"/>
                    <a:pt x="125" y="30"/>
                  </a:cubicBezTo>
                  <a:cubicBezTo>
                    <a:pt x="125" y="30"/>
                    <a:pt x="125" y="30"/>
                    <a:pt x="126" y="30"/>
                  </a:cubicBezTo>
                  <a:cubicBezTo>
                    <a:pt x="126" y="30"/>
                    <a:pt x="126" y="30"/>
                    <a:pt x="126" y="30"/>
                  </a:cubicBezTo>
                  <a:cubicBezTo>
                    <a:pt x="126" y="30"/>
                    <a:pt x="127" y="30"/>
                    <a:pt x="127" y="30"/>
                  </a:cubicBezTo>
                  <a:cubicBezTo>
                    <a:pt x="127" y="29"/>
                    <a:pt x="127" y="29"/>
                    <a:pt x="127" y="29"/>
                  </a:cubicBezTo>
                  <a:cubicBezTo>
                    <a:pt x="127" y="29"/>
                    <a:pt x="127" y="29"/>
                    <a:pt x="127" y="29"/>
                  </a:cubicBezTo>
                  <a:cubicBezTo>
                    <a:pt x="127" y="29"/>
                    <a:pt x="127" y="29"/>
                    <a:pt x="127" y="29"/>
                  </a:cubicBezTo>
                  <a:cubicBezTo>
                    <a:pt x="128" y="29"/>
                    <a:pt x="128" y="29"/>
                    <a:pt x="128" y="29"/>
                  </a:cubicBezTo>
                  <a:cubicBezTo>
                    <a:pt x="128" y="29"/>
                    <a:pt x="128" y="29"/>
                    <a:pt x="128" y="29"/>
                  </a:cubicBezTo>
                  <a:cubicBezTo>
                    <a:pt x="128" y="29"/>
                    <a:pt x="129" y="29"/>
                    <a:pt x="129" y="29"/>
                  </a:cubicBezTo>
                  <a:cubicBezTo>
                    <a:pt x="129" y="28"/>
                    <a:pt x="129" y="28"/>
                    <a:pt x="129" y="28"/>
                  </a:cubicBezTo>
                  <a:cubicBezTo>
                    <a:pt x="129" y="28"/>
                    <a:pt x="130" y="28"/>
                    <a:pt x="130" y="28"/>
                  </a:cubicBezTo>
                  <a:cubicBezTo>
                    <a:pt x="130" y="28"/>
                    <a:pt x="130" y="28"/>
                    <a:pt x="130" y="28"/>
                  </a:cubicBezTo>
                  <a:cubicBezTo>
                    <a:pt x="130" y="28"/>
                    <a:pt x="130" y="28"/>
                    <a:pt x="131" y="28"/>
                  </a:cubicBezTo>
                  <a:cubicBezTo>
                    <a:pt x="131" y="27"/>
                    <a:pt x="131" y="27"/>
                    <a:pt x="131" y="27"/>
                  </a:cubicBezTo>
                  <a:cubicBezTo>
                    <a:pt x="131" y="27"/>
                    <a:pt x="131" y="27"/>
                    <a:pt x="131" y="27"/>
                  </a:cubicBezTo>
                  <a:cubicBezTo>
                    <a:pt x="131" y="27"/>
                    <a:pt x="131" y="27"/>
                    <a:pt x="131" y="27"/>
                  </a:cubicBezTo>
                  <a:cubicBezTo>
                    <a:pt x="132" y="27"/>
                    <a:pt x="132" y="27"/>
                    <a:pt x="132" y="27"/>
                  </a:cubicBezTo>
                  <a:cubicBezTo>
                    <a:pt x="132" y="27"/>
                    <a:pt x="132" y="27"/>
                    <a:pt x="132" y="26"/>
                  </a:cubicBezTo>
                  <a:cubicBezTo>
                    <a:pt x="132" y="26"/>
                    <a:pt x="132" y="26"/>
                    <a:pt x="133" y="26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3" y="26"/>
                    <a:pt x="134" y="26"/>
                    <a:pt x="134" y="26"/>
                  </a:cubicBezTo>
                  <a:cubicBezTo>
                    <a:pt x="134" y="26"/>
                    <a:pt x="134" y="26"/>
                    <a:pt x="134" y="25"/>
                  </a:cubicBezTo>
                  <a:cubicBezTo>
                    <a:pt x="134" y="25"/>
                    <a:pt x="135" y="25"/>
                    <a:pt x="135" y="25"/>
                  </a:cubicBezTo>
                  <a:cubicBezTo>
                    <a:pt x="137" y="23"/>
                    <a:pt x="139" y="21"/>
                    <a:pt x="141" y="19"/>
                  </a:cubicBezTo>
                  <a:cubicBezTo>
                    <a:pt x="142" y="19"/>
                    <a:pt x="142" y="19"/>
                    <a:pt x="142" y="19"/>
                  </a:cubicBezTo>
                  <a:cubicBezTo>
                    <a:pt x="143" y="18"/>
                    <a:pt x="144" y="19"/>
                    <a:pt x="146" y="18"/>
                  </a:cubicBezTo>
                  <a:cubicBezTo>
                    <a:pt x="146" y="18"/>
                    <a:pt x="146" y="18"/>
                    <a:pt x="146" y="18"/>
                  </a:cubicBezTo>
                  <a:cubicBezTo>
                    <a:pt x="147" y="18"/>
                    <a:pt x="148" y="18"/>
                    <a:pt x="149" y="18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150" y="18"/>
                    <a:pt x="151" y="18"/>
                    <a:pt x="152" y="18"/>
                  </a:cubicBezTo>
                  <a:cubicBezTo>
                    <a:pt x="152" y="18"/>
                    <a:pt x="152" y="17"/>
                    <a:pt x="152" y="17"/>
                  </a:cubicBezTo>
                  <a:cubicBezTo>
                    <a:pt x="154" y="17"/>
                    <a:pt x="155" y="17"/>
                    <a:pt x="157" y="17"/>
                  </a:cubicBezTo>
                  <a:cubicBezTo>
                    <a:pt x="157" y="17"/>
                    <a:pt x="157" y="17"/>
                    <a:pt x="157" y="16"/>
                  </a:cubicBezTo>
                  <a:cubicBezTo>
                    <a:pt x="157" y="16"/>
                    <a:pt x="158" y="16"/>
                    <a:pt x="158" y="16"/>
                  </a:cubicBezTo>
                  <a:cubicBezTo>
                    <a:pt x="158" y="16"/>
                    <a:pt x="158" y="16"/>
                    <a:pt x="158" y="16"/>
                  </a:cubicBezTo>
                  <a:cubicBezTo>
                    <a:pt x="158" y="16"/>
                    <a:pt x="159" y="16"/>
                    <a:pt x="159" y="16"/>
                  </a:cubicBezTo>
                  <a:cubicBezTo>
                    <a:pt x="159" y="15"/>
                    <a:pt x="159" y="15"/>
                    <a:pt x="160" y="15"/>
                  </a:cubicBezTo>
                  <a:cubicBezTo>
                    <a:pt x="160" y="15"/>
                    <a:pt x="160" y="15"/>
                    <a:pt x="160" y="15"/>
                  </a:cubicBezTo>
                  <a:cubicBezTo>
                    <a:pt x="160" y="14"/>
                    <a:pt x="161" y="14"/>
                    <a:pt x="161" y="14"/>
                  </a:cubicBezTo>
                  <a:cubicBezTo>
                    <a:pt x="161" y="14"/>
                    <a:pt x="161" y="14"/>
                    <a:pt x="161" y="14"/>
                  </a:cubicBezTo>
                  <a:cubicBezTo>
                    <a:pt x="162" y="14"/>
                    <a:pt x="162" y="13"/>
                    <a:pt x="162" y="13"/>
                  </a:cubicBezTo>
                  <a:cubicBezTo>
                    <a:pt x="162" y="13"/>
                    <a:pt x="163" y="13"/>
                    <a:pt x="163" y="13"/>
                  </a:cubicBezTo>
                  <a:cubicBezTo>
                    <a:pt x="163" y="13"/>
                    <a:pt x="163" y="12"/>
                    <a:pt x="163" y="12"/>
                  </a:cubicBezTo>
                  <a:cubicBezTo>
                    <a:pt x="163" y="12"/>
                    <a:pt x="164" y="12"/>
                    <a:pt x="164" y="12"/>
                  </a:cubicBezTo>
                  <a:cubicBezTo>
                    <a:pt x="164" y="12"/>
                    <a:pt x="164" y="11"/>
                    <a:pt x="165" y="11"/>
                  </a:cubicBezTo>
                  <a:cubicBezTo>
                    <a:pt x="165" y="11"/>
                    <a:pt x="165" y="11"/>
                    <a:pt x="165" y="11"/>
                  </a:cubicBezTo>
                  <a:cubicBezTo>
                    <a:pt x="165" y="11"/>
                    <a:pt x="165" y="11"/>
                    <a:pt x="166" y="10"/>
                  </a:cubicBezTo>
                  <a:cubicBezTo>
                    <a:pt x="166" y="10"/>
                    <a:pt x="166" y="10"/>
                    <a:pt x="166" y="10"/>
                  </a:cubicBezTo>
                  <a:cubicBezTo>
                    <a:pt x="167" y="10"/>
                    <a:pt x="167" y="10"/>
                    <a:pt x="167" y="9"/>
                  </a:cubicBezTo>
                  <a:cubicBezTo>
                    <a:pt x="167" y="9"/>
                    <a:pt x="167" y="9"/>
                    <a:pt x="168" y="9"/>
                  </a:cubicBezTo>
                  <a:cubicBezTo>
                    <a:pt x="168" y="9"/>
                    <a:pt x="168" y="9"/>
                    <a:pt x="168" y="9"/>
                  </a:cubicBezTo>
                  <a:cubicBezTo>
                    <a:pt x="169" y="8"/>
                    <a:pt x="170" y="8"/>
                    <a:pt x="171" y="8"/>
                  </a:cubicBezTo>
                  <a:cubicBezTo>
                    <a:pt x="171" y="8"/>
                    <a:pt x="171" y="8"/>
                    <a:pt x="171" y="8"/>
                  </a:cubicBezTo>
                  <a:cubicBezTo>
                    <a:pt x="172" y="8"/>
                    <a:pt x="173" y="8"/>
                    <a:pt x="174" y="8"/>
                  </a:cubicBezTo>
                  <a:cubicBezTo>
                    <a:pt x="174" y="8"/>
                    <a:pt x="174" y="9"/>
                    <a:pt x="174" y="9"/>
                  </a:cubicBezTo>
                  <a:cubicBezTo>
                    <a:pt x="174" y="9"/>
                    <a:pt x="174" y="9"/>
                    <a:pt x="175" y="9"/>
                  </a:cubicBezTo>
                  <a:cubicBezTo>
                    <a:pt x="175" y="9"/>
                    <a:pt x="175" y="9"/>
                    <a:pt x="175" y="9"/>
                  </a:cubicBezTo>
                  <a:cubicBezTo>
                    <a:pt x="175" y="9"/>
                    <a:pt x="176" y="9"/>
                    <a:pt x="177" y="9"/>
                  </a:cubicBezTo>
                  <a:cubicBezTo>
                    <a:pt x="177" y="9"/>
                    <a:pt x="177" y="10"/>
                    <a:pt x="177" y="10"/>
                  </a:cubicBezTo>
                  <a:cubicBezTo>
                    <a:pt x="177" y="10"/>
                    <a:pt x="178" y="10"/>
                    <a:pt x="178" y="10"/>
                  </a:cubicBezTo>
                  <a:cubicBezTo>
                    <a:pt x="178" y="10"/>
                    <a:pt x="178" y="10"/>
                    <a:pt x="178" y="10"/>
                  </a:cubicBezTo>
                  <a:cubicBezTo>
                    <a:pt x="179" y="10"/>
                    <a:pt x="179" y="10"/>
                    <a:pt x="180" y="10"/>
                  </a:cubicBezTo>
                  <a:cubicBezTo>
                    <a:pt x="180" y="10"/>
                    <a:pt x="181" y="11"/>
                    <a:pt x="182" y="11"/>
                  </a:cubicBezTo>
                  <a:cubicBezTo>
                    <a:pt x="182" y="11"/>
                    <a:pt x="182" y="10"/>
                    <a:pt x="182" y="10"/>
                  </a:cubicBezTo>
                  <a:cubicBezTo>
                    <a:pt x="183" y="10"/>
                    <a:pt x="183" y="10"/>
                    <a:pt x="183" y="10"/>
                  </a:cubicBezTo>
                  <a:cubicBezTo>
                    <a:pt x="183" y="10"/>
                    <a:pt x="183" y="10"/>
                    <a:pt x="183" y="10"/>
                  </a:cubicBezTo>
                  <a:cubicBezTo>
                    <a:pt x="184" y="10"/>
                    <a:pt x="185" y="10"/>
                    <a:pt x="186" y="9"/>
                  </a:cubicBezTo>
                  <a:cubicBezTo>
                    <a:pt x="186" y="9"/>
                    <a:pt x="186" y="9"/>
                    <a:pt x="186" y="9"/>
                  </a:cubicBezTo>
                  <a:cubicBezTo>
                    <a:pt x="186" y="9"/>
                    <a:pt x="187" y="9"/>
                    <a:pt x="187" y="9"/>
                  </a:cubicBezTo>
                  <a:cubicBezTo>
                    <a:pt x="187" y="9"/>
                    <a:pt x="187" y="9"/>
                    <a:pt x="187" y="9"/>
                  </a:cubicBezTo>
                  <a:cubicBezTo>
                    <a:pt x="188" y="9"/>
                    <a:pt x="188" y="8"/>
                    <a:pt x="189" y="8"/>
                  </a:cubicBezTo>
                  <a:cubicBezTo>
                    <a:pt x="189" y="8"/>
                    <a:pt x="189" y="8"/>
                    <a:pt x="189" y="8"/>
                  </a:cubicBezTo>
                  <a:cubicBezTo>
                    <a:pt x="190" y="8"/>
                    <a:pt x="190" y="8"/>
                    <a:pt x="191" y="8"/>
                  </a:cubicBezTo>
                  <a:cubicBezTo>
                    <a:pt x="191" y="7"/>
                    <a:pt x="191" y="7"/>
                    <a:pt x="191" y="7"/>
                  </a:cubicBezTo>
                  <a:cubicBezTo>
                    <a:pt x="191" y="7"/>
                    <a:pt x="192" y="7"/>
                    <a:pt x="192" y="7"/>
                  </a:cubicBezTo>
                  <a:cubicBezTo>
                    <a:pt x="192" y="7"/>
                    <a:pt x="192" y="7"/>
                    <a:pt x="192" y="7"/>
                  </a:cubicBezTo>
                  <a:cubicBezTo>
                    <a:pt x="193" y="7"/>
                    <a:pt x="194" y="6"/>
                    <a:pt x="195" y="6"/>
                  </a:cubicBezTo>
                  <a:cubicBezTo>
                    <a:pt x="195" y="6"/>
                    <a:pt x="195" y="6"/>
                    <a:pt x="195" y="6"/>
                  </a:cubicBezTo>
                  <a:cubicBezTo>
                    <a:pt x="195" y="6"/>
                    <a:pt x="195" y="6"/>
                    <a:pt x="196" y="6"/>
                  </a:cubicBezTo>
                  <a:cubicBezTo>
                    <a:pt x="196" y="6"/>
                    <a:pt x="196" y="6"/>
                    <a:pt x="196" y="5"/>
                  </a:cubicBezTo>
                  <a:cubicBezTo>
                    <a:pt x="200" y="5"/>
                    <a:pt x="204" y="4"/>
                    <a:pt x="208" y="3"/>
                  </a:cubicBezTo>
                  <a:cubicBezTo>
                    <a:pt x="210" y="3"/>
                    <a:pt x="214" y="2"/>
                    <a:pt x="217" y="2"/>
                  </a:cubicBezTo>
                  <a:cubicBezTo>
                    <a:pt x="216" y="3"/>
                    <a:pt x="216" y="4"/>
                    <a:pt x="216" y="5"/>
                  </a:cubicBezTo>
                  <a:cubicBezTo>
                    <a:pt x="216" y="5"/>
                    <a:pt x="216" y="5"/>
                    <a:pt x="216" y="5"/>
                  </a:cubicBezTo>
                  <a:cubicBezTo>
                    <a:pt x="216" y="5"/>
                    <a:pt x="216" y="5"/>
                    <a:pt x="216" y="5"/>
                  </a:cubicBezTo>
                  <a:cubicBezTo>
                    <a:pt x="215" y="5"/>
                    <a:pt x="215" y="5"/>
                    <a:pt x="215" y="5"/>
                  </a:cubicBezTo>
                  <a:cubicBezTo>
                    <a:pt x="215" y="6"/>
                    <a:pt x="215" y="7"/>
                    <a:pt x="216" y="8"/>
                  </a:cubicBezTo>
                  <a:cubicBezTo>
                    <a:pt x="215" y="10"/>
                    <a:pt x="214" y="12"/>
                    <a:pt x="215" y="15"/>
                  </a:cubicBezTo>
                  <a:cubicBezTo>
                    <a:pt x="216" y="16"/>
                    <a:pt x="217" y="17"/>
                    <a:pt x="218" y="17"/>
                  </a:cubicBezTo>
                  <a:cubicBezTo>
                    <a:pt x="220" y="19"/>
                    <a:pt x="224" y="19"/>
                    <a:pt x="225" y="22"/>
                  </a:cubicBezTo>
                  <a:cubicBezTo>
                    <a:pt x="227" y="24"/>
                    <a:pt x="226" y="33"/>
                    <a:pt x="227" y="37"/>
                  </a:cubicBezTo>
                  <a:cubicBezTo>
                    <a:pt x="227" y="38"/>
                    <a:pt x="227" y="38"/>
                    <a:pt x="227" y="39"/>
                  </a:cubicBezTo>
                  <a:cubicBezTo>
                    <a:pt x="227" y="39"/>
                    <a:pt x="227" y="39"/>
                    <a:pt x="227" y="39"/>
                  </a:cubicBezTo>
                  <a:cubicBezTo>
                    <a:pt x="227" y="39"/>
                    <a:pt x="227" y="39"/>
                    <a:pt x="227" y="40"/>
                  </a:cubicBezTo>
                  <a:cubicBezTo>
                    <a:pt x="228" y="40"/>
                    <a:pt x="228" y="40"/>
                    <a:pt x="228" y="40"/>
                  </a:cubicBezTo>
                  <a:cubicBezTo>
                    <a:pt x="228" y="41"/>
                    <a:pt x="228" y="41"/>
                    <a:pt x="229" y="41"/>
                  </a:cubicBezTo>
                  <a:cubicBezTo>
                    <a:pt x="230" y="43"/>
                    <a:pt x="231" y="41"/>
                    <a:pt x="233" y="41"/>
                  </a:cubicBezTo>
                  <a:cubicBezTo>
                    <a:pt x="233" y="42"/>
                    <a:pt x="234" y="42"/>
                    <a:pt x="234" y="43"/>
                  </a:cubicBezTo>
                  <a:cubicBezTo>
                    <a:pt x="236" y="44"/>
                    <a:pt x="240" y="42"/>
                    <a:pt x="241" y="42"/>
                  </a:cubicBezTo>
                  <a:cubicBezTo>
                    <a:pt x="242" y="42"/>
                    <a:pt x="243" y="42"/>
                    <a:pt x="244" y="42"/>
                  </a:cubicBezTo>
                  <a:cubicBezTo>
                    <a:pt x="247" y="41"/>
                    <a:pt x="250" y="40"/>
                    <a:pt x="252" y="38"/>
                  </a:cubicBezTo>
                  <a:cubicBezTo>
                    <a:pt x="255" y="37"/>
                    <a:pt x="255" y="35"/>
                    <a:pt x="259" y="34"/>
                  </a:cubicBezTo>
                  <a:cubicBezTo>
                    <a:pt x="259" y="35"/>
                    <a:pt x="260" y="35"/>
                    <a:pt x="260" y="35"/>
                  </a:cubicBezTo>
                  <a:cubicBezTo>
                    <a:pt x="262" y="37"/>
                    <a:pt x="259" y="48"/>
                    <a:pt x="261" y="51"/>
                  </a:cubicBezTo>
                  <a:cubicBezTo>
                    <a:pt x="261" y="51"/>
                    <a:pt x="262" y="51"/>
                    <a:pt x="262" y="52"/>
                  </a:cubicBezTo>
                  <a:cubicBezTo>
                    <a:pt x="262" y="52"/>
                    <a:pt x="262" y="52"/>
                    <a:pt x="262" y="52"/>
                  </a:cubicBezTo>
                  <a:cubicBezTo>
                    <a:pt x="262" y="52"/>
                    <a:pt x="263" y="53"/>
                    <a:pt x="263" y="53"/>
                  </a:cubicBezTo>
                  <a:cubicBezTo>
                    <a:pt x="263" y="53"/>
                    <a:pt x="263" y="53"/>
                    <a:pt x="263" y="53"/>
                  </a:cubicBezTo>
                  <a:cubicBezTo>
                    <a:pt x="264" y="54"/>
                    <a:pt x="265" y="55"/>
                    <a:pt x="267" y="56"/>
                  </a:cubicBezTo>
                  <a:cubicBezTo>
                    <a:pt x="267" y="56"/>
                    <a:pt x="268" y="56"/>
                    <a:pt x="268" y="56"/>
                  </a:cubicBezTo>
                  <a:cubicBezTo>
                    <a:pt x="269" y="56"/>
                    <a:pt x="269" y="57"/>
                    <a:pt x="269" y="57"/>
                  </a:cubicBezTo>
                  <a:cubicBezTo>
                    <a:pt x="269" y="57"/>
                    <a:pt x="269" y="57"/>
                    <a:pt x="269" y="57"/>
                  </a:cubicBezTo>
                  <a:cubicBezTo>
                    <a:pt x="269" y="57"/>
                    <a:pt x="269" y="57"/>
                    <a:pt x="269" y="57"/>
                  </a:cubicBezTo>
                  <a:cubicBezTo>
                    <a:pt x="270" y="57"/>
                    <a:pt x="270" y="57"/>
                    <a:pt x="270" y="57"/>
                  </a:cubicBezTo>
                  <a:cubicBezTo>
                    <a:pt x="270" y="57"/>
                    <a:pt x="270" y="58"/>
                    <a:pt x="270" y="58"/>
                  </a:cubicBezTo>
                  <a:cubicBezTo>
                    <a:pt x="272" y="59"/>
                    <a:pt x="273" y="58"/>
                    <a:pt x="274" y="60"/>
                  </a:cubicBezTo>
                  <a:cubicBezTo>
                    <a:pt x="274" y="61"/>
                    <a:pt x="274" y="63"/>
                    <a:pt x="274" y="64"/>
                  </a:cubicBezTo>
                  <a:cubicBezTo>
                    <a:pt x="273" y="67"/>
                    <a:pt x="272" y="70"/>
                    <a:pt x="271" y="73"/>
                  </a:cubicBezTo>
                  <a:cubicBezTo>
                    <a:pt x="271" y="73"/>
                    <a:pt x="270" y="73"/>
                    <a:pt x="270" y="73"/>
                  </a:cubicBezTo>
                  <a:cubicBezTo>
                    <a:pt x="270" y="74"/>
                    <a:pt x="270" y="74"/>
                    <a:pt x="270" y="74"/>
                  </a:cubicBezTo>
                  <a:cubicBezTo>
                    <a:pt x="271" y="74"/>
                    <a:pt x="271" y="75"/>
                    <a:pt x="271" y="75"/>
                  </a:cubicBezTo>
                  <a:cubicBezTo>
                    <a:pt x="271" y="75"/>
                    <a:pt x="272" y="75"/>
                    <a:pt x="272" y="75"/>
                  </a:cubicBezTo>
                  <a:cubicBezTo>
                    <a:pt x="272" y="75"/>
                    <a:pt x="272" y="75"/>
                    <a:pt x="272" y="75"/>
                  </a:cubicBezTo>
                  <a:cubicBezTo>
                    <a:pt x="273" y="76"/>
                    <a:pt x="274" y="76"/>
                    <a:pt x="274" y="76"/>
                  </a:cubicBezTo>
                  <a:cubicBezTo>
                    <a:pt x="274" y="76"/>
                    <a:pt x="275" y="77"/>
                    <a:pt x="275" y="77"/>
                  </a:cubicBezTo>
                  <a:cubicBezTo>
                    <a:pt x="275" y="77"/>
                    <a:pt x="276" y="77"/>
                    <a:pt x="276" y="77"/>
                  </a:cubicBezTo>
                  <a:cubicBezTo>
                    <a:pt x="276" y="77"/>
                    <a:pt x="276" y="77"/>
                    <a:pt x="276" y="78"/>
                  </a:cubicBezTo>
                  <a:cubicBezTo>
                    <a:pt x="277" y="78"/>
                    <a:pt x="278" y="78"/>
                    <a:pt x="279" y="78"/>
                  </a:cubicBezTo>
                  <a:cubicBezTo>
                    <a:pt x="279" y="78"/>
                    <a:pt x="279" y="78"/>
                    <a:pt x="279" y="79"/>
                  </a:cubicBezTo>
                  <a:cubicBezTo>
                    <a:pt x="279" y="79"/>
                    <a:pt x="279" y="79"/>
                    <a:pt x="279" y="79"/>
                  </a:cubicBezTo>
                  <a:cubicBezTo>
                    <a:pt x="279" y="79"/>
                    <a:pt x="279" y="79"/>
                    <a:pt x="279" y="79"/>
                  </a:cubicBezTo>
                  <a:cubicBezTo>
                    <a:pt x="279" y="79"/>
                    <a:pt x="280" y="79"/>
                    <a:pt x="280" y="79"/>
                  </a:cubicBezTo>
                  <a:cubicBezTo>
                    <a:pt x="280" y="79"/>
                    <a:pt x="280" y="79"/>
                    <a:pt x="280" y="79"/>
                  </a:cubicBezTo>
                  <a:cubicBezTo>
                    <a:pt x="280" y="79"/>
                    <a:pt x="280" y="79"/>
                    <a:pt x="281" y="79"/>
                  </a:cubicBezTo>
                  <a:cubicBezTo>
                    <a:pt x="281" y="79"/>
                    <a:pt x="281" y="79"/>
                    <a:pt x="281" y="80"/>
                  </a:cubicBezTo>
                  <a:cubicBezTo>
                    <a:pt x="281" y="80"/>
                    <a:pt x="281" y="80"/>
                    <a:pt x="281" y="80"/>
                  </a:cubicBezTo>
                  <a:cubicBezTo>
                    <a:pt x="281" y="80"/>
                    <a:pt x="281" y="80"/>
                    <a:pt x="281" y="80"/>
                  </a:cubicBezTo>
                  <a:cubicBezTo>
                    <a:pt x="282" y="80"/>
                    <a:pt x="282" y="80"/>
                    <a:pt x="282" y="80"/>
                  </a:cubicBezTo>
                  <a:cubicBezTo>
                    <a:pt x="282" y="80"/>
                    <a:pt x="282" y="80"/>
                    <a:pt x="282" y="80"/>
                  </a:cubicBezTo>
                  <a:cubicBezTo>
                    <a:pt x="282" y="80"/>
                    <a:pt x="282" y="80"/>
                    <a:pt x="283" y="80"/>
                  </a:cubicBezTo>
                  <a:cubicBezTo>
                    <a:pt x="283" y="80"/>
                    <a:pt x="283" y="81"/>
                    <a:pt x="283" y="81"/>
                  </a:cubicBezTo>
                  <a:cubicBezTo>
                    <a:pt x="283" y="81"/>
                    <a:pt x="283" y="81"/>
                    <a:pt x="283" y="81"/>
                  </a:cubicBezTo>
                  <a:cubicBezTo>
                    <a:pt x="284" y="81"/>
                    <a:pt x="284" y="81"/>
                    <a:pt x="284" y="81"/>
                  </a:cubicBezTo>
                  <a:cubicBezTo>
                    <a:pt x="284" y="81"/>
                    <a:pt x="285" y="82"/>
                    <a:pt x="285" y="82"/>
                  </a:cubicBezTo>
                  <a:cubicBezTo>
                    <a:pt x="285" y="82"/>
                    <a:pt x="286" y="82"/>
                    <a:pt x="286" y="83"/>
                  </a:cubicBezTo>
                  <a:cubicBezTo>
                    <a:pt x="287" y="84"/>
                    <a:pt x="288" y="84"/>
                    <a:pt x="288" y="87"/>
                  </a:cubicBezTo>
                  <a:cubicBezTo>
                    <a:pt x="288" y="87"/>
                    <a:pt x="288" y="87"/>
                    <a:pt x="288" y="87"/>
                  </a:cubicBezTo>
                  <a:cubicBezTo>
                    <a:pt x="288" y="87"/>
                    <a:pt x="288" y="88"/>
                    <a:pt x="288" y="89"/>
                  </a:cubicBezTo>
                  <a:cubicBezTo>
                    <a:pt x="288" y="89"/>
                    <a:pt x="287" y="89"/>
                    <a:pt x="287" y="89"/>
                  </a:cubicBezTo>
                  <a:cubicBezTo>
                    <a:pt x="287" y="89"/>
                    <a:pt x="287" y="89"/>
                    <a:pt x="287" y="89"/>
                  </a:cubicBezTo>
                  <a:cubicBezTo>
                    <a:pt x="287" y="90"/>
                    <a:pt x="286" y="92"/>
                    <a:pt x="286" y="94"/>
                  </a:cubicBezTo>
                  <a:cubicBezTo>
                    <a:pt x="286" y="94"/>
                    <a:pt x="286" y="94"/>
                    <a:pt x="287" y="94"/>
                  </a:cubicBezTo>
                  <a:cubicBezTo>
                    <a:pt x="287" y="95"/>
                    <a:pt x="287" y="95"/>
                    <a:pt x="287" y="96"/>
                  </a:cubicBezTo>
                  <a:cubicBezTo>
                    <a:pt x="287" y="96"/>
                    <a:pt x="287" y="96"/>
                    <a:pt x="287" y="96"/>
                  </a:cubicBezTo>
                  <a:cubicBezTo>
                    <a:pt x="287" y="96"/>
                    <a:pt x="288" y="97"/>
                    <a:pt x="288" y="97"/>
                  </a:cubicBezTo>
                  <a:cubicBezTo>
                    <a:pt x="288" y="97"/>
                    <a:pt x="288" y="97"/>
                    <a:pt x="288" y="97"/>
                  </a:cubicBezTo>
                  <a:cubicBezTo>
                    <a:pt x="288" y="97"/>
                    <a:pt x="288" y="98"/>
                    <a:pt x="288" y="98"/>
                  </a:cubicBezTo>
                  <a:cubicBezTo>
                    <a:pt x="288" y="98"/>
                    <a:pt x="288" y="98"/>
                    <a:pt x="289" y="98"/>
                  </a:cubicBezTo>
                  <a:cubicBezTo>
                    <a:pt x="289" y="99"/>
                    <a:pt x="289" y="100"/>
                    <a:pt x="289" y="101"/>
                  </a:cubicBezTo>
                  <a:cubicBezTo>
                    <a:pt x="290" y="101"/>
                    <a:pt x="290" y="101"/>
                    <a:pt x="290" y="101"/>
                  </a:cubicBezTo>
                  <a:cubicBezTo>
                    <a:pt x="290" y="102"/>
                    <a:pt x="290" y="102"/>
                    <a:pt x="290" y="102"/>
                  </a:cubicBezTo>
                  <a:cubicBezTo>
                    <a:pt x="291" y="102"/>
                    <a:pt x="292" y="103"/>
                    <a:pt x="292" y="103"/>
                  </a:cubicBezTo>
                  <a:cubicBezTo>
                    <a:pt x="293" y="105"/>
                    <a:pt x="294" y="106"/>
                    <a:pt x="295" y="107"/>
                  </a:cubicBezTo>
                  <a:cubicBezTo>
                    <a:pt x="296" y="107"/>
                    <a:pt x="296" y="107"/>
                    <a:pt x="296" y="107"/>
                  </a:cubicBezTo>
                  <a:cubicBezTo>
                    <a:pt x="297" y="108"/>
                    <a:pt x="297" y="109"/>
                    <a:pt x="298" y="109"/>
                  </a:cubicBezTo>
                  <a:cubicBezTo>
                    <a:pt x="298" y="109"/>
                    <a:pt x="299" y="109"/>
                    <a:pt x="299" y="109"/>
                  </a:cubicBezTo>
                  <a:cubicBezTo>
                    <a:pt x="300" y="110"/>
                    <a:pt x="300" y="111"/>
                    <a:pt x="301" y="112"/>
                  </a:cubicBezTo>
                  <a:cubicBezTo>
                    <a:pt x="301" y="112"/>
                    <a:pt x="302" y="112"/>
                    <a:pt x="302" y="112"/>
                  </a:cubicBezTo>
                  <a:cubicBezTo>
                    <a:pt x="302" y="113"/>
                    <a:pt x="302" y="113"/>
                    <a:pt x="302" y="113"/>
                  </a:cubicBezTo>
                  <a:cubicBezTo>
                    <a:pt x="302" y="113"/>
                    <a:pt x="303" y="114"/>
                    <a:pt x="303" y="114"/>
                  </a:cubicBezTo>
                  <a:cubicBezTo>
                    <a:pt x="303" y="114"/>
                    <a:pt x="303" y="115"/>
                    <a:pt x="304" y="115"/>
                  </a:cubicBezTo>
                  <a:cubicBezTo>
                    <a:pt x="304" y="116"/>
                    <a:pt x="304" y="117"/>
                    <a:pt x="304" y="118"/>
                  </a:cubicBezTo>
                  <a:cubicBezTo>
                    <a:pt x="304" y="118"/>
                    <a:pt x="304" y="118"/>
                    <a:pt x="304" y="118"/>
                  </a:cubicBezTo>
                  <a:cubicBezTo>
                    <a:pt x="304" y="119"/>
                    <a:pt x="303" y="119"/>
                    <a:pt x="303" y="120"/>
                  </a:cubicBezTo>
                  <a:cubicBezTo>
                    <a:pt x="303" y="120"/>
                    <a:pt x="303" y="120"/>
                    <a:pt x="303" y="121"/>
                  </a:cubicBezTo>
                  <a:cubicBezTo>
                    <a:pt x="303" y="121"/>
                    <a:pt x="302" y="121"/>
                    <a:pt x="302" y="122"/>
                  </a:cubicBezTo>
                  <a:cubicBezTo>
                    <a:pt x="302" y="122"/>
                    <a:pt x="302" y="122"/>
                    <a:pt x="302" y="122"/>
                  </a:cubicBezTo>
                  <a:cubicBezTo>
                    <a:pt x="302" y="123"/>
                    <a:pt x="302" y="123"/>
                    <a:pt x="302" y="123"/>
                  </a:cubicBezTo>
                  <a:cubicBezTo>
                    <a:pt x="301" y="123"/>
                    <a:pt x="301" y="123"/>
                    <a:pt x="301" y="123"/>
                  </a:cubicBezTo>
                  <a:cubicBezTo>
                    <a:pt x="301" y="123"/>
                    <a:pt x="301" y="124"/>
                    <a:pt x="301" y="124"/>
                  </a:cubicBezTo>
                  <a:cubicBezTo>
                    <a:pt x="301" y="124"/>
                    <a:pt x="301" y="124"/>
                    <a:pt x="301" y="124"/>
                  </a:cubicBezTo>
                  <a:cubicBezTo>
                    <a:pt x="300" y="126"/>
                    <a:pt x="301" y="129"/>
                    <a:pt x="300" y="131"/>
                  </a:cubicBezTo>
                  <a:cubicBezTo>
                    <a:pt x="300" y="131"/>
                    <a:pt x="300" y="131"/>
                    <a:pt x="300" y="131"/>
                  </a:cubicBezTo>
                  <a:cubicBezTo>
                    <a:pt x="300" y="131"/>
                    <a:pt x="300" y="131"/>
                    <a:pt x="300" y="131"/>
                  </a:cubicBezTo>
                  <a:cubicBezTo>
                    <a:pt x="300" y="131"/>
                    <a:pt x="299" y="132"/>
                    <a:pt x="299" y="132"/>
                  </a:cubicBezTo>
                  <a:cubicBezTo>
                    <a:pt x="299" y="132"/>
                    <a:pt x="299" y="132"/>
                    <a:pt x="299" y="132"/>
                  </a:cubicBezTo>
                  <a:cubicBezTo>
                    <a:pt x="299" y="133"/>
                    <a:pt x="298" y="133"/>
                    <a:pt x="298" y="133"/>
                  </a:cubicBezTo>
                  <a:cubicBezTo>
                    <a:pt x="298" y="134"/>
                    <a:pt x="298" y="134"/>
                    <a:pt x="298" y="134"/>
                  </a:cubicBezTo>
                  <a:cubicBezTo>
                    <a:pt x="298" y="134"/>
                    <a:pt x="297" y="134"/>
                    <a:pt x="297" y="135"/>
                  </a:cubicBezTo>
                  <a:cubicBezTo>
                    <a:pt x="297" y="135"/>
                    <a:pt x="296" y="135"/>
                    <a:pt x="296" y="136"/>
                  </a:cubicBezTo>
                  <a:cubicBezTo>
                    <a:pt x="296" y="136"/>
                    <a:pt x="296" y="136"/>
                    <a:pt x="295" y="136"/>
                  </a:cubicBezTo>
                  <a:cubicBezTo>
                    <a:pt x="294" y="137"/>
                    <a:pt x="293" y="139"/>
                    <a:pt x="291" y="140"/>
                  </a:cubicBezTo>
                  <a:cubicBezTo>
                    <a:pt x="290" y="141"/>
                    <a:pt x="290" y="142"/>
                    <a:pt x="289" y="142"/>
                  </a:cubicBezTo>
                  <a:cubicBezTo>
                    <a:pt x="289" y="142"/>
                    <a:pt x="289" y="143"/>
                    <a:pt x="289" y="143"/>
                  </a:cubicBezTo>
                  <a:cubicBezTo>
                    <a:pt x="289" y="143"/>
                    <a:pt x="289" y="143"/>
                    <a:pt x="288" y="143"/>
                  </a:cubicBezTo>
                  <a:cubicBezTo>
                    <a:pt x="288" y="143"/>
                    <a:pt x="288" y="144"/>
                    <a:pt x="288" y="144"/>
                  </a:cubicBezTo>
                  <a:cubicBezTo>
                    <a:pt x="288" y="144"/>
                    <a:pt x="288" y="144"/>
                    <a:pt x="287" y="145"/>
                  </a:cubicBezTo>
                  <a:cubicBezTo>
                    <a:pt x="287" y="145"/>
                    <a:pt x="287" y="146"/>
                    <a:pt x="287" y="147"/>
                  </a:cubicBezTo>
                  <a:cubicBezTo>
                    <a:pt x="286" y="147"/>
                    <a:pt x="286" y="147"/>
                    <a:pt x="286" y="147"/>
                  </a:cubicBezTo>
                  <a:cubicBezTo>
                    <a:pt x="286" y="148"/>
                    <a:pt x="286" y="148"/>
                    <a:pt x="286" y="149"/>
                  </a:cubicBezTo>
                  <a:cubicBezTo>
                    <a:pt x="285" y="149"/>
                    <a:pt x="285" y="149"/>
                    <a:pt x="285" y="149"/>
                  </a:cubicBezTo>
                  <a:cubicBezTo>
                    <a:pt x="285" y="149"/>
                    <a:pt x="285" y="149"/>
                    <a:pt x="285" y="149"/>
                  </a:cubicBezTo>
                  <a:cubicBezTo>
                    <a:pt x="285" y="149"/>
                    <a:pt x="285" y="149"/>
                    <a:pt x="285" y="149"/>
                  </a:cubicBezTo>
                  <a:cubicBezTo>
                    <a:pt x="285" y="150"/>
                    <a:pt x="284" y="151"/>
                    <a:pt x="284" y="151"/>
                  </a:cubicBezTo>
                  <a:cubicBezTo>
                    <a:pt x="284" y="151"/>
                    <a:pt x="284" y="151"/>
                    <a:pt x="284" y="151"/>
                  </a:cubicBezTo>
                  <a:cubicBezTo>
                    <a:pt x="284" y="152"/>
                    <a:pt x="284" y="152"/>
                    <a:pt x="284" y="152"/>
                  </a:cubicBezTo>
                  <a:cubicBezTo>
                    <a:pt x="284" y="152"/>
                    <a:pt x="284" y="152"/>
                    <a:pt x="283" y="152"/>
                  </a:cubicBezTo>
                  <a:cubicBezTo>
                    <a:pt x="283" y="153"/>
                    <a:pt x="283" y="153"/>
                    <a:pt x="283" y="153"/>
                  </a:cubicBezTo>
                  <a:cubicBezTo>
                    <a:pt x="283" y="153"/>
                    <a:pt x="283" y="153"/>
                    <a:pt x="283" y="153"/>
                  </a:cubicBezTo>
                  <a:cubicBezTo>
                    <a:pt x="282" y="156"/>
                    <a:pt x="284" y="161"/>
                    <a:pt x="285" y="163"/>
                  </a:cubicBezTo>
                  <a:cubicBezTo>
                    <a:pt x="286" y="165"/>
                    <a:pt x="285" y="168"/>
                    <a:pt x="285" y="170"/>
                  </a:cubicBezTo>
                  <a:cubicBezTo>
                    <a:pt x="286" y="172"/>
                    <a:pt x="287" y="174"/>
                    <a:pt x="288" y="176"/>
                  </a:cubicBezTo>
                  <a:cubicBezTo>
                    <a:pt x="288" y="176"/>
                    <a:pt x="288" y="176"/>
                    <a:pt x="288" y="176"/>
                  </a:cubicBezTo>
                  <a:cubicBezTo>
                    <a:pt x="288" y="176"/>
                    <a:pt x="288" y="177"/>
                    <a:pt x="288" y="177"/>
                  </a:cubicBezTo>
                  <a:cubicBezTo>
                    <a:pt x="288" y="177"/>
                    <a:pt x="289" y="177"/>
                    <a:pt x="289" y="177"/>
                  </a:cubicBezTo>
                  <a:cubicBezTo>
                    <a:pt x="289" y="177"/>
                    <a:pt x="289" y="177"/>
                    <a:pt x="289" y="178"/>
                  </a:cubicBezTo>
                  <a:cubicBezTo>
                    <a:pt x="289" y="178"/>
                    <a:pt x="289" y="178"/>
                    <a:pt x="289" y="178"/>
                  </a:cubicBezTo>
                  <a:cubicBezTo>
                    <a:pt x="289" y="178"/>
                    <a:pt x="289" y="178"/>
                    <a:pt x="289" y="179"/>
                  </a:cubicBezTo>
                  <a:cubicBezTo>
                    <a:pt x="289" y="179"/>
                    <a:pt x="289" y="179"/>
                    <a:pt x="289" y="179"/>
                  </a:cubicBezTo>
                  <a:cubicBezTo>
                    <a:pt x="289" y="179"/>
                    <a:pt x="289" y="179"/>
                    <a:pt x="289" y="179"/>
                  </a:cubicBezTo>
                  <a:cubicBezTo>
                    <a:pt x="289" y="179"/>
                    <a:pt x="290" y="179"/>
                    <a:pt x="290" y="179"/>
                  </a:cubicBezTo>
                  <a:cubicBezTo>
                    <a:pt x="290" y="180"/>
                    <a:pt x="290" y="180"/>
                    <a:pt x="290" y="180"/>
                  </a:cubicBezTo>
                  <a:cubicBezTo>
                    <a:pt x="290" y="180"/>
                    <a:pt x="290" y="180"/>
                    <a:pt x="290" y="180"/>
                  </a:cubicBezTo>
                  <a:cubicBezTo>
                    <a:pt x="290" y="181"/>
                    <a:pt x="290" y="181"/>
                    <a:pt x="290" y="182"/>
                  </a:cubicBezTo>
                  <a:cubicBezTo>
                    <a:pt x="290" y="182"/>
                    <a:pt x="290" y="182"/>
                    <a:pt x="290" y="182"/>
                  </a:cubicBezTo>
                  <a:cubicBezTo>
                    <a:pt x="290" y="182"/>
                    <a:pt x="290" y="183"/>
                    <a:pt x="290" y="183"/>
                  </a:cubicBezTo>
                  <a:cubicBezTo>
                    <a:pt x="290" y="183"/>
                    <a:pt x="290" y="183"/>
                    <a:pt x="290" y="183"/>
                  </a:cubicBezTo>
                  <a:cubicBezTo>
                    <a:pt x="290" y="184"/>
                    <a:pt x="290" y="184"/>
                    <a:pt x="290" y="185"/>
                  </a:cubicBezTo>
                  <a:cubicBezTo>
                    <a:pt x="290" y="185"/>
                    <a:pt x="290" y="185"/>
                    <a:pt x="290" y="185"/>
                  </a:cubicBezTo>
                  <a:cubicBezTo>
                    <a:pt x="290" y="185"/>
                    <a:pt x="290" y="186"/>
                    <a:pt x="290" y="186"/>
                  </a:cubicBezTo>
                  <a:cubicBezTo>
                    <a:pt x="290" y="186"/>
                    <a:pt x="289" y="186"/>
                    <a:pt x="289" y="186"/>
                  </a:cubicBezTo>
                  <a:cubicBezTo>
                    <a:pt x="289" y="186"/>
                    <a:pt x="289" y="187"/>
                    <a:pt x="289" y="187"/>
                  </a:cubicBezTo>
                  <a:cubicBezTo>
                    <a:pt x="289" y="187"/>
                    <a:pt x="289" y="187"/>
                    <a:pt x="289" y="187"/>
                  </a:cubicBezTo>
                  <a:cubicBezTo>
                    <a:pt x="289" y="187"/>
                    <a:pt x="289" y="187"/>
                    <a:pt x="289" y="188"/>
                  </a:cubicBezTo>
                  <a:cubicBezTo>
                    <a:pt x="289" y="188"/>
                    <a:pt x="289" y="188"/>
                    <a:pt x="289" y="188"/>
                  </a:cubicBezTo>
                  <a:cubicBezTo>
                    <a:pt x="289" y="188"/>
                    <a:pt x="289" y="188"/>
                    <a:pt x="289" y="188"/>
                  </a:cubicBezTo>
                  <a:cubicBezTo>
                    <a:pt x="288" y="189"/>
                    <a:pt x="288" y="189"/>
                    <a:pt x="288" y="189"/>
                  </a:cubicBezTo>
                  <a:cubicBezTo>
                    <a:pt x="288" y="189"/>
                    <a:pt x="288" y="190"/>
                    <a:pt x="288" y="190"/>
                  </a:cubicBezTo>
                  <a:cubicBezTo>
                    <a:pt x="287" y="190"/>
                    <a:pt x="287" y="190"/>
                    <a:pt x="287" y="190"/>
                  </a:cubicBezTo>
                  <a:cubicBezTo>
                    <a:pt x="287" y="191"/>
                    <a:pt x="286" y="191"/>
                    <a:pt x="286" y="192"/>
                  </a:cubicBezTo>
                  <a:cubicBezTo>
                    <a:pt x="284" y="192"/>
                    <a:pt x="283" y="192"/>
                    <a:pt x="282" y="193"/>
                  </a:cubicBezTo>
                  <a:cubicBezTo>
                    <a:pt x="280" y="193"/>
                    <a:pt x="279" y="193"/>
                    <a:pt x="277" y="193"/>
                  </a:cubicBezTo>
                  <a:cubicBezTo>
                    <a:pt x="273" y="193"/>
                    <a:pt x="269" y="192"/>
                    <a:pt x="265" y="193"/>
                  </a:cubicBezTo>
                  <a:cubicBezTo>
                    <a:pt x="264" y="193"/>
                    <a:pt x="264" y="193"/>
                    <a:pt x="263" y="193"/>
                  </a:cubicBezTo>
                  <a:cubicBezTo>
                    <a:pt x="263" y="193"/>
                    <a:pt x="263" y="194"/>
                    <a:pt x="263" y="194"/>
                  </a:cubicBezTo>
                  <a:cubicBezTo>
                    <a:pt x="262" y="194"/>
                    <a:pt x="262" y="194"/>
                    <a:pt x="261" y="194"/>
                  </a:cubicBezTo>
                  <a:cubicBezTo>
                    <a:pt x="261" y="194"/>
                    <a:pt x="261" y="194"/>
                    <a:pt x="261" y="194"/>
                  </a:cubicBezTo>
                  <a:cubicBezTo>
                    <a:pt x="261" y="194"/>
                    <a:pt x="260" y="194"/>
                    <a:pt x="260" y="194"/>
                  </a:cubicBezTo>
                  <a:cubicBezTo>
                    <a:pt x="260" y="194"/>
                    <a:pt x="260" y="195"/>
                    <a:pt x="260" y="195"/>
                  </a:cubicBezTo>
                  <a:cubicBezTo>
                    <a:pt x="260" y="195"/>
                    <a:pt x="259" y="195"/>
                    <a:pt x="259" y="195"/>
                  </a:cubicBezTo>
                  <a:cubicBezTo>
                    <a:pt x="259" y="195"/>
                    <a:pt x="259" y="195"/>
                    <a:pt x="259" y="195"/>
                  </a:cubicBezTo>
                  <a:cubicBezTo>
                    <a:pt x="259" y="195"/>
                    <a:pt x="258" y="195"/>
                    <a:pt x="258" y="195"/>
                  </a:cubicBezTo>
                  <a:cubicBezTo>
                    <a:pt x="258" y="195"/>
                    <a:pt x="258" y="195"/>
                    <a:pt x="258" y="195"/>
                  </a:cubicBezTo>
                  <a:cubicBezTo>
                    <a:pt x="258" y="195"/>
                    <a:pt x="257" y="195"/>
                    <a:pt x="257" y="195"/>
                  </a:cubicBezTo>
                  <a:cubicBezTo>
                    <a:pt x="257" y="195"/>
                    <a:pt x="257" y="196"/>
                    <a:pt x="257" y="196"/>
                  </a:cubicBezTo>
                  <a:cubicBezTo>
                    <a:pt x="256" y="196"/>
                    <a:pt x="256" y="196"/>
                    <a:pt x="255" y="196"/>
                  </a:cubicBezTo>
                  <a:cubicBezTo>
                    <a:pt x="255" y="196"/>
                    <a:pt x="255" y="196"/>
                    <a:pt x="255" y="196"/>
                  </a:cubicBezTo>
                  <a:cubicBezTo>
                    <a:pt x="255" y="196"/>
                    <a:pt x="254" y="196"/>
                    <a:pt x="254" y="196"/>
                  </a:cubicBezTo>
                  <a:cubicBezTo>
                    <a:pt x="254" y="197"/>
                    <a:pt x="253" y="197"/>
                    <a:pt x="253" y="197"/>
                  </a:cubicBezTo>
                  <a:cubicBezTo>
                    <a:pt x="253" y="198"/>
                    <a:pt x="252" y="198"/>
                    <a:pt x="251" y="198"/>
                  </a:cubicBezTo>
                  <a:cubicBezTo>
                    <a:pt x="251" y="199"/>
                    <a:pt x="251" y="200"/>
                    <a:pt x="251" y="201"/>
                  </a:cubicBezTo>
                  <a:cubicBezTo>
                    <a:pt x="250" y="201"/>
                    <a:pt x="250" y="201"/>
                    <a:pt x="250" y="201"/>
                  </a:cubicBezTo>
                  <a:cubicBezTo>
                    <a:pt x="250" y="203"/>
                    <a:pt x="250" y="206"/>
                    <a:pt x="251" y="208"/>
                  </a:cubicBezTo>
                  <a:cubicBezTo>
                    <a:pt x="251" y="209"/>
                    <a:pt x="251" y="209"/>
                    <a:pt x="251" y="210"/>
                  </a:cubicBezTo>
                  <a:cubicBezTo>
                    <a:pt x="252" y="213"/>
                    <a:pt x="253" y="215"/>
                    <a:pt x="254" y="218"/>
                  </a:cubicBezTo>
                  <a:cubicBezTo>
                    <a:pt x="254" y="218"/>
                    <a:pt x="254" y="218"/>
                    <a:pt x="255" y="218"/>
                  </a:cubicBezTo>
                  <a:cubicBezTo>
                    <a:pt x="255" y="218"/>
                    <a:pt x="255" y="217"/>
                    <a:pt x="255" y="218"/>
                  </a:cubicBezTo>
                  <a:cubicBezTo>
                    <a:pt x="255" y="218"/>
                    <a:pt x="255" y="218"/>
                    <a:pt x="255" y="218"/>
                  </a:cubicBezTo>
                  <a:cubicBezTo>
                    <a:pt x="257" y="220"/>
                    <a:pt x="257" y="227"/>
                    <a:pt x="257" y="230"/>
                  </a:cubicBezTo>
                  <a:cubicBezTo>
                    <a:pt x="257" y="231"/>
                    <a:pt x="257" y="233"/>
                    <a:pt x="257" y="234"/>
                  </a:cubicBezTo>
                  <a:cubicBezTo>
                    <a:pt x="256" y="234"/>
                    <a:pt x="256" y="234"/>
                    <a:pt x="256" y="234"/>
                  </a:cubicBezTo>
                  <a:cubicBezTo>
                    <a:pt x="256" y="235"/>
                    <a:pt x="256" y="235"/>
                    <a:pt x="255" y="236"/>
                  </a:cubicBezTo>
                  <a:cubicBezTo>
                    <a:pt x="255" y="236"/>
                    <a:pt x="255" y="236"/>
                    <a:pt x="255" y="236"/>
                  </a:cubicBezTo>
                  <a:cubicBezTo>
                    <a:pt x="255" y="237"/>
                    <a:pt x="255" y="237"/>
                    <a:pt x="255" y="237"/>
                  </a:cubicBezTo>
                  <a:cubicBezTo>
                    <a:pt x="255" y="237"/>
                    <a:pt x="254" y="237"/>
                    <a:pt x="254" y="237"/>
                  </a:cubicBezTo>
                  <a:cubicBezTo>
                    <a:pt x="254" y="238"/>
                    <a:pt x="254" y="238"/>
                    <a:pt x="254" y="239"/>
                  </a:cubicBezTo>
                  <a:cubicBezTo>
                    <a:pt x="254" y="239"/>
                    <a:pt x="253" y="239"/>
                    <a:pt x="253" y="239"/>
                  </a:cubicBezTo>
                  <a:cubicBezTo>
                    <a:pt x="253" y="239"/>
                    <a:pt x="253" y="240"/>
                    <a:pt x="253" y="241"/>
                  </a:cubicBezTo>
                  <a:cubicBezTo>
                    <a:pt x="253" y="241"/>
                    <a:pt x="253" y="241"/>
                    <a:pt x="253" y="241"/>
                  </a:cubicBezTo>
                  <a:cubicBezTo>
                    <a:pt x="253" y="243"/>
                    <a:pt x="253" y="245"/>
                    <a:pt x="254" y="246"/>
                  </a:cubicBezTo>
                  <a:cubicBezTo>
                    <a:pt x="254" y="246"/>
                    <a:pt x="254" y="246"/>
                    <a:pt x="254" y="246"/>
                  </a:cubicBezTo>
                  <a:cubicBezTo>
                    <a:pt x="254" y="246"/>
                    <a:pt x="254" y="246"/>
                    <a:pt x="254" y="246"/>
                  </a:cubicBezTo>
                  <a:cubicBezTo>
                    <a:pt x="254" y="247"/>
                    <a:pt x="255" y="247"/>
                    <a:pt x="255" y="247"/>
                  </a:cubicBezTo>
                  <a:cubicBezTo>
                    <a:pt x="255" y="248"/>
                    <a:pt x="255" y="248"/>
                    <a:pt x="255" y="249"/>
                  </a:cubicBezTo>
                  <a:cubicBezTo>
                    <a:pt x="256" y="249"/>
                    <a:pt x="256" y="249"/>
                    <a:pt x="256" y="249"/>
                  </a:cubicBezTo>
                  <a:cubicBezTo>
                    <a:pt x="256" y="249"/>
                    <a:pt x="256" y="249"/>
                    <a:pt x="256" y="249"/>
                  </a:cubicBezTo>
                  <a:cubicBezTo>
                    <a:pt x="256" y="249"/>
                    <a:pt x="256" y="249"/>
                    <a:pt x="256" y="249"/>
                  </a:cubicBezTo>
                  <a:cubicBezTo>
                    <a:pt x="257" y="252"/>
                    <a:pt x="254" y="256"/>
                    <a:pt x="253" y="257"/>
                  </a:cubicBezTo>
                  <a:cubicBezTo>
                    <a:pt x="253" y="257"/>
                    <a:pt x="253" y="257"/>
                    <a:pt x="253" y="258"/>
                  </a:cubicBezTo>
                  <a:cubicBezTo>
                    <a:pt x="253" y="258"/>
                    <a:pt x="253" y="258"/>
                    <a:pt x="253" y="258"/>
                  </a:cubicBezTo>
                  <a:cubicBezTo>
                    <a:pt x="253" y="258"/>
                    <a:pt x="253" y="258"/>
                    <a:pt x="253" y="258"/>
                  </a:cubicBezTo>
                  <a:cubicBezTo>
                    <a:pt x="253" y="258"/>
                    <a:pt x="253" y="258"/>
                    <a:pt x="253" y="258"/>
                  </a:cubicBezTo>
                  <a:cubicBezTo>
                    <a:pt x="252" y="259"/>
                    <a:pt x="252" y="260"/>
                    <a:pt x="252" y="260"/>
                  </a:cubicBezTo>
                  <a:cubicBezTo>
                    <a:pt x="252" y="260"/>
                    <a:pt x="252" y="260"/>
                    <a:pt x="252" y="260"/>
                  </a:cubicBezTo>
                  <a:cubicBezTo>
                    <a:pt x="252" y="261"/>
                    <a:pt x="252" y="261"/>
                    <a:pt x="252" y="262"/>
                  </a:cubicBezTo>
                  <a:cubicBezTo>
                    <a:pt x="251" y="262"/>
                    <a:pt x="251" y="262"/>
                    <a:pt x="251" y="262"/>
                  </a:cubicBezTo>
                  <a:cubicBezTo>
                    <a:pt x="251" y="262"/>
                    <a:pt x="251" y="263"/>
                    <a:pt x="251" y="263"/>
                  </a:cubicBezTo>
                  <a:cubicBezTo>
                    <a:pt x="251" y="263"/>
                    <a:pt x="251" y="263"/>
                    <a:pt x="251" y="263"/>
                  </a:cubicBezTo>
                  <a:cubicBezTo>
                    <a:pt x="251" y="263"/>
                    <a:pt x="251" y="263"/>
                    <a:pt x="251" y="264"/>
                  </a:cubicBezTo>
                  <a:cubicBezTo>
                    <a:pt x="251" y="264"/>
                    <a:pt x="251" y="264"/>
                    <a:pt x="251" y="264"/>
                  </a:cubicBezTo>
                  <a:cubicBezTo>
                    <a:pt x="251" y="264"/>
                    <a:pt x="251" y="264"/>
                    <a:pt x="251" y="264"/>
                  </a:cubicBezTo>
                  <a:cubicBezTo>
                    <a:pt x="250" y="264"/>
                    <a:pt x="250" y="264"/>
                    <a:pt x="250" y="264"/>
                  </a:cubicBezTo>
                  <a:cubicBezTo>
                    <a:pt x="250" y="265"/>
                    <a:pt x="250" y="265"/>
                    <a:pt x="250" y="265"/>
                  </a:cubicBezTo>
                  <a:cubicBezTo>
                    <a:pt x="250" y="265"/>
                    <a:pt x="250" y="265"/>
                    <a:pt x="250" y="265"/>
                  </a:cubicBezTo>
                  <a:cubicBezTo>
                    <a:pt x="250" y="265"/>
                    <a:pt x="250" y="265"/>
                    <a:pt x="250" y="266"/>
                  </a:cubicBezTo>
                  <a:cubicBezTo>
                    <a:pt x="250" y="266"/>
                    <a:pt x="250" y="266"/>
                    <a:pt x="250" y="266"/>
                  </a:cubicBezTo>
                  <a:cubicBezTo>
                    <a:pt x="250" y="266"/>
                    <a:pt x="250" y="266"/>
                    <a:pt x="250" y="266"/>
                  </a:cubicBezTo>
                  <a:cubicBezTo>
                    <a:pt x="249" y="266"/>
                    <a:pt x="249" y="266"/>
                    <a:pt x="249" y="266"/>
                  </a:cubicBezTo>
                  <a:cubicBezTo>
                    <a:pt x="249" y="267"/>
                    <a:pt x="249" y="267"/>
                    <a:pt x="249" y="267"/>
                  </a:cubicBezTo>
                  <a:cubicBezTo>
                    <a:pt x="249" y="267"/>
                    <a:pt x="248" y="268"/>
                    <a:pt x="248" y="268"/>
                  </a:cubicBezTo>
                  <a:cubicBezTo>
                    <a:pt x="248" y="268"/>
                    <a:pt x="248" y="269"/>
                    <a:pt x="247" y="269"/>
                  </a:cubicBezTo>
                  <a:cubicBezTo>
                    <a:pt x="247" y="269"/>
                    <a:pt x="246" y="269"/>
                    <a:pt x="245" y="269"/>
                  </a:cubicBezTo>
                  <a:cubicBezTo>
                    <a:pt x="245" y="269"/>
                    <a:pt x="245" y="269"/>
                    <a:pt x="245" y="270"/>
                  </a:cubicBezTo>
                  <a:cubicBezTo>
                    <a:pt x="244" y="270"/>
                    <a:pt x="244" y="270"/>
                    <a:pt x="243" y="270"/>
                  </a:cubicBezTo>
                  <a:cubicBezTo>
                    <a:pt x="243" y="270"/>
                    <a:pt x="243" y="271"/>
                    <a:pt x="243" y="271"/>
                  </a:cubicBezTo>
                  <a:cubicBezTo>
                    <a:pt x="243" y="271"/>
                    <a:pt x="243" y="271"/>
                    <a:pt x="243" y="271"/>
                  </a:cubicBezTo>
                  <a:cubicBezTo>
                    <a:pt x="243" y="272"/>
                    <a:pt x="243" y="273"/>
                    <a:pt x="243" y="274"/>
                  </a:cubicBezTo>
                  <a:cubicBezTo>
                    <a:pt x="242" y="274"/>
                    <a:pt x="242" y="274"/>
                    <a:pt x="242" y="274"/>
                  </a:cubicBezTo>
                  <a:cubicBezTo>
                    <a:pt x="242" y="275"/>
                    <a:pt x="242" y="275"/>
                    <a:pt x="242" y="276"/>
                  </a:cubicBezTo>
                  <a:cubicBezTo>
                    <a:pt x="242" y="276"/>
                    <a:pt x="242" y="276"/>
                    <a:pt x="242" y="276"/>
                  </a:cubicBezTo>
                  <a:cubicBezTo>
                    <a:pt x="242" y="277"/>
                    <a:pt x="242" y="276"/>
                    <a:pt x="242" y="277"/>
                  </a:cubicBezTo>
                  <a:cubicBezTo>
                    <a:pt x="242" y="277"/>
                    <a:pt x="242" y="277"/>
                    <a:pt x="243" y="278"/>
                  </a:cubicBezTo>
                  <a:cubicBezTo>
                    <a:pt x="243" y="278"/>
                    <a:pt x="243" y="278"/>
                    <a:pt x="243" y="278"/>
                  </a:cubicBezTo>
                  <a:cubicBezTo>
                    <a:pt x="243" y="278"/>
                    <a:pt x="243" y="278"/>
                    <a:pt x="243" y="279"/>
                  </a:cubicBezTo>
                  <a:cubicBezTo>
                    <a:pt x="243" y="279"/>
                    <a:pt x="244" y="279"/>
                    <a:pt x="244" y="279"/>
                  </a:cubicBezTo>
                  <a:cubicBezTo>
                    <a:pt x="244" y="279"/>
                    <a:pt x="244" y="279"/>
                    <a:pt x="244" y="280"/>
                  </a:cubicBezTo>
                  <a:cubicBezTo>
                    <a:pt x="244" y="280"/>
                    <a:pt x="245" y="280"/>
                    <a:pt x="245" y="281"/>
                  </a:cubicBezTo>
                  <a:cubicBezTo>
                    <a:pt x="245" y="281"/>
                    <a:pt x="245" y="281"/>
                    <a:pt x="245" y="281"/>
                  </a:cubicBezTo>
                  <a:cubicBezTo>
                    <a:pt x="246" y="282"/>
                    <a:pt x="246" y="282"/>
                    <a:pt x="247" y="282"/>
                  </a:cubicBezTo>
                  <a:cubicBezTo>
                    <a:pt x="247" y="283"/>
                    <a:pt x="247" y="283"/>
                    <a:pt x="247" y="283"/>
                  </a:cubicBezTo>
                  <a:cubicBezTo>
                    <a:pt x="247" y="284"/>
                    <a:pt x="248" y="284"/>
                    <a:pt x="248" y="284"/>
                  </a:cubicBezTo>
                  <a:cubicBezTo>
                    <a:pt x="249" y="285"/>
                    <a:pt x="249" y="287"/>
                    <a:pt x="250" y="289"/>
                  </a:cubicBezTo>
                  <a:cubicBezTo>
                    <a:pt x="249" y="289"/>
                    <a:pt x="248" y="291"/>
                    <a:pt x="248" y="292"/>
                  </a:cubicBezTo>
                  <a:cubicBezTo>
                    <a:pt x="248" y="293"/>
                    <a:pt x="248" y="293"/>
                    <a:pt x="248" y="293"/>
                  </a:cubicBezTo>
                  <a:cubicBezTo>
                    <a:pt x="248" y="293"/>
                    <a:pt x="248" y="293"/>
                    <a:pt x="248" y="293"/>
                  </a:cubicBezTo>
                  <a:cubicBezTo>
                    <a:pt x="248" y="294"/>
                    <a:pt x="248" y="295"/>
                    <a:pt x="248" y="295"/>
                  </a:cubicBezTo>
                  <a:cubicBezTo>
                    <a:pt x="248" y="295"/>
                    <a:pt x="248" y="295"/>
                    <a:pt x="247" y="295"/>
                  </a:cubicBezTo>
                  <a:cubicBezTo>
                    <a:pt x="247" y="296"/>
                    <a:pt x="247" y="297"/>
                    <a:pt x="247" y="298"/>
                  </a:cubicBezTo>
                  <a:cubicBezTo>
                    <a:pt x="247" y="298"/>
                    <a:pt x="247" y="298"/>
                    <a:pt x="246" y="298"/>
                  </a:cubicBezTo>
                  <a:cubicBezTo>
                    <a:pt x="246" y="298"/>
                    <a:pt x="246" y="299"/>
                    <a:pt x="246" y="299"/>
                  </a:cubicBezTo>
                  <a:cubicBezTo>
                    <a:pt x="245" y="299"/>
                    <a:pt x="244" y="299"/>
                    <a:pt x="243" y="299"/>
                  </a:cubicBezTo>
                  <a:cubicBezTo>
                    <a:pt x="243" y="299"/>
                    <a:pt x="243" y="299"/>
                    <a:pt x="243" y="299"/>
                  </a:cubicBezTo>
                  <a:cubicBezTo>
                    <a:pt x="242" y="299"/>
                    <a:pt x="242" y="299"/>
                    <a:pt x="241" y="299"/>
                  </a:cubicBezTo>
                  <a:cubicBezTo>
                    <a:pt x="241" y="300"/>
                    <a:pt x="241" y="300"/>
                    <a:pt x="240" y="300"/>
                  </a:cubicBezTo>
                  <a:cubicBezTo>
                    <a:pt x="240" y="300"/>
                    <a:pt x="240" y="300"/>
                    <a:pt x="240" y="300"/>
                  </a:cubicBezTo>
                  <a:cubicBezTo>
                    <a:pt x="240" y="301"/>
                    <a:pt x="240" y="302"/>
                    <a:pt x="239" y="303"/>
                  </a:cubicBezTo>
                  <a:cubicBezTo>
                    <a:pt x="239" y="303"/>
                    <a:pt x="239" y="303"/>
                    <a:pt x="239" y="303"/>
                  </a:cubicBezTo>
                  <a:cubicBezTo>
                    <a:pt x="239" y="304"/>
                    <a:pt x="239" y="304"/>
                    <a:pt x="239" y="305"/>
                  </a:cubicBezTo>
                  <a:cubicBezTo>
                    <a:pt x="239" y="305"/>
                    <a:pt x="239" y="305"/>
                    <a:pt x="239" y="305"/>
                  </a:cubicBezTo>
                  <a:cubicBezTo>
                    <a:pt x="239" y="305"/>
                    <a:pt x="239" y="306"/>
                    <a:pt x="239" y="307"/>
                  </a:cubicBezTo>
                  <a:cubicBezTo>
                    <a:pt x="239" y="307"/>
                    <a:pt x="238" y="307"/>
                    <a:pt x="238" y="307"/>
                  </a:cubicBezTo>
                  <a:cubicBezTo>
                    <a:pt x="238" y="307"/>
                    <a:pt x="238" y="308"/>
                    <a:pt x="238" y="309"/>
                  </a:cubicBezTo>
                  <a:cubicBezTo>
                    <a:pt x="238" y="309"/>
                    <a:pt x="238" y="309"/>
                    <a:pt x="238" y="309"/>
                  </a:cubicBezTo>
                  <a:cubicBezTo>
                    <a:pt x="237" y="311"/>
                    <a:pt x="238" y="311"/>
                    <a:pt x="236" y="313"/>
                  </a:cubicBezTo>
                  <a:cubicBezTo>
                    <a:pt x="236" y="313"/>
                    <a:pt x="236" y="313"/>
                    <a:pt x="236" y="313"/>
                  </a:cubicBezTo>
                  <a:cubicBezTo>
                    <a:pt x="236" y="313"/>
                    <a:pt x="235" y="313"/>
                    <a:pt x="235" y="313"/>
                  </a:cubicBezTo>
                  <a:cubicBezTo>
                    <a:pt x="235" y="313"/>
                    <a:pt x="235" y="313"/>
                    <a:pt x="235" y="313"/>
                  </a:cubicBezTo>
                  <a:cubicBezTo>
                    <a:pt x="234" y="313"/>
                    <a:pt x="233" y="313"/>
                    <a:pt x="233" y="313"/>
                  </a:cubicBezTo>
                  <a:cubicBezTo>
                    <a:pt x="232" y="313"/>
                    <a:pt x="232" y="314"/>
                    <a:pt x="231" y="315"/>
                  </a:cubicBezTo>
                  <a:cubicBezTo>
                    <a:pt x="231" y="315"/>
                    <a:pt x="231" y="315"/>
                    <a:pt x="231" y="315"/>
                  </a:cubicBezTo>
                  <a:cubicBezTo>
                    <a:pt x="231" y="316"/>
                    <a:pt x="231" y="316"/>
                    <a:pt x="230" y="316"/>
                  </a:cubicBezTo>
                  <a:cubicBezTo>
                    <a:pt x="230" y="316"/>
                    <a:pt x="230" y="316"/>
                    <a:pt x="230" y="317"/>
                  </a:cubicBezTo>
                  <a:cubicBezTo>
                    <a:pt x="230" y="317"/>
                    <a:pt x="230" y="317"/>
                    <a:pt x="230" y="317"/>
                  </a:cubicBezTo>
                  <a:cubicBezTo>
                    <a:pt x="230" y="317"/>
                    <a:pt x="230" y="318"/>
                    <a:pt x="230" y="318"/>
                  </a:cubicBezTo>
                  <a:cubicBezTo>
                    <a:pt x="229" y="318"/>
                    <a:pt x="228" y="319"/>
                    <a:pt x="228" y="319"/>
                  </a:cubicBezTo>
                  <a:cubicBezTo>
                    <a:pt x="228" y="319"/>
                    <a:pt x="228" y="320"/>
                    <a:pt x="228" y="320"/>
                  </a:cubicBezTo>
                  <a:cubicBezTo>
                    <a:pt x="227" y="320"/>
                    <a:pt x="227" y="321"/>
                    <a:pt x="226" y="321"/>
                  </a:cubicBezTo>
                  <a:cubicBezTo>
                    <a:pt x="226" y="321"/>
                    <a:pt x="226" y="321"/>
                    <a:pt x="226" y="322"/>
                  </a:cubicBezTo>
                  <a:cubicBezTo>
                    <a:pt x="226" y="322"/>
                    <a:pt x="226" y="322"/>
                    <a:pt x="225" y="322"/>
                  </a:cubicBezTo>
                  <a:cubicBezTo>
                    <a:pt x="225" y="323"/>
                    <a:pt x="225" y="323"/>
                    <a:pt x="225" y="323"/>
                  </a:cubicBezTo>
                  <a:cubicBezTo>
                    <a:pt x="225" y="323"/>
                    <a:pt x="225" y="323"/>
                    <a:pt x="224" y="324"/>
                  </a:cubicBezTo>
                  <a:cubicBezTo>
                    <a:pt x="224" y="324"/>
                    <a:pt x="224" y="324"/>
                    <a:pt x="224" y="324"/>
                  </a:cubicBezTo>
                  <a:cubicBezTo>
                    <a:pt x="224" y="325"/>
                    <a:pt x="224" y="325"/>
                    <a:pt x="224" y="325"/>
                  </a:cubicBezTo>
                  <a:cubicBezTo>
                    <a:pt x="224" y="325"/>
                    <a:pt x="223" y="326"/>
                    <a:pt x="223" y="326"/>
                  </a:cubicBezTo>
                  <a:cubicBezTo>
                    <a:pt x="223" y="326"/>
                    <a:pt x="223" y="326"/>
                    <a:pt x="223" y="326"/>
                  </a:cubicBezTo>
                  <a:cubicBezTo>
                    <a:pt x="223" y="327"/>
                    <a:pt x="223" y="327"/>
                    <a:pt x="223" y="328"/>
                  </a:cubicBezTo>
                  <a:cubicBezTo>
                    <a:pt x="222" y="328"/>
                    <a:pt x="222" y="328"/>
                    <a:pt x="222" y="328"/>
                  </a:cubicBezTo>
                  <a:cubicBezTo>
                    <a:pt x="222" y="328"/>
                    <a:pt x="222" y="329"/>
                    <a:pt x="222" y="329"/>
                  </a:cubicBezTo>
                  <a:cubicBezTo>
                    <a:pt x="221" y="332"/>
                    <a:pt x="223" y="336"/>
                    <a:pt x="222" y="339"/>
                  </a:cubicBezTo>
                  <a:cubicBezTo>
                    <a:pt x="222" y="339"/>
                    <a:pt x="222" y="339"/>
                    <a:pt x="222" y="339"/>
                  </a:cubicBezTo>
                  <a:cubicBezTo>
                    <a:pt x="221" y="339"/>
                    <a:pt x="221" y="339"/>
                    <a:pt x="221" y="339"/>
                  </a:cubicBezTo>
                  <a:cubicBezTo>
                    <a:pt x="221" y="340"/>
                    <a:pt x="220" y="341"/>
                    <a:pt x="220" y="341"/>
                  </a:cubicBezTo>
                  <a:cubicBezTo>
                    <a:pt x="220" y="341"/>
                    <a:pt x="219" y="341"/>
                    <a:pt x="219" y="341"/>
                  </a:cubicBezTo>
                  <a:cubicBezTo>
                    <a:pt x="219" y="341"/>
                    <a:pt x="219" y="342"/>
                    <a:pt x="219" y="342"/>
                  </a:cubicBezTo>
                  <a:cubicBezTo>
                    <a:pt x="218" y="342"/>
                    <a:pt x="218" y="342"/>
                    <a:pt x="218" y="342"/>
                  </a:cubicBezTo>
                  <a:cubicBezTo>
                    <a:pt x="218" y="342"/>
                    <a:pt x="218" y="343"/>
                    <a:pt x="218" y="343"/>
                  </a:cubicBezTo>
                  <a:cubicBezTo>
                    <a:pt x="217" y="343"/>
                    <a:pt x="217" y="343"/>
                    <a:pt x="217" y="343"/>
                  </a:cubicBezTo>
                  <a:cubicBezTo>
                    <a:pt x="217" y="344"/>
                    <a:pt x="217" y="344"/>
                    <a:pt x="217" y="344"/>
                  </a:cubicBezTo>
                  <a:cubicBezTo>
                    <a:pt x="217" y="344"/>
                    <a:pt x="216" y="345"/>
                    <a:pt x="216" y="345"/>
                  </a:cubicBezTo>
                  <a:cubicBezTo>
                    <a:pt x="216" y="345"/>
                    <a:pt x="216" y="345"/>
                    <a:pt x="216" y="345"/>
                  </a:cubicBezTo>
                  <a:cubicBezTo>
                    <a:pt x="215" y="345"/>
                    <a:pt x="215" y="345"/>
                    <a:pt x="215" y="345"/>
                  </a:cubicBezTo>
                  <a:cubicBezTo>
                    <a:pt x="215" y="346"/>
                    <a:pt x="215" y="346"/>
                    <a:pt x="215" y="346"/>
                  </a:cubicBezTo>
                  <a:cubicBezTo>
                    <a:pt x="215" y="346"/>
                    <a:pt x="214" y="346"/>
                    <a:pt x="214" y="346"/>
                  </a:cubicBezTo>
                  <a:cubicBezTo>
                    <a:pt x="214" y="346"/>
                    <a:pt x="214" y="346"/>
                    <a:pt x="214" y="346"/>
                  </a:cubicBezTo>
                  <a:cubicBezTo>
                    <a:pt x="213" y="347"/>
                    <a:pt x="213" y="346"/>
                    <a:pt x="213" y="348"/>
                  </a:cubicBezTo>
                  <a:cubicBezTo>
                    <a:pt x="211" y="349"/>
                    <a:pt x="213" y="358"/>
                    <a:pt x="212" y="361"/>
                  </a:cubicBezTo>
                  <a:cubicBezTo>
                    <a:pt x="211" y="363"/>
                    <a:pt x="212" y="364"/>
                    <a:pt x="211" y="365"/>
                  </a:cubicBezTo>
                  <a:cubicBezTo>
                    <a:pt x="211" y="365"/>
                    <a:pt x="211" y="366"/>
                    <a:pt x="211" y="366"/>
                  </a:cubicBezTo>
                  <a:cubicBezTo>
                    <a:pt x="210" y="366"/>
                    <a:pt x="209" y="366"/>
                    <a:pt x="208" y="366"/>
                  </a:cubicBezTo>
                  <a:cubicBezTo>
                    <a:pt x="208" y="366"/>
                    <a:pt x="208" y="366"/>
                    <a:pt x="207" y="366"/>
                  </a:cubicBezTo>
                  <a:cubicBezTo>
                    <a:pt x="207" y="366"/>
                    <a:pt x="207" y="367"/>
                    <a:pt x="206" y="367"/>
                  </a:cubicBezTo>
                  <a:cubicBezTo>
                    <a:pt x="206" y="367"/>
                    <a:pt x="206" y="367"/>
                    <a:pt x="206" y="367"/>
                  </a:cubicBezTo>
                  <a:cubicBezTo>
                    <a:pt x="206" y="368"/>
                    <a:pt x="206" y="368"/>
                    <a:pt x="205" y="369"/>
                  </a:cubicBezTo>
                  <a:cubicBezTo>
                    <a:pt x="205" y="369"/>
                    <a:pt x="205" y="369"/>
                    <a:pt x="205" y="369"/>
                  </a:cubicBezTo>
                  <a:cubicBezTo>
                    <a:pt x="205" y="370"/>
                    <a:pt x="204" y="371"/>
                    <a:pt x="204" y="372"/>
                  </a:cubicBezTo>
                  <a:cubicBezTo>
                    <a:pt x="204" y="372"/>
                    <a:pt x="204" y="372"/>
                    <a:pt x="204" y="372"/>
                  </a:cubicBezTo>
                  <a:cubicBezTo>
                    <a:pt x="203" y="373"/>
                    <a:pt x="203" y="374"/>
                    <a:pt x="203" y="374"/>
                  </a:cubicBezTo>
                  <a:cubicBezTo>
                    <a:pt x="203" y="374"/>
                    <a:pt x="203" y="374"/>
                    <a:pt x="203" y="374"/>
                  </a:cubicBezTo>
                  <a:cubicBezTo>
                    <a:pt x="203" y="375"/>
                    <a:pt x="203" y="375"/>
                    <a:pt x="203" y="375"/>
                  </a:cubicBezTo>
                  <a:cubicBezTo>
                    <a:pt x="203" y="375"/>
                    <a:pt x="202" y="375"/>
                    <a:pt x="202" y="375"/>
                  </a:cubicBezTo>
                  <a:cubicBezTo>
                    <a:pt x="202" y="377"/>
                    <a:pt x="202" y="378"/>
                    <a:pt x="200" y="378"/>
                  </a:cubicBezTo>
                  <a:cubicBezTo>
                    <a:pt x="199" y="380"/>
                    <a:pt x="192" y="381"/>
                    <a:pt x="190" y="380"/>
                  </a:cubicBezTo>
                  <a:cubicBezTo>
                    <a:pt x="188" y="380"/>
                    <a:pt x="187" y="380"/>
                    <a:pt x="185" y="380"/>
                  </a:cubicBezTo>
                  <a:cubicBezTo>
                    <a:pt x="185" y="379"/>
                    <a:pt x="185" y="379"/>
                    <a:pt x="185" y="379"/>
                  </a:cubicBezTo>
                  <a:cubicBezTo>
                    <a:pt x="185" y="379"/>
                    <a:pt x="184" y="379"/>
                    <a:pt x="184" y="379"/>
                  </a:cubicBezTo>
                  <a:cubicBezTo>
                    <a:pt x="184" y="378"/>
                    <a:pt x="183" y="378"/>
                    <a:pt x="183" y="377"/>
                  </a:cubicBezTo>
                  <a:cubicBezTo>
                    <a:pt x="182" y="377"/>
                    <a:pt x="181" y="377"/>
                    <a:pt x="180" y="377"/>
                  </a:cubicBezTo>
                  <a:cubicBezTo>
                    <a:pt x="180" y="377"/>
                    <a:pt x="180" y="377"/>
                    <a:pt x="180" y="378"/>
                  </a:cubicBezTo>
                  <a:cubicBezTo>
                    <a:pt x="178" y="377"/>
                    <a:pt x="176" y="377"/>
                    <a:pt x="174" y="377"/>
                  </a:cubicBezTo>
                  <a:cubicBezTo>
                    <a:pt x="174" y="377"/>
                    <a:pt x="174" y="377"/>
                    <a:pt x="174" y="377"/>
                  </a:cubicBezTo>
                  <a:cubicBezTo>
                    <a:pt x="174" y="377"/>
                    <a:pt x="173" y="377"/>
                    <a:pt x="173" y="377"/>
                  </a:cubicBezTo>
                  <a:cubicBezTo>
                    <a:pt x="173" y="377"/>
                    <a:pt x="173" y="377"/>
                    <a:pt x="173" y="377"/>
                  </a:cubicBezTo>
                  <a:cubicBezTo>
                    <a:pt x="173" y="377"/>
                    <a:pt x="172" y="377"/>
                    <a:pt x="172" y="377"/>
                  </a:cubicBezTo>
                  <a:cubicBezTo>
                    <a:pt x="172" y="376"/>
                    <a:pt x="172" y="376"/>
                    <a:pt x="172" y="376"/>
                  </a:cubicBezTo>
                  <a:cubicBezTo>
                    <a:pt x="172" y="376"/>
                    <a:pt x="172" y="376"/>
                    <a:pt x="171" y="376"/>
                  </a:cubicBezTo>
                  <a:cubicBezTo>
                    <a:pt x="171" y="376"/>
                    <a:pt x="171" y="375"/>
                    <a:pt x="170" y="375"/>
                  </a:cubicBezTo>
                  <a:cubicBezTo>
                    <a:pt x="170" y="375"/>
                    <a:pt x="170" y="375"/>
                    <a:pt x="170" y="375"/>
                  </a:cubicBezTo>
                  <a:cubicBezTo>
                    <a:pt x="169" y="375"/>
                    <a:pt x="169" y="374"/>
                    <a:pt x="168" y="373"/>
                  </a:cubicBezTo>
                  <a:cubicBezTo>
                    <a:pt x="168" y="373"/>
                    <a:pt x="167" y="373"/>
                    <a:pt x="166" y="373"/>
                  </a:cubicBezTo>
                  <a:cubicBezTo>
                    <a:pt x="166" y="373"/>
                    <a:pt x="166" y="373"/>
                    <a:pt x="166" y="373"/>
                  </a:cubicBezTo>
                  <a:cubicBezTo>
                    <a:pt x="165" y="372"/>
                    <a:pt x="163" y="373"/>
                    <a:pt x="163" y="373"/>
                  </a:cubicBezTo>
                  <a:cubicBezTo>
                    <a:pt x="162" y="373"/>
                    <a:pt x="161" y="373"/>
                    <a:pt x="160" y="373"/>
                  </a:cubicBezTo>
                  <a:cubicBezTo>
                    <a:pt x="158" y="373"/>
                    <a:pt x="157" y="373"/>
                    <a:pt x="155" y="373"/>
                  </a:cubicBezTo>
                  <a:cubicBezTo>
                    <a:pt x="155" y="373"/>
                    <a:pt x="155" y="372"/>
                    <a:pt x="155" y="372"/>
                  </a:cubicBezTo>
                  <a:cubicBezTo>
                    <a:pt x="155" y="372"/>
                    <a:pt x="155" y="372"/>
                    <a:pt x="155" y="372"/>
                  </a:cubicBezTo>
                  <a:cubicBezTo>
                    <a:pt x="154" y="371"/>
                    <a:pt x="154" y="371"/>
                    <a:pt x="152" y="371"/>
                  </a:cubicBezTo>
                  <a:cubicBezTo>
                    <a:pt x="151" y="370"/>
                    <a:pt x="149" y="371"/>
                    <a:pt x="147" y="370"/>
                  </a:cubicBezTo>
                  <a:cubicBezTo>
                    <a:pt x="147" y="370"/>
                    <a:pt x="147" y="370"/>
                    <a:pt x="147" y="370"/>
                  </a:cubicBezTo>
                  <a:cubicBezTo>
                    <a:pt x="147" y="370"/>
                    <a:pt x="147" y="370"/>
                    <a:pt x="146" y="370"/>
                  </a:cubicBezTo>
                  <a:cubicBezTo>
                    <a:pt x="146" y="370"/>
                    <a:pt x="146" y="370"/>
                    <a:pt x="146" y="370"/>
                  </a:cubicBezTo>
                  <a:cubicBezTo>
                    <a:pt x="146" y="369"/>
                    <a:pt x="145" y="369"/>
                    <a:pt x="145" y="369"/>
                  </a:cubicBezTo>
                  <a:cubicBezTo>
                    <a:pt x="144" y="369"/>
                    <a:pt x="144" y="369"/>
                    <a:pt x="144" y="368"/>
                  </a:cubicBezTo>
                  <a:cubicBezTo>
                    <a:pt x="144" y="368"/>
                    <a:pt x="143" y="368"/>
                    <a:pt x="143" y="368"/>
                  </a:cubicBezTo>
                  <a:cubicBezTo>
                    <a:pt x="143" y="368"/>
                    <a:pt x="143" y="368"/>
                    <a:pt x="142" y="367"/>
                  </a:cubicBezTo>
                  <a:cubicBezTo>
                    <a:pt x="142" y="367"/>
                    <a:pt x="142" y="367"/>
                    <a:pt x="142" y="367"/>
                  </a:cubicBezTo>
                  <a:cubicBezTo>
                    <a:pt x="141" y="367"/>
                    <a:pt x="140" y="366"/>
                    <a:pt x="139" y="365"/>
                  </a:cubicBezTo>
                  <a:cubicBezTo>
                    <a:pt x="138" y="364"/>
                    <a:pt x="137" y="363"/>
                    <a:pt x="137" y="362"/>
                  </a:cubicBezTo>
                  <a:cubicBezTo>
                    <a:pt x="137" y="362"/>
                    <a:pt x="137" y="362"/>
                    <a:pt x="137" y="361"/>
                  </a:cubicBezTo>
                  <a:cubicBezTo>
                    <a:pt x="136" y="361"/>
                    <a:pt x="136" y="361"/>
                    <a:pt x="135" y="361"/>
                  </a:cubicBezTo>
                  <a:cubicBezTo>
                    <a:pt x="135" y="361"/>
                    <a:pt x="135" y="360"/>
                    <a:pt x="135" y="360"/>
                  </a:cubicBezTo>
                  <a:cubicBezTo>
                    <a:pt x="135" y="360"/>
                    <a:pt x="135" y="360"/>
                    <a:pt x="135" y="360"/>
                  </a:cubicBezTo>
                  <a:cubicBezTo>
                    <a:pt x="135" y="359"/>
                    <a:pt x="135" y="359"/>
                    <a:pt x="134" y="359"/>
                  </a:cubicBezTo>
                  <a:cubicBezTo>
                    <a:pt x="134" y="359"/>
                    <a:pt x="134" y="359"/>
                    <a:pt x="134" y="359"/>
                  </a:cubicBezTo>
                  <a:cubicBezTo>
                    <a:pt x="134" y="358"/>
                    <a:pt x="134" y="358"/>
                    <a:pt x="134" y="358"/>
                  </a:cubicBezTo>
                  <a:cubicBezTo>
                    <a:pt x="134" y="358"/>
                    <a:pt x="134" y="358"/>
                    <a:pt x="133" y="358"/>
                  </a:cubicBezTo>
                  <a:cubicBezTo>
                    <a:pt x="133" y="357"/>
                    <a:pt x="133" y="357"/>
                    <a:pt x="133" y="357"/>
                  </a:cubicBezTo>
                  <a:cubicBezTo>
                    <a:pt x="133" y="357"/>
                    <a:pt x="133" y="357"/>
                    <a:pt x="133" y="357"/>
                  </a:cubicBezTo>
                  <a:cubicBezTo>
                    <a:pt x="133" y="356"/>
                    <a:pt x="133" y="356"/>
                    <a:pt x="133" y="356"/>
                  </a:cubicBezTo>
                  <a:cubicBezTo>
                    <a:pt x="133" y="356"/>
                    <a:pt x="132" y="356"/>
                    <a:pt x="132" y="356"/>
                  </a:cubicBezTo>
                  <a:cubicBezTo>
                    <a:pt x="132" y="355"/>
                    <a:pt x="132" y="355"/>
                    <a:pt x="132" y="354"/>
                  </a:cubicBezTo>
                  <a:cubicBezTo>
                    <a:pt x="132" y="352"/>
                    <a:pt x="132" y="349"/>
                    <a:pt x="133" y="347"/>
                  </a:cubicBezTo>
                  <a:cubicBezTo>
                    <a:pt x="133" y="346"/>
                    <a:pt x="133" y="346"/>
                    <a:pt x="133" y="346"/>
                  </a:cubicBezTo>
                  <a:cubicBezTo>
                    <a:pt x="133" y="346"/>
                    <a:pt x="133" y="346"/>
                    <a:pt x="133" y="346"/>
                  </a:cubicBezTo>
                  <a:cubicBezTo>
                    <a:pt x="133" y="346"/>
                    <a:pt x="133" y="345"/>
                    <a:pt x="133" y="345"/>
                  </a:cubicBezTo>
                  <a:cubicBezTo>
                    <a:pt x="134" y="345"/>
                    <a:pt x="134" y="345"/>
                    <a:pt x="134" y="345"/>
                  </a:cubicBezTo>
                  <a:cubicBezTo>
                    <a:pt x="134" y="345"/>
                    <a:pt x="134" y="344"/>
                    <a:pt x="134" y="344"/>
                  </a:cubicBezTo>
                  <a:cubicBezTo>
                    <a:pt x="134" y="344"/>
                    <a:pt x="134" y="344"/>
                    <a:pt x="134" y="344"/>
                  </a:cubicBezTo>
                  <a:cubicBezTo>
                    <a:pt x="134" y="344"/>
                    <a:pt x="134" y="344"/>
                    <a:pt x="134" y="343"/>
                  </a:cubicBezTo>
                  <a:cubicBezTo>
                    <a:pt x="134" y="343"/>
                    <a:pt x="134" y="343"/>
                    <a:pt x="134" y="343"/>
                  </a:cubicBezTo>
                  <a:cubicBezTo>
                    <a:pt x="134" y="343"/>
                    <a:pt x="134" y="343"/>
                    <a:pt x="134" y="343"/>
                  </a:cubicBezTo>
                  <a:cubicBezTo>
                    <a:pt x="135" y="343"/>
                    <a:pt x="135" y="343"/>
                    <a:pt x="135" y="343"/>
                  </a:cubicBezTo>
                  <a:cubicBezTo>
                    <a:pt x="135" y="342"/>
                    <a:pt x="135" y="342"/>
                    <a:pt x="135" y="342"/>
                  </a:cubicBezTo>
                  <a:cubicBezTo>
                    <a:pt x="135" y="342"/>
                    <a:pt x="135" y="342"/>
                    <a:pt x="135" y="342"/>
                  </a:cubicBezTo>
                  <a:cubicBezTo>
                    <a:pt x="135" y="342"/>
                    <a:pt x="135" y="341"/>
                    <a:pt x="135" y="341"/>
                  </a:cubicBezTo>
                  <a:cubicBezTo>
                    <a:pt x="135" y="341"/>
                    <a:pt x="135" y="341"/>
                    <a:pt x="135" y="341"/>
                  </a:cubicBezTo>
                  <a:cubicBezTo>
                    <a:pt x="135" y="341"/>
                    <a:pt x="135" y="341"/>
                    <a:pt x="135" y="341"/>
                  </a:cubicBezTo>
                  <a:cubicBezTo>
                    <a:pt x="136" y="340"/>
                    <a:pt x="136" y="340"/>
                    <a:pt x="136" y="340"/>
                  </a:cubicBezTo>
                  <a:cubicBezTo>
                    <a:pt x="136" y="340"/>
                    <a:pt x="136" y="340"/>
                    <a:pt x="136" y="339"/>
                  </a:cubicBezTo>
                  <a:cubicBezTo>
                    <a:pt x="137" y="339"/>
                    <a:pt x="137" y="339"/>
                    <a:pt x="137" y="339"/>
                  </a:cubicBezTo>
                  <a:cubicBezTo>
                    <a:pt x="137" y="339"/>
                    <a:pt x="137" y="338"/>
                    <a:pt x="137" y="338"/>
                  </a:cubicBezTo>
                  <a:cubicBezTo>
                    <a:pt x="138" y="338"/>
                    <a:pt x="138" y="337"/>
                    <a:pt x="139" y="337"/>
                  </a:cubicBezTo>
                  <a:cubicBezTo>
                    <a:pt x="139" y="337"/>
                    <a:pt x="139" y="336"/>
                    <a:pt x="139" y="336"/>
                  </a:cubicBezTo>
                  <a:cubicBezTo>
                    <a:pt x="140" y="336"/>
                    <a:pt x="140" y="336"/>
                    <a:pt x="140" y="336"/>
                  </a:cubicBezTo>
                  <a:cubicBezTo>
                    <a:pt x="140" y="336"/>
                    <a:pt x="140" y="336"/>
                    <a:pt x="140" y="336"/>
                  </a:cubicBezTo>
                  <a:cubicBezTo>
                    <a:pt x="141" y="335"/>
                    <a:pt x="141" y="335"/>
                    <a:pt x="142" y="335"/>
                  </a:cubicBezTo>
                  <a:cubicBezTo>
                    <a:pt x="142" y="335"/>
                    <a:pt x="142" y="335"/>
                    <a:pt x="142" y="335"/>
                  </a:cubicBezTo>
                  <a:cubicBezTo>
                    <a:pt x="142" y="335"/>
                    <a:pt x="143" y="335"/>
                    <a:pt x="143" y="335"/>
                  </a:cubicBezTo>
                  <a:cubicBezTo>
                    <a:pt x="143" y="334"/>
                    <a:pt x="143" y="334"/>
                    <a:pt x="143" y="334"/>
                  </a:cubicBezTo>
                  <a:cubicBezTo>
                    <a:pt x="144" y="334"/>
                    <a:pt x="144" y="334"/>
                    <a:pt x="145" y="334"/>
                  </a:cubicBezTo>
                  <a:cubicBezTo>
                    <a:pt x="145" y="334"/>
                    <a:pt x="145" y="334"/>
                    <a:pt x="145" y="334"/>
                  </a:cubicBezTo>
                  <a:cubicBezTo>
                    <a:pt x="145" y="334"/>
                    <a:pt x="146" y="334"/>
                    <a:pt x="146" y="334"/>
                  </a:cubicBezTo>
                  <a:cubicBezTo>
                    <a:pt x="146" y="333"/>
                    <a:pt x="146" y="333"/>
                    <a:pt x="146" y="332"/>
                  </a:cubicBezTo>
                  <a:cubicBezTo>
                    <a:pt x="146" y="332"/>
                    <a:pt x="146" y="332"/>
                    <a:pt x="147" y="332"/>
                  </a:cubicBezTo>
                  <a:cubicBezTo>
                    <a:pt x="147" y="331"/>
                    <a:pt x="152" y="330"/>
                    <a:pt x="154" y="331"/>
                  </a:cubicBezTo>
                  <a:cubicBezTo>
                    <a:pt x="154" y="331"/>
                    <a:pt x="154" y="331"/>
                    <a:pt x="154" y="331"/>
                  </a:cubicBezTo>
                  <a:cubicBezTo>
                    <a:pt x="154" y="331"/>
                    <a:pt x="154" y="331"/>
                    <a:pt x="154" y="331"/>
                  </a:cubicBezTo>
                  <a:cubicBezTo>
                    <a:pt x="154" y="331"/>
                    <a:pt x="154" y="331"/>
                    <a:pt x="154" y="331"/>
                  </a:cubicBezTo>
                  <a:cubicBezTo>
                    <a:pt x="155" y="332"/>
                    <a:pt x="155" y="332"/>
                    <a:pt x="156" y="332"/>
                  </a:cubicBezTo>
                  <a:cubicBezTo>
                    <a:pt x="156" y="332"/>
                    <a:pt x="156" y="332"/>
                    <a:pt x="156" y="332"/>
                  </a:cubicBezTo>
                  <a:cubicBezTo>
                    <a:pt x="156" y="332"/>
                    <a:pt x="157" y="332"/>
                    <a:pt x="157" y="332"/>
                  </a:cubicBezTo>
                  <a:cubicBezTo>
                    <a:pt x="157" y="333"/>
                    <a:pt x="157" y="333"/>
                    <a:pt x="157" y="333"/>
                  </a:cubicBezTo>
                  <a:cubicBezTo>
                    <a:pt x="158" y="334"/>
                    <a:pt x="159" y="334"/>
                    <a:pt x="159" y="335"/>
                  </a:cubicBezTo>
                  <a:cubicBezTo>
                    <a:pt x="160" y="336"/>
                    <a:pt x="160" y="337"/>
                    <a:pt x="162" y="337"/>
                  </a:cubicBezTo>
                  <a:cubicBezTo>
                    <a:pt x="162" y="336"/>
                    <a:pt x="162" y="336"/>
                    <a:pt x="162" y="335"/>
                  </a:cubicBezTo>
                  <a:cubicBezTo>
                    <a:pt x="162" y="335"/>
                    <a:pt x="162" y="335"/>
                    <a:pt x="162" y="335"/>
                  </a:cubicBezTo>
                  <a:cubicBezTo>
                    <a:pt x="162" y="334"/>
                    <a:pt x="162" y="332"/>
                    <a:pt x="162" y="331"/>
                  </a:cubicBezTo>
                  <a:cubicBezTo>
                    <a:pt x="163" y="331"/>
                    <a:pt x="163" y="331"/>
                    <a:pt x="163" y="331"/>
                  </a:cubicBezTo>
                  <a:cubicBezTo>
                    <a:pt x="163" y="330"/>
                    <a:pt x="163" y="330"/>
                    <a:pt x="163" y="329"/>
                  </a:cubicBezTo>
                  <a:cubicBezTo>
                    <a:pt x="163" y="329"/>
                    <a:pt x="163" y="329"/>
                    <a:pt x="163" y="329"/>
                  </a:cubicBezTo>
                  <a:cubicBezTo>
                    <a:pt x="163" y="329"/>
                    <a:pt x="163" y="329"/>
                    <a:pt x="163" y="329"/>
                  </a:cubicBezTo>
                  <a:cubicBezTo>
                    <a:pt x="163" y="329"/>
                    <a:pt x="163" y="329"/>
                    <a:pt x="163" y="329"/>
                  </a:cubicBezTo>
                  <a:cubicBezTo>
                    <a:pt x="163" y="328"/>
                    <a:pt x="163" y="328"/>
                    <a:pt x="163" y="328"/>
                  </a:cubicBezTo>
                  <a:cubicBezTo>
                    <a:pt x="164" y="327"/>
                    <a:pt x="164" y="327"/>
                    <a:pt x="165" y="327"/>
                  </a:cubicBezTo>
                  <a:cubicBezTo>
                    <a:pt x="165" y="327"/>
                    <a:pt x="165" y="326"/>
                    <a:pt x="165" y="326"/>
                  </a:cubicBezTo>
                  <a:cubicBezTo>
                    <a:pt x="165" y="326"/>
                    <a:pt x="166" y="325"/>
                    <a:pt x="167" y="324"/>
                  </a:cubicBezTo>
                  <a:cubicBezTo>
                    <a:pt x="168" y="324"/>
                    <a:pt x="170" y="324"/>
                    <a:pt x="171" y="324"/>
                  </a:cubicBezTo>
                  <a:cubicBezTo>
                    <a:pt x="171" y="324"/>
                    <a:pt x="171" y="323"/>
                    <a:pt x="172" y="323"/>
                  </a:cubicBezTo>
                  <a:cubicBezTo>
                    <a:pt x="172" y="322"/>
                    <a:pt x="172" y="322"/>
                    <a:pt x="172" y="321"/>
                  </a:cubicBezTo>
                  <a:cubicBezTo>
                    <a:pt x="172" y="321"/>
                    <a:pt x="172" y="321"/>
                    <a:pt x="173" y="321"/>
                  </a:cubicBezTo>
                  <a:cubicBezTo>
                    <a:pt x="173" y="320"/>
                    <a:pt x="173" y="320"/>
                    <a:pt x="173" y="320"/>
                  </a:cubicBezTo>
                  <a:cubicBezTo>
                    <a:pt x="172" y="320"/>
                    <a:pt x="172" y="320"/>
                    <a:pt x="172" y="320"/>
                  </a:cubicBezTo>
                  <a:cubicBezTo>
                    <a:pt x="172" y="319"/>
                    <a:pt x="172" y="318"/>
                    <a:pt x="172" y="317"/>
                  </a:cubicBezTo>
                  <a:cubicBezTo>
                    <a:pt x="172" y="317"/>
                    <a:pt x="172" y="317"/>
                    <a:pt x="172" y="317"/>
                  </a:cubicBezTo>
                  <a:cubicBezTo>
                    <a:pt x="172" y="316"/>
                    <a:pt x="172" y="316"/>
                    <a:pt x="172" y="315"/>
                  </a:cubicBezTo>
                  <a:cubicBezTo>
                    <a:pt x="172" y="315"/>
                    <a:pt x="172" y="315"/>
                    <a:pt x="172" y="315"/>
                  </a:cubicBezTo>
                  <a:cubicBezTo>
                    <a:pt x="172" y="315"/>
                    <a:pt x="172" y="315"/>
                    <a:pt x="172" y="314"/>
                  </a:cubicBezTo>
                  <a:cubicBezTo>
                    <a:pt x="171" y="314"/>
                    <a:pt x="171" y="314"/>
                    <a:pt x="171" y="314"/>
                  </a:cubicBezTo>
                  <a:cubicBezTo>
                    <a:pt x="171" y="313"/>
                    <a:pt x="171" y="312"/>
                    <a:pt x="171" y="311"/>
                  </a:cubicBezTo>
                  <a:cubicBezTo>
                    <a:pt x="171" y="311"/>
                    <a:pt x="171" y="311"/>
                    <a:pt x="171" y="311"/>
                  </a:cubicBezTo>
                  <a:cubicBezTo>
                    <a:pt x="171" y="311"/>
                    <a:pt x="171" y="310"/>
                    <a:pt x="170" y="309"/>
                  </a:cubicBezTo>
                  <a:cubicBezTo>
                    <a:pt x="170" y="309"/>
                    <a:pt x="170" y="309"/>
                    <a:pt x="169" y="309"/>
                  </a:cubicBezTo>
                  <a:cubicBezTo>
                    <a:pt x="169" y="309"/>
                    <a:pt x="169" y="308"/>
                    <a:pt x="169" y="308"/>
                  </a:cubicBezTo>
                  <a:cubicBezTo>
                    <a:pt x="168" y="308"/>
                    <a:pt x="168" y="309"/>
                    <a:pt x="167" y="307"/>
                  </a:cubicBezTo>
                  <a:cubicBezTo>
                    <a:pt x="167" y="307"/>
                    <a:pt x="167" y="307"/>
                    <a:pt x="167" y="307"/>
                  </a:cubicBezTo>
                  <a:cubicBezTo>
                    <a:pt x="167" y="306"/>
                    <a:pt x="167" y="306"/>
                    <a:pt x="167" y="306"/>
                  </a:cubicBezTo>
                  <a:cubicBezTo>
                    <a:pt x="167" y="306"/>
                    <a:pt x="167" y="306"/>
                    <a:pt x="167" y="306"/>
                  </a:cubicBezTo>
                  <a:cubicBezTo>
                    <a:pt x="166" y="304"/>
                    <a:pt x="166" y="303"/>
                    <a:pt x="166" y="301"/>
                  </a:cubicBezTo>
                  <a:cubicBezTo>
                    <a:pt x="167" y="301"/>
                    <a:pt x="167" y="300"/>
                    <a:pt x="167" y="299"/>
                  </a:cubicBezTo>
                  <a:cubicBezTo>
                    <a:pt x="168" y="299"/>
                    <a:pt x="168" y="299"/>
                    <a:pt x="168" y="299"/>
                  </a:cubicBezTo>
                  <a:cubicBezTo>
                    <a:pt x="168" y="299"/>
                    <a:pt x="168" y="298"/>
                    <a:pt x="168" y="298"/>
                  </a:cubicBezTo>
                  <a:cubicBezTo>
                    <a:pt x="168" y="298"/>
                    <a:pt x="168" y="298"/>
                    <a:pt x="169" y="298"/>
                  </a:cubicBezTo>
                  <a:cubicBezTo>
                    <a:pt x="169" y="297"/>
                    <a:pt x="169" y="297"/>
                    <a:pt x="169" y="296"/>
                  </a:cubicBezTo>
                  <a:cubicBezTo>
                    <a:pt x="168" y="296"/>
                    <a:pt x="168" y="296"/>
                    <a:pt x="168" y="296"/>
                  </a:cubicBezTo>
                  <a:cubicBezTo>
                    <a:pt x="168" y="296"/>
                    <a:pt x="168" y="296"/>
                    <a:pt x="167" y="296"/>
                  </a:cubicBezTo>
                  <a:cubicBezTo>
                    <a:pt x="167" y="295"/>
                    <a:pt x="167" y="295"/>
                    <a:pt x="167" y="295"/>
                  </a:cubicBezTo>
                  <a:cubicBezTo>
                    <a:pt x="166" y="295"/>
                    <a:pt x="166" y="295"/>
                    <a:pt x="166" y="295"/>
                  </a:cubicBezTo>
                  <a:cubicBezTo>
                    <a:pt x="166" y="294"/>
                    <a:pt x="165" y="294"/>
                    <a:pt x="165" y="293"/>
                  </a:cubicBezTo>
                  <a:cubicBezTo>
                    <a:pt x="165" y="293"/>
                    <a:pt x="164" y="293"/>
                    <a:pt x="164" y="293"/>
                  </a:cubicBezTo>
                  <a:cubicBezTo>
                    <a:pt x="164" y="293"/>
                    <a:pt x="163" y="292"/>
                    <a:pt x="163" y="292"/>
                  </a:cubicBezTo>
                  <a:cubicBezTo>
                    <a:pt x="163" y="292"/>
                    <a:pt x="162" y="292"/>
                    <a:pt x="162" y="292"/>
                  </a:cubicBezTo>
                  <a:cubicBezTo>
                    <a:pt x="161" y="290"/>
                    <a:pt x="160" y="289"/>
                    <a:pt x="159" y="288"/>
                  </a:cubicBezTo>
                  <a:cubicBezTo>
                    <a:pt x="158" y="287"/>
                    <a:pt x="157" y="287"/>
                    <a:pt x="156" y="286"/>
                  </a:cubicBezTo>
                  <a:cubicBezTo>
                    <a:pt x="156" y="286"/>
                    <a:pt x="156" y="285"/>
                    <a:pt x="156" y="285"/>
                  </a:cubicBezTo>
                  <a:cubicBezTo>
                    <a:pt x="156" y="285"/>
                    <a:pt x="155" y="284"/>
                    <a:pt x="155" y="284"/>
                  </a:cubicBezTo>
                  <a:cubicBezTo>
                    <a:pt x="154" y="283"/>
                    <a:pt x="153" y="282"/>
                    <a:pt x="152" y="281"/>
                  </a:cubicBezTo>
                  <a:cubicBezTo>
                    <a:pt x="152" y="281"/>
                    <a:pt x="151" y="281"/>
                    <a:pt x="151" y="281"/>
                  </a:cubicBezTo>
                  <a:cubicBezTo>
                    <a:pt x="151" y="280"/>
                    <a:pt x="150" y="280"/>
                    <a:pt x="150" y="279"/>
                  </a:cubicBezTo>
                  <a:cubicBezTo>
                    <a:pt x="150" y="279"/>
                    <a:pt x="149" y="279"/>
                    <a:pt x="149" y="279"/>
                  </a:cubicBezTo>
                  <a:cubicBezTo>
                    <a:pt x="149" y="279"/>
                    <a:pt x="149" y="278"/>
                    <a:pt x="148" y="278"/>
                  </a:cubicBezTo>
                  <a:cubicBezTo>
                    <a:pt x="148" y="278"/>
                    <a:pt x="148" y="278"/>
                    <a:pt x="147" y="278"/>
                  </a:cubicBezTo>
                  <a:cubicBezTo>
                    <a:pt x="147" y="277"/>
                    <a:pt x="147" y="277"/>
                    <a:pt x="147" y="277"/>
                  </a:cubicBezTo>
                  <a:cubicBezTo>
                    <a:pt x="146" y="277"/>
                    <a:pt x="146" y="277"/>
                    <a:pt x="146" y="277"/>
                  </a:cubicBezTo>
                  <a:cubicBezTo>
                    <a:pt x="146" y="277"/>
                    <a:pt x="146" y="277"/>
                    <a:pt x="146" y="277"/>
                  </a:cubicBezTo>
                  <a:cubicBezTo>
                    <a:pt x="146" y="277"/>
                    <a:pt x="146" y="277"/>
                    <a:pt x="145" y="277"/>
                  </a:cubicBezTo>
                  <a:cubicBezTo>
                    <a:pt x="145" y="276"/>
                    <a:pt x="145" y="276"/>
                    <a:pt x="145" y="276"/>
                  </a:cubicBezTo>
                  <a:cubicBezTo>
                    <a:pt x="145" y="276"/>
                    <a:pt x="145" y="276"/>
                    <a:pt x="145" y="276"/>
                  </a:cubicBezTo>
                  <a:cubicBezTo>
                    <a:pt x="145" y="276"/>
                    <a:pt x="145" y="276"/>
                    <a:pt x="145" y="276"/>
                  </a:cubicBezTo>
                  <a:cubicBezTo>
                    <a:pt x="144" y="276"/>
                    <a:pt x="143" y="275"/>
                    <a:pt x="142" y="275"/>
                  </a:cubicBezTo>
                  <a:cubicBezTo>
                    <a:pt x="142" y="275"/>
                    <a:pt x="142" y="275"/>
                    <a:pt x="142" y="275"/>
                  </a:cubicBezTo>
                  <a:cubicBezTo>
                    <a:pt x="141" y="274"/>
                    <a:pt x="140" y="274"/>
                    <a:pt x="139" y="274"/>
                  </a:cubicBezTo>
                  <a:cubicBezTo>
                    <a:pt x="139" y="273"/>
                    <a:pt x="139" y="273"/>
                    <a:pt x="139" y="273"/>
                  </a:cubicBezTo>
                  <a:cubicBezTo>
                    <a:pt x="139" y="273"/>
                    <a:pt x="138" y="273"/>
                    <a:pt x="138" y="273"/>
                  </a:cubicBezTo>
                  <a:cubicBezTo>
                    <a:pt x="137" y="272"/>
                    <a:pt x="137" y="272"/>
                    <a:pt x="137" y="272"/>
                  </a:cubicBezTo>
                  <a:cubicBezTo>
                    <a:pt x="137" y="272"/>
                    <a:pt x="136" y="272"/>
                    <a:pt x="136" y="272"/>
                  </a:cubicBezTo>
                  <a:cubicBezTo>
                    <a:pt x="136" y="271"/>
                    <a:pt x="136" y="271"/>
                    <a:pt x="135" y="271"/>
                  </a:cubicBezTo>
                  <a:cubicBezTo>
                    <a:pt x="135" y="271"/>
                    <a:pt x="135" y="271"/>
                    <a:pt x="135" y="271"/>
                  </a:cubicBezTo>
                  <a:cubicBezTo>
                    <a:pt x="135" y="270"/>
                    <a:pt x="135" y="270"/>
                    <a:pt x="134" y="270"/>
                  </a:cubicBezTo>
                  <a:cubicBezTo>
                    <a:pt x="134" y="270"/>
                    <a:pt x="134" y="270"/>
                    <a:pt x="133" y="270"/>
                  </a:cubicBezTo>
                  <a:cubicBezTo>
                    <a:pt x="133" y="269"/>
                    <a:pt x="133" y="269"/>
                    <a:pt x="133" y="269"/>
                  </a:cubicBezTo>
                  <a:cubicBezTo>
                    <a:pt x="133" y="269"/>
                    <a:pt x="133" y="269"/>
                    <a:pt x="132" y="268"/>
                  </a:cubicBezTo>
                  <a:cubicBezTo>
                    <a:pt x="132" y="267"/>
                    <a:pt x="131" y="267"/>
                    <a:pt x="131" y="266"/>
                  </a:cubicBezTo>
                  <a:cubicBezTo>
                    <a:pt x="130" y="266"/>
                    <a:pt x="130" y="265"/>
                    <a:pt x="130" y="265"/>
                  </a:cubicBezTo>
                  <a:cubicBezTo>
                    <a:pt x="130" y="265"/>
                    <a:pt x="130" y="265"/>
                    <a:pt x="130" y="265"/>
                  </a:cubicBezTo>
                  <a:cubicBezTo>
                    <a:pt x="130" y="264"/>
                    <a:pt x="130" y="264"/>
                    <a:pt x="130" y="264"/>
                  </a:cubicBezTo>
                  <a:cubicBezTo>
                    <a:pt x="130" y="264"/>
                    <a:pt x="130" y="264"/>
                    <a:pt x="130" y="264"/>
                  </a:cubicBezTo>
                  <a:cubicBezTo>
                    <a:pt x="130" y="264"/>
                    <a:pt x="130" y="263"/>
                    <a:pt x="130" y="263"/>
                  </a:cubicBezTo>
                  <a:cubicBezTo>
                    <a:pt x="129" y="263"/>
                    <a:pt x="129" y="263"/>
                    <a:pt x="129" y="263"/>
                  </a:cubicBezTo>
                  <a:cubicBezTo>
                    <a:pt x="129" y="263"/>
                    <a:pt x="129" y="263"/>
                    <a:pt x="129" y="262"/>
                  </a:cubicBezTo>
                  <a:cubicBezTo>
                    <a:pt x="129" y="262"/>
                    <a:pt x="129" y="262"/>
                    <a:pt x="129" y="262"/>
                  </a:cubicBezTo>
                  <a:cubicBezTo>
                    <a:pt x="129" y="262"/>
                    <a:pt x="129" y="261"/>
                    <a:pt x="129" y="261"/>
                  </a:cubicBezTo>
                  <a:cubicBezTo>
                    <a:pt x="129" y="261"/>
                    <a:pt x="129" y="261"/>
                    <a:pt x="128" y="261"/>
                  </a:cubicBezTo>
                  <a:cubicBezTo>
                    <a:pt x="128" y="261"/>
                    <a:pt x="128" y="260"/>
                    <a:pt x="128" y="260"/>
                  </a:cubicBezTo>
                  <a:cubicBezTo>
                    <a:pt x="128" y="260"/>
                    <a:pt x="128" y="260"/>
                    <a:pt x="128" y="260"/>
                  </a:cubicBezTo>
                  <a:cubicBezTo>
                    <a:pt x="128" y="260"/>
                    <a:pt x="128" y="259"/>
                    <a:pt x="128" y="259"/>
                  </a:cubicBezTo>
                  <a:cubicBezTo>
                    <a:pt x="128" y="259"/>
                    <a:pt x="128" y="259"/>
                    <a:pt x="128" y="259"/>
                  </a:cubicBezTo>
                  <a:cubicBezTo>
                    <a:pt x="128" y="259"/>
                    <a:pt x="128" y="258"/>
                    <a:pt x="128" y="258"/>
                  </a:cubicBezTo>
                  <a:cubicBezTo>
                    <a:pt x="128" y="258"/>
                    <a:pt x="128" y="258"/>
                    <a:pt x="127" y="258"/>
                  </a:cubicBezTo>
                  <a:cubicBezTo>
                    <a:pt x="127" y="257"/>
                    <a:pt x="127" y="256"/>
                    <a:pt x="127" y="256"/>
                  </a:cubicBezTo>
                  <a:cubicBezTo>
                    <a:pt x="127" y="256"/>
                    <a:pt x="127" y="256"/>
                    <a:pt x="127" y="256"/>
                  </a:cubicBezTo>
                  <a:cubicBezTo>
                    <a:pt x="127" y="255"/>
                    <a:pt x="127" y="254"/>
                    <a:pt x="127" y="253"/>
                  </a:cubicBezTo>
                  <a:cubicBezTo>
                    <a:pt x="127" y="253"/>
                    <a:pt x="127" y="253"/>
                    <a:pt x="127" y="253"/>
                  </a:cubicBezTo>
                  <a:cubicBezTo>
                    <a:pt x="127" y="252"/>
                    <a:pt x="127" y="251"/>
                    <a:pt x="127" y="250"/>
                  </a:cubicBezTo>
                  <a:cubicBezTo>
                    <a:pt x="127" y="250"/>
                    <a:pt x="127" y="250"/>
                    <a:pt x="126" y="250"/>
                  </a:cubicBezTo>
                  <a:cubicBezTo>
                    <a:pt x="126" y="249"/>
                    <a:pt x="126" y="249"/>
                    <a:pt x="126" y="249"/>
                  </a:cubicBezTo>
                  <a:cubicBezTo>
                    <a:pt x="126" y="249"/>
                    <a:pt x="126" y="249"/>
                    <a:pt x="126" y="249"/>
                  </a:cubicBezTo>
                  <a:cubicBezTo>
                    <a:pt x="126" y="248"/>
                    <a:pt x="126" y="248"/>
                    <a:pt x="126" y="247"/>
                  </a:cubicBezTo>
                  <a:cubicBezTo>
                    <a:pt x="126" y="247"/>
                    <a:pt x="126" y="247"/>
                    <a:pt x="126" y="247"/>
                  </a:cubicBezTo>
                  <a:cubicBezTo>
                    <a:pt x="126" y="246"/>
                    <a:pt x="126" y="245"/>
                    <a:pt x="126" y="243"/>
                  </a:cubicBezTo>
                  <a:cubicBezTo>
                    <a:pt x="126" y="243"/>
                    <a:pt x="125" y="243"/>
                    <a:pt x="125" y="243"/>
                  </a:cubicBezTo>
                  <a:cubicBezTo>
                    <a:pt x="125" y="243"/>
                    <a:pt x="125" y="242"/>
                    <a:pt x="125" y="242"/>
                  </a:cubicBezTo>
                  <a:cubicBezTo>
                    <a:pt x="124" y="241"/>
                    <a:pt x="124" y="241"/>
                    <a:pt x="123" y="241"/>
                  </a:cubicBezTo>
                  <a:cubicBezTo>
                    <a:pt x="123" y="241"/>
                    <a:pt x="123" y="241"/>
                    <a:pt x="123" y="240"/>
                  </a:cubicBezTo>
                  <a:cubicBezTo>
                    <a:pt x="122" y="240"/>
                    <a:pt x="122" y="240"/>
                    <a:pt x="122" y="240"/>
                  </a:cubicBezTo>
                  <a:cubicBezTo>
                    <a:pt x="122" y="240"/>
                    <a:pt x="122" y="240"/>
                    <a:pt x="122" y="240"/>
                  </a:cubicBezTo>
                  <a:cubicBezTo>
                    <a:pt x="121" y="239"/>
                    <a:pt x="120" y="238"/>
                    <a:pt x="120" y="238"/>
                  </a:cubicBezTo>
                  <a:cubicBezTo>
                    <a:pt x="118" y="238"/>
                    <a:pt x="117" y="238"/>
                    <a:pt x="116" y="238"/>
                  </a:cubicBezTo>
                  <a:cubicBezTo>
                    <a:pt x="116" y="238"/>
                    <a:pt x="116" y="238"/>
                    <a:pt x="116" y="238"/>
                  </a:cubicBezTo>
                  <a:cubicBezTo>
                    <a:pt x="115" y="238"/>
                    <a:pt x="115" y="237"/>
                    <a:pt x="114" y="237"/>
                  </a:cubicBezTo>
                  <a:cubicBezTo>
                    <a:pt x="113" y="236"/>
                    <a:pt x="112" y="236"/>
                    <a:pt x="112" y="235"/>
                  </a:cubicBezTo>
                  <a:cubicBezTo>
                    <a:pt x="111" y="235"/>
                    <a:pt x="111" y="234"/>
                    <a:pt x="110" y="234"/>
                  </a:cubicBezTo>
                  <a:cubicBezTo>
                    <a:pt x="110" y="234"/>
                    <a:pt x="110" y="234"/>
                    <a:pt x="110" y="233"/>
                  </a:cubicBezTo>
                  <a:cubicBezTo>
                    <a:pt x="110" y="233"/>
                    <a:pt x="110" y="233"/>
                    <a:pt x="110" y="233"/>
                  </a:cubicBezTo>
                  <a:cubicBezTo>
                    <a:pt x="109" y="233"/>
                    <a:pt x="109" y="233"/>
                    <a:pt x="109" y="233"/>
                  </a:cubicBezTo>
                  <a:cubicBezTo>
                    <a:pt x="109" y="233"/>
                    <a:pt x="108" y="233"/>
                    <a:pt x="108" y="232"/>
                  </a:cubicBezTo>
                  <a:cubicBezTo>
                    <a:pt x="108" y="232"/>
                    <a:pt x="108" y="232"/>
                    <a:pt x="108" y="232"/>
                  </a:cubicBezTo>
                  <a:cubicBezTo>
                    <a:pt x="107" y="232"/>
                    <a:pt x="107" y="232"/>
                    <a:pt x="106" y="231"/>
                  </a:cubicBezTo>
                  <a:cubicBezTo>
                    <a:pt x="106" y="231"/>
                    <a:pt x="106" y="231"/>
                    <a:pt x="106" y="231"/>
                  </a:cubicBezTo>
                  <a:cubicBezTo>
                    <a:pt x="106" y="231"/>
                    <a:pt x="105" y="231"/>
                    <a:pt x="105" y="231"/>
                  </a:cubicBezTo>
                  <a:cubicBezTo>
                    <a:pt x="105" y="230"/>
                    <a:pt x="105" y="230"/>
                    <a:pt x="105" y="230"/>
                  </a:cubicBezTo>
                  <a:cubicBezTo>
                    <a:pt x="104" y="230"/>
                    <a:pt x="104" y="230"/>
                    <a:pt x="104" y="230"/>
                  </a:cubicBezTo>
                  <a:cubicBezTo>
                    <a:pt x="104" y="230"/>
                    <a:pt x="104" y="229"/>
                    <a:pt x="103" y="229"/>
                  </a:cubicBezTo>
                  <a:cubicBezTo>
                    <a:pt x="103" y="228"/>
                    <a:pt x="102" y="228"/>
                    <a:pt x="101" y="227"/>
                  </a:cubicBezTo>
                  <a:cubicBezTo>
                    <a:pt x="101" y="227"/>
                    <a:pt x="101" y="226"/>
                    <a:pt x="101" y="226"/>
                  </a:cubicBezTo>
                  <a:cubicBezTo>
                    <a:pt x="101" y="226"/>
                    <a:pt x="101" y="226"/>
                    <a:pt x="101" y="226"/>
                  </a:cubicBezTo>
                  <a:cubicBezTo>
                    <a:pt x="100" y="226"/>
                    <a:pt x="100" y="225"/>
                    <a:pt x="100" y="225"/>
                  </a:cubicBezTo>
                  <a:cubicBezTo>
                    <a:pt x="100" y="225"/>
                    <a:pt x="100" y="224"/>
                    <a:pt x="100" y="224"/>
                  </a:cubicBezTo>
                  <a:cubicBezTo>
                    <a:pt x="100" y="224"/>
                    <a:pt x="100" y="224"/>
                    <a:pt x="99" y="224"/>
                  </a:cubicBezTo>
                  <a:cubicBezTo>
                    <a:pt x="100" y="222"/>
                    <a:pt x="100" y="221"/>
                    <a:pt x="101" y="220"/>
                  </a:cubicBezTo>
                  <a:cubicBezTo>
                    <a:pt x="101" y="220"/>
                    <a:pt x="101" y="220"/>
                    <a:pt x="101" y="220"/>
                  </a:cubicBezTo>
                  <a:cubicBezTo>
                    <a:pt x="101" y="219"/>
                    <a:pt x="101" y="219"/>
                    <a:pt x="101" y="219"/>
                  </a:cubicBezTo>
                  <a:cubicBezTo>
                    <a:pt x="101" y="219"/>
                    <a:pt x="101" y="219"/>
                    <a:pt x="102" y="218"/>
                  </a:cubicBezTo>
                  <a:cubicBezTo>
                    <a:pt x="102" y="218"/>
                    <a:pt x="102" y="218"/>
                    <a:pt x="102" y="218"/>
                  </a:cubicBezTo>
                  <a:cubicBezTo>
                    <a:pt x="102" y="217"/>
                    <a:pt x="103" y="217"/>
                    <a:pt x="104" y="216"/>
                  </a:cubicBezTo>
                  <a:cubicBezTo>
                    <a:pt x="104" y="215"/>
                    <a:pt x="106" y="212"/>
                    <a:pt x="106" y="210"/>
                  </a:cubicBezTo>
                  <a:cubicBezTo>
                    <a:pt x="106" y="210"/>
                    <a:pt x="106" y="210"/>
                    <a:pt x="105" y="210"/>
                  </a:cubicBezTo>
                  <a:cubicBezTo>
                    <a:pt x="105" y="209"/>
                    <a:pt x="105" y="209"/>
                    <a:pt x="105" y="208"/>
                  </a:cubicBezTo>
                  <a:cubicBezTo>
                    <a:pt x="105" y="208"/>
                    <a:pt x="105" y="208"/>
                    <a:pt x="105" y="208"/>
                  </a:cubicBezTo>
                  <a:cubicBezTo>
                    <a:pt x="105" y="208"/>
                    <a:pt x="105" y="207"/>
                    <a:pt x="105" y="207"/>
                  </a:cubicBezTo>
                  <a:cubicBezTo>
                    <a:pt x="105" y="207"/>
                    <a:pt x="105" y="207"/>
                    <a:pt x="105" y="207"/>
                  </a:cubicBezTo>
                  <a:cubicBezTo>
                    <a:pt x="105" y="206"/>
                    <a:pt x="105" y="206"/>
                    <a:pt x="105" y="206"/>
                  </a:cubicBezTo>
                  <a:cubicBezTo>
                    <a:pt x="105" y="206"/>
                    <a:pt x="104" y="206"/>
                    <a:pt x="104" y="206"/>
                  </a:cubicBezTo>
                  <a:cubicBezTo>
                    <a:pt x="104" y="205"/>
                    <a:pt x="104" y="205"/>
                    <a:pt x="104" y="204"/>
                  </a:cubicBezTo>
                  <a:cubicBezTo>
                    <a:pt x="104" y="204"/>
                    <a:pt x="104" y="204"/>
                    <a:pt x="104" y="204"/>
                  </a:cubicBezTo>
                  <a:cubicBezTo>
                    <a:pt x="104" y="204"/>
                    <a:pt x="104" y="204"/>
                    <a:pt x="104" y="204"/>
                  </a:cubicBezTo>
                  <a:cubicBezTo>
                    <a:pt x="104" y="204"/>
                    <a:pt x="104" y="204"/>
                    <a:pt x="104" y="204"/>
                  </a:cubicBezTo>
                  <a:cubicBezTo>
                    <a:pt x="104" y="203"/>
                    <a:pt x="103" y="202"/>
                    <a:pt x="103" y="202"/>
                  </a:cubicBezTo>
                  <a:cubicBezTo>
                    <a:pt x="103" y="202"/>
                    <a:pt x="103" y="202"/>
                    <a:pt x="103" y="202"/>
                  </a:cubicBezTo>
                  <a:cubicBezTo>
                    <a:pt x="103" y="201"/>
                    <a:pt x="103" y="201"/>
                    <a:pt x="103" y="201"/>
                  </a:cubicBezTo>
                  <a:cubicBezTo>
                    <a:pt x="103" y="201"/>
                    <a:pt x="103" y="201"/>
                    <a:pt x="103" y="201"/>
                  </a:cubicBezTo>
                  <a:cubicBezTo>
                    <a:pt x="103" y="201"/>
                    <a:pt x="103" y="200"/>
                    <a:pt x="103" y="200"/>
                  </a:cubicBezTo>
                  <a:cubicBezTo>
                    <a:pt x="103" y="200"/>
                    <a:pt x="102" y="200"/>
                    <a:pt x="102" y="200"/>
                  </a:cubicBezTo>
                  <a:cubicBezTo>
                    <a:pt x="102" y="199"/>
                    <a:pt x="102" y="198"/>
                    <a:pt x="102" y="197"/>
                  </a:cubicBezTo>
                  <a:cubicBezTo>
                    <a:pt x="101" y="197"/>
                    <a:pt x="101" y="196"/>
                    <a:pt x="101" y="196"/>
                  </a:cubicBezTo>
                  <a:cubicBezTo>
                    <a:pt x="101" y="196"/>
                    <a:pt x="101" y="196"/>
                    <a:pt x="101" y="195"/>
                  </a:cubicBezTo>
                  <a:cubicBezTo>
                    <a:pt x="100" y="195"/>
                    <a:pt x="100" y="195"/>
                    <a:pt x="100" y="195"/>
                  </a:cubicBezTo>
                  <a:cubicBezTo>
                    <a:pt x="100" y="195"/>
                    <a:pt x="100" y="195"/>
                    <a:pt x="100" y="195"/>
                  </a:cubicBezTo>
                  <a:cubicBezTo>
                    <a:pt x="100" y="195"/>
                    <a:pt x="99" y="195"/>
                    <a:pt x="99" y="195"/>
                  </a:cubicBezTo>
                  <a:cubicBezTo>
                    <a:pt x="99" y="194"/>
                    <a:pt x="99" y="194"/>
                    <a:pt x="99" y="194"/>
                  </a:cubicBezTo>
                  <a:cubicBezTo>
                    <a:pt x="99" y="194"/>
                    <a:pt x="98" y="194"/>
                    <a:pt x="98" y="194"/>
                  </a:cubicBezTo>
                  <a:cubicBezTo>
                    <a:pt x="98" y="194"/>
                    <a:pt x="98" y="194"/>
                    <a:pt x="98" y="194"/>
                  </a:cubicBezTo>
                  <a:cubicBezTo>
                    <a:pt x="98" y="194"/>
                    <a:pt x="97" y="194"/>
                    <a:pt x="97" y="194"/>
                  </a:cubicBezTo>
                  <a:cubicBezTo>
                    <a:pt x="97" y="194"/>
                    <a:pt x="97" y="193"/>
                    <a:pt x="97" y="193"/>
                  </a:cubicBezTo>
                  <a:cubicBezTo>
                    <a:pt x="96" y="193"/>
                    <a:pt x="96" y="193"/>
                    <a:pt x="95" y="193"/>
                  </a:cubicBezTo>
                  <a:cubicBezTo>
                    <a:pt x="95" y="193"/>
                    <a:pt x="95" y="193"/>
                    <a:pt x="95" y="193"/>
                  </a:cubicBezTo>
                  <a:cubicBezTo>
                    <a:pt x="95" y="192"/>
                    <a:pt x="94" y="192"/>
                    <a:pt x="94" y="191"/>
                  </a:cubicBezTo>
                  <a:cubicBezTo>
                    <a:pt x="92" y="191"/>
                    <a:pt x="91" y="192"/>
                    <a:pt x="90" y="193"/>
                  </a:cubicBezTo>
                  <a:cubicBezTo>
                    <a:pt x="90" y="194"/>
                    <a:pt x="90" y="194"/>
                    <a:pt x="90" y="194"/>
                  </a:cubicBezTo>
                  <a:cubicBezTo>
                    <a:pt x="89" y="194"/>
                    <a:pt x="89" y="194"/>
                    <a:pt x="89" y="194"/>
                  </a:cubicBezTo>
                  <a:cubicBezTo>
                    <a:pt x="89" y="195"/>
                    <a:pt x="88" y="195"/>
                    <a:pt x="88" y="196"/>
                  </a:cubicBezTo>
                  <a:cubicBezTo>
                    <a:pt x="87" y="196"/>
                    <a:pt x="87" y="196"/>
                    <a:pt x="87" y="196"/>
                  </a:cubicBezTo>
                  <a:cubicBezTo>
                    <a:pt x="87" y="196"/>
                    <a:pt x="87" y="196"/>
                    <a:pt x="87" y="196"/>
                  </a:cubicBezTo>
                  <a:cubicBezTo>
                    <a:pt x="86" y="196"/>
                    <a:pt x="86" y="196"/>
                    <a:pt x="86" y="196"/>
                  </a:cubicBezTo>
                  <a:cubicBezTo>
                    <a:pt x="86" y="197"/>
                    <a:pt x="86" y="197"/>
                    <a:pt x="85" y="197"/>
                  </a:cubicBezTo>
                  <a:cubicBezTo>
                    <a:pt x="85" y="197"/>
                    <a:pt x="85" y="197"/>
                    <a:pt x="85" y="197"/>
                  </a:cubicBezTo>
                  <a:cubicBezTo>
                    <a:pt x="85" y="197"/>
                    <a:pt x="85" y="198"/>
                    <a:pt x="84" y="198"/>
                  </a:cubicBezTo>
                  <a:cubicBezTo>
                    <a:pt x="84" y="198"/>
                    <a:pt x="84" y="198"/>
                    <a:pt x="84" y="198"/>
                  </a:cubicBezTo>
                  <a:cubicBezTo>
                    <a:pt x="82" y="199"/>
                    <a:pt x="81" y="200"/>
                    <a:pt x="78" y="200"/>
                  </a:cubicBezTo>
                  <a:cubicBezTo>
                    <a:pt x="78" y="199"/>
                    <a:pt x="78" y="199"/>
                    <a:pt x="78" y="199"/>
                  </a:cubicBezTo>
                  <a:cubicBezTo>
                    <a:pt x="78" y="199"/>
                    <a:pt x="77" y="199"/>
                    <a:pt x="76" y="199"/>
                  </a:cubicBezTo>
                  <a:cubicBezTo>
                    <a:pt x="76" y="199"/>
                    <a:pt x="76" y="198"/>
                    <a:pt x="76" y="198"/>
                  </a:cubicBezTo>
                  <a:cubicBezTo>
                    <a:pt x="76" y="198"/>
                    <a:pt x="76" y="198"/>
                    <a:pt x="75" y="198"/>
                  </a:cubicBezTo>
                  <a:cubicBezTo>
                    <a:pt x="75" y="198"/>
                    <a:pt x="75" y="197"/>
                    <a:pt x="75" y="197"/>
                  </a:cubicBezTo>
                  <a:cubicBezTo>
                    <a:pt x="74" y="197"/>
                    <a:pt x="74" y="197"/>
                    <a:pt x="74" y="197"/>
                  </a:cubicBezTo>
                  <a:cubicBezTo>
                    <a:pt x="74" y="197"/>
                    <a:pt x="73" y="196"/>
                    <a:pt x="73" y="196"/>
                  </a:cubicBezTo>
                  <a:cubicBezTo>
                    <a:pt x="73" y="196"/>
                    <a:pt x="73" y="196"/>
                    <a:pt x="73" y="196"/>
                  </a:cubicBezTo>
                  <a:cubicBezTo>
                    <a:pt x="72" y="196"/>
                    <a:pt x="72" y="196"/>
                    <a:pt x="72" y="195"/>
                  </a:cubicBezTo>
                  <a:cubicBezTo>
                    <a:pt x="72" y="195"/>
                    <a:pt x="72" y="195"/>
                    <a:pt x="71" y="195"/>
                  </a:cubicBezTo>
                  <a:cubicBezTo>
                    <a:pt x="71" y="195"/>
                    <a:pt x="71" y="195"/>
                    <a:pt x="71" y="195"/>
                  </a:cubicBezTo>
                  <a:cubicBezTo>
                    <a:pt x="70" y="195"/>
                    <a:pt x="70" y="194"/>
                    <a:pt x="69" y="194"/>
                  </a:cubicBezTo>
                  <a:cubicBezTo>
                    <a:pt x="69" y="194"/>
                    <a:pt x="69" y="194"/>
                    <a:pt x="69" y="194"/>
                  </a:cubicBezTo>
                  <a:cubicBezTo>
                    <a:pt x="69" y="194"/>
                    <a:pt x="69" y="194"/>
                    <a:pt x="68" y="194"/>
                  </a:cubicBezTo>
                  <a:cubicBezTo>
                    <a:pt x="68" y="193"/>
                    <a:pt x="68" y="193"/>
                    <a:pt x="68" y="193"/>
                  </a:cubicBezTo>
                  <a:cubicBezTo>
                    <a:pt x="68" y="193"/>
                    <a:pt x="68" y="193"/>
                    <a:pt x="68" y="193"/>
                  </a:cubicBezTo>
                  <a:cubicBezTo>
                    <a:pt x="68" y="192"/>
                    <a:pt x="67" y="192"/>
                    <a:pt x="67" y="191"/>
                  </a:cubicBezTo>
                  <a:cubicBezTo>
                    <a:pt x="67" y="191"/>
                    <a:pt x="67" y="191"/>
                    <a:pt x="67" y="191"/>
                  </a:cubicBezTo>
                  <a:cubicBezTo>
                    <a:pt x="67" y="191"/>
                    <a:pt x="67" y="190"/>
                    <a:pt x="67" y="190"/>
                  </a:cubicBezTo>
                  <a:cubicBezTo>
                    <a:pt x="66" y="190"/>
                    <a:pt x="66" y="190"/>
                    <a:pt x="66" y="190"/>
                  </a:cubicBezTo>
                  <a:cubicBezTo>
                    <a:pt x="66" y="189"/>
                    <a:pt x="66" y="189"/>
                    <a:pt x="66" y="189"/>
                  </a:cubicBezTo>
                  <a:cubicBezTo>
                    <a:pt x="66" y="189"/>
                    <a:pt x="66" y="189"/>
                    <a:pt x="66" y="189"/>
                  </a:cubicBezTo>
                  <a:cubicBezTo>
                    <a:pt x="66" y="188"/>
                    <a:pt x="66" y="188"/>
                    <a:pt x="66" y="188"/>
                  </a:cubicBezTo>
                  <a:cubicBezTo>
                    <a:pt x="66" y="188"/>
                    <a:pt x="66" y="188"/>
                    <a:pt x="66" y="188"/>
                  </a:cubicBezTo>
                  <a:cubicBezTo>
                    <a:pt x="66" y="188"/>
                    <a:pt x="66" y="188"/>
                    <a:pt x="66" y="187"/>
                  </a:cubicBezTo>
                  <a:cubicBezTo>
                    <a:pt x="65" y="187"/>
                    <a:pt x="65" y="187"/>
                    <a:pt x="65" y="187"/>
                  </a:cubicBezTo>
                  <a:cubicBezTo>
                    <a:pt x="65" y="187"/>
                    <a:pt x="65" y="187"/>
                    <a:pt x="65" y="186"/>
                  </a:cubicBezTo>
                  <a:cubicBezTo>
                    <a:pt x="65" y="186"/>
                    <a:pt x="65" y="186"/>
                    <a:pt x="64" y="186"/>
                  </a:cubicBezTo>
                  <a:cubicBezTo>
                    <a:pt x="64" y="186"/>
                    <a:pt x="64" y="186"/>
                    <a:pt x="64" y="186"/>
                  </a:cubicBezTo>
                  <a:cubicBezTo>
                    <a:pt x="63" y="186"/>
                    <a:pt x="62" y="186"/>
                    <a:pt x="60" y="186"/>
                  </a:cubicBezTo>
                  <a:cubicBezTo>
                    <a:pt x="60" y="185"/>
                    <a:pt x="56" y="185"/>
                    <a:pt x="55" y="186"/>
                  </a:cubicBezTo>
                  <a:cubicBezTo>
                    <a:pt x="53" y="186"/>
                    <a:pt x="48" y="190"/>
                    <a:pt x="45" y="189"/>
                  </a:cubicBezTo>
                  <a:cubicBezTo>
                    <a:pt x="45" y="189"/>
                    <a:pt x="45" y="189"/>
                    <a:pt x="45" y="189"/>
                  </a:cubicBezTo>
                  <a:cubicBezTo>
                    <a:pt x="44" y="189"/>
                    <a:pt x="44" y="189"/>
                    <a:pt x="43" y="189"/>
                  </a:cubicBezTo>
                  <a:cubicBezTo>
                    <a:pt x="43" y="188"/>
                    <a:pt x="42" y="187"/>
                    <a:pt x="41" y="186"/>
                  </a:cubicBezTo>
                  <a:cubicBezTo>
                    <a:pt x="41" y="185"/>
                    <a:pt x="41" y="185"/>
                    <a:pt x="41" y="185"/>
                  </a:cubicBezTo>
                  <a:cubicBezTo>
                    <a:pt x="41" y="185"/>
                    <a:pt x="41" y="185"/>
                    <a:pt x="41" y="185"/>
                  </a:cubicBezTo>
                  <a:cubicBezTo>
                    <a:pt x="40" y="184"/>
                    <a:pt x="40" y="184"/>
                    <a:pt x="39" y="183"/>
                  </a:cubicBezTo>
                  <a:cubicBezTo>
                    <a:pt x="39" y="183"/>
                    <a:pt x="39" y="182"/>
                    <a:pt x="39" y="182"/>
                  </a:cubicBezTo>
                  <a:cubicBezTo>
                    <a:pt x="38" y="182"/>
                    <a:pt x="38" y="182"/>
                    <a:pt x="38" y="182"/>
                  </a:cubicBezTo>
                  <a:cubicBezTo>
                    <a:pt x="38" y="181"/>
                    <a:pt x="38" y="179"/>
                    <a:pt x="38" y="178"/>
                  </a:cubicBezTo>
                  <a:cubicBezTo>
                    <a:pt x="37" y="178"/>
                    <a:pt x="37" y="178"/>
                    <a:pt x="37" y="178"/>
                  </a:cubicBezTo>
                  <a:cubicBezTo>
                    <a:pt x="37" y="178"/>
                    <a:pt x="37" y="177"/>
                    <a:pt x="37" y="177"/>
                  </a:cubicBezTo>
                  <a:cubicBezTo>
                    <a:pt x="37" y="177"/>
                    <a:pt x="37" y="177"/>
                    <a:pt x="37" y="177"/>
                  </a:cubicBezTo>
                  <a:cubicBezTo>
                    <a:pt x="37" y="176"/>
                    <a:pt x="37" y="176"/>
                    <a:pt x="37" y="176"/>
                  </a:cubicBezTo>
                  <a:cubicBezTo>
                    <a:pt x="37" y="176"/>
                    <a:pt x="37" y="176"/>
                    <a:pt x="37" y="176"/>
                  </a:cubicBezTo>
                  <a:cubicBezTo>
                    <a:pt x="37" y="175"/>
                    <a:pt x="37" y="175"/>
                    <a:pt x="37" y="174"/>
                  </a:cubicBezTo>
                  <a:cubicBezTo>
                    <a:pt x="36" y="174"/>
                    <a:pt x="36" y="174"/>
                    <a:pt x="36" y="174"/>
                  </a:cubicBezTo>
                  <a:cubicBezTo>
                    <a:pt x="36" y="174"/>
                    <a:pt x="36" y="173"/>
                    <a:pt x="36" y="173"/>
                  </a:cubicBezTo>
                  <a:cubicBezTo>
                    <a:pt x="36" y="173"/>
                    <a:pt x="36" y="173"/>
                    <a:pt x="35" y="173"/>
                  </a:cubicBezTo>
                  <a:cubicBezTo>
                    <a:pt x="35" y="172"/>
                    <a:pt x="35" y="172"/>
                    <a:pt x="35" y="171"/>
                  </a:cubicBezTo>
                  <a:cubicBezTo>
                    <a:pt x="35" y="171"/>
                    <a:pt x="35" y="171"/>
                    <a:pt x="35" y="171"/>
                  </a:cubicBezTo>
                  <a:cubicBezTo>
                    <a:pt x="35" y="171"/>
                    <a:pt x="35" y="170"/>
                    <a:pt x="34" y="170"/>
                  </a:cubicBezTo>
                  <a:cubicBezTo>
                    <a:pt x="34" y="170"/>
                    <a:pt x="34" y="169"/>
                    <a:pt x="33" y="169"/>
                  </a:cubicBezTo>
                  <a:cubicBezTo>
                    <a:pt x="33" y="169"/>
                    <a:pt x="33" y="169"/>
                    <a:pt x="33" y="169"/>
                  </a:cubicBezTo>
                  <a:cubicBezTo>
                    <a:pt x="33" y="169"/>
                    <a:pt x="33" y="169"/>
                    <a:pt x="33" y="169"/>
                  </a:cubicBezTo>
                  <a:cubicBezTo>
                    <a:pt x="32" y="168"/>
                    <a:pt x="32" y="168"/>
                    <a:pt x="32" y="168"/>
                  </a:cubicBezTo>
                  <a:cubicBezTo>
                    <a:pt x="32" y="168"/>
                    <a:pt x="32" y="168"/>
                    <a:pt x="31" y="168"/>
                  </a:cubicBezTo>
                  <a:cubicBezTo>
                    <a:pt x="31" y="167"/>
                    <a:pt x="31" y="167"/>
                    <a:pt x="30" y="166"/>
                  </a:cubicBezTo>
                  <a:cubicBezTo>
                    <a:pt x="30" y="166"/>
                    <a:pt x="30" y="166"/>
                    <a:pt x="29" y="166"/>
                  </a:cubicBezTo>
                  <a:cubicBezTo>
                    <a:pt x="28" y="166"/>
                    <a:pt x="28" y="166"/>
                    <a:pt x="26" y="166"/>
                  </a:cubicBezTo>
                  <a:cubicBezTo>
                    <a:pt x="25" y="166"/>
                    <a:pt x="25" y="166"/>
                    <a:pt x="25" y="166"/>
                  </a:cubicBezTo>
                  <a:cubicBezTo>
                    <a:pt x="25" y="166"/>
                    <a:pt x="25" y="167"/>
                    <a:pt x="25" y="167"/>
                  </a:cubicBezTo>
                  <a:cubicBezTo>
                    <a:pt x="24" y="167"/>
                    <a:pt x="24" y="167"/>
                    <a:pt x="24" y="167"/>
                  </a:cubicBezTo>
                  <a:cubicBezTo>
                    <a:pt x="24" y="167"/>
                    <a:pt x="24" y="167"/>
                    <a:pt x="24" y="167"/>
                  </a:cubicBezTo>
                  <a:cubicBezTo>
                    <a:pt x="23" y="168"/>
                    <a:pt x="23" y="168"/>
                    <a:pt x="22" y="168"/>
                  </a:cubicBezTo>
                  <a:cubicBezTo>
                    <a:pt x="22" y="168"/>
                    <a:pt x="22" y="168"/>
                    <a:pt x="22" y="168"/>
                  </a:cubicBezTo>
                  <a:cubicBezTo>
                    <a:pt x="20" y="169"/>
                    <a:pt x="19" y="169"/>
                    <a:pt x="17" y="170"/>
                  </a:cubicBezTo>
                  <a:cubicBezTo>
                    <a:pt x="16" y="170"/>
                    <a:pt x="13" y="169"/>
                    <a:pt x="13" y="169"/>
                  </a:cubicBezTo>
                  <a:cubicBezTo>
                    <a:pt x="12" y="169"/>
                    <a:pt x="11" y="169"/>
                    <a:pt x="10" y="169"/>
                  </a:cubicBezTo>
                  <a:cubicBezTo>
                    <a:pt x="10" y="169"/>
                    <a:pt x="10" y="169"/>
                    <a:pt x="10" y="168"/>
                  </a:cubicBezTo>
                  <a:cubicBezTo>
                    <a:pt x="10" y="168"/>
                    <a:pt x="9" y="168"/>
                    <a:pt x="9" y="168"/>
                  </a:cubicBezTo>
                  <a:cubicBezTo>
                    <a:pt x="9" y="168"/>
                    <a:pt x="9" y="168"/>
                    <a:pt x="9" y="168"/>
                  </a:cubicBezTo>
                  <a:cubicBezTo>
                    <a:pt x="9" y="168"/>
                    <a:pt x="9" y="168"/>
                    <a:pt x="8" y="168"/>
                  </a:cubicBezTo>
                  <a:cubicBezTo>
                    <a:pt x="8" y="168"/>
                    <a:pt x="8" y="168"/>
                    <a:pt x="8" y="168"/>
                  </a:cubicBezTo>
                  <a:cubicBezTo>
                    <a:pt x="7" y="168"/>
                    <a:pt x="7" y="167"/>
                    <a:pt x="6" y="167"/>
                  </a:cubicBezTo>
                  <a:cubicBezTo>
                    <a:pt x="6" y="167"/>
                    <a:pt x="6" y="167"/>
                    <a:pt x="6" y="166"/>
                  </a:cubicBezTo>
                  <a:cubicBezTo>
                    <a:pt x="6" y="166"/>
                    <a:pt x="5" y="166"/>
                    <a:pt x="5" y="166"/>
                  </a:cubicBezTo>
                  <a:cubicBezTo>
                    <a:pt x="4" y="166"/>
                    <a:pt x="4" y="165"/>
                    <a:pt x="3" y="164"/>
                  </a:cubicBezTo>
                  <a:cubicBezTo>
                    <a:pt x="3" y="164"/>
                    <a:pt x="3" y="164"/>
                    <a:pt x="2" y="164"/>
                  </a:cubicBezTo>
                  <a:cubicBezTo>
                    <a:pt x="0" y="160"/>
                    <a:pt x="0" y="152"/>
                    <a:pt x="1" y="148"/>
                  </a:cubicBezTo>
                  <a:cubicBezTo>
                    <a:pt x="1" y="146"/>
                    <a:pt x="1" y="144"/>
                    <a:pt x="2" y="143"/>
                  </a:cubicBezTo>
                  <a:cubicBezTo>
                    <a:pt x="2" y="143"/>
                    <a:pt x="2" y="143"/>
                    <a:pt x="2" y="143"/>
                  </a:cubicBezTo>
                  <a:cubicBezTo>
                    <a:pt x="2" y="142"/>
                    <a:pt x="2" y="141"/>
                    <a:pt x="2" y="140"/>
                  </a:cubicBezTo>
                  <a:cubicBezTo>
                    <a:pt x="3" y="140"/>
                    <a:pt x="3" y="140"/>
                    <a:pt x="4" y="139"/>
                  </a:cubicBezTo>
                  <a:cubicBezTo>
                    <a:pt x="4" y="139"/>
                    <a:pt x="4" y="139"/>
                    <a:pt x="4" y="138"/>
                  </a:cubicBezTo>
                  <a:cubicBezTo>
                    <a:pt x="4" y="138"/>
                    <a:pt x="5" y="138"/>
                    <a:pt x="5" y="137"/>
                  </a:cubicBezTo>
                  <a:cubicBezTo>
                    <a:pt x="5" y="137"/>
                    <a:pt x="5" y="137"/>
                    <a:pt x="5" y="137"/>
                  </a:cubicBezTo>
                  <a:cubicBezTo>
                    <a:pt x="6" y="136"/>
                    <a:pt x="6" y="136"/>
                    <a:pt x="7" y="136"/>
                  </a:cubicBezTo>
                  <a:cubicBezTo>
                    <a:pt x="7" y="135"/>
                    <a:pt x="7" y="135"/>
                    <a:pt x="7" y="135"/>
                  </a:cubicBezTo>
                  <a:cubicBezTo>
                    <a:pt x="7" y="135"/>
                    <a:pt x="8" y="134"/>
                    <a:pt x="8" y="134"/>
                  </a:cubicBezTo>
                  <a:cubicBezTo>
                    <a:pt x="8" y="134"/>
                    <a:pt x="8" y="133"/>
                    <a:pt x="8" y="133"/>
                  </a:cubicBezTo>
                  <a:cubicBezTo>
                    <a:pt x="9" y="133"/>
                    <a:pt x="9" y="132"/>
                    <a:pt x="10" y="132"/>
                  </a:cubicBezTo>
                  <a:cubicBezTo>
                    <a:pt x="10" y="132"/>
                    <a:pt x="10" y="132"/>
                    <a:pt x="10" y="131"/>
                  </a:cubicBezTo>
                  <a:cubicBezTo>
                    <a:pt x="10" y="131"/>
                    <a:pt x="10" y="131"/>
                    <a:pt x="11" y="131"/>
                  </a:cubicBezTo>
                  <a:cubicBezTo>
                    <a:pt x="11" y="130"/>
                    <a:pt x="11" y="129"/>
                    <a:pt x="12" y="128"/>
                  </a:cubicBezTo>
                  <a:cubicBezTo>
                    <a:pt x="12" y="128"/>
                    <a:pt x="12" y="128"/>
                    <a:pt x="12" y="128"/>
                  </a:cubicBezTo>
                  <a:cubicBezTo>
                    <a:pt x="12" y="127"/>
                    <a:pt x="12" y="127"/>
                    <a:pt x="12" y="127"/>
                  </a:cubicBezTo>
                  <a:cubicBezTo>
                    <a:pt x="12" y="127"/>
                    <a:pt x="12" y="127"/>
                    <a:pt x="12" y="127"/>
                  </a:cubicBezTo>
                  <a:cubicBezTo>
                    <a:pt x="12" y="127"/>
                    <a:pt x="12" y="126"/>
                    <a:pt x="12" y="126"/>
                  </a:cubicBezTo>
                  <a:cubicBezTo>
                    <a:pt x="13" y="126"/>
                    <a:pt x="13" y="126"/>
                    <a:pt x="13" y="126"/>
                  </a:cubicBezTo>
                  <a:cubicBezTo>
                    <a:pt x="13" y="125"/>
                    <a:pt x="13" y="125"/>
                    <a:pt x="13" y="124"/>
                  </a:cubicBezTo>
                  <a:cubicBezTo>
                    <a:pt x="14" y="124"/>
                    <a:pt x="14" y="124"/>
                    <a:pt x="14" y="124"/>
                  </a:cubicBezTo>
                  <a:cubicBezTo>
                    <a:pt x="14" y="123"/>
                    <a:pt x="14" y="122"/>
                    <a:pt x="15" y="121"/>
                  </a:cubicBezTo>
                  <a:cubicBezTo>
                    <a:pt x="15" y="121"/>
                    <a:pt x="15" y="121"/>
                    <a:pt x="15" y="121"/>
                  </a:cubicBezTo>
                  <a:cubicBezTo>
                    <a:pt x="15" y="121"/>
                    <a:pt x="15" y="120"/>
                    <a:pt x="15" y="120"/>
                  </a:cubicBezTo>
                  <a:cubicBezTo>
                    <a:pt x="15" y="120"/>
                    <a:pt x="15" y="120"/>
                    <a:pt x="16" y="120"/>
                  </a:cubicBezTo>
                  <a:cubicBezTo>
                    <a:pt x="16" y="119"/>
                    <a:pt x="16" y="118"/>
                    <a:pt x="17" y="117"/>
                  </a:cubicBezTo>
                  <a:cubicBezTo>
                    <a:pt x="17" y="117"/>
                    <a:pt x="17" y="117"/>
                    <a:pt x="18" y="116"/>
                  </a:cubicBezTo>
                  <a:cubicBezTo>
                    <a:pt x="18" y="116"/>
                    <a:pt x="18" y="116"/>
                    <a:pt x="18" y="116"/>
                  </a:cubicBezTo>
                  <a:cubicBezTo>
                    <a:pt x="18" y="116"/>
                    <a:pt x="18" y="116"/>
                    <a:pt x="18" y="116"/>
                  </a:cubicBezTo>
                  <a:cubicBezTo>
                    <a:pt x="18" y="116"/>
                    <a:pt x="18" y="116"/>
                    <a:pt x="18" y="116"/>
                  </a:cubicBezTo>
                  <a:cubicBezTo>
                    <a:pt x="19" y="116"/>
                    <a:pt x="19" y="116"/>
                    <a:pt x="19" y="116"/>
                  </a:cubicBezTo>
                  <a:cubicBezTo>
                    <a:pt x="19" y="116"/>
                    <a:pt x="19" y="115"/>
                    <a:pt x="19" y="115"/>
                  </a:cubicBezTo>
                  <a:cubicBezTo>
                    <a:pt x="19" y="115"/>
                    <a:pt x="20" y="115"/>
                    <a:pt x="20" y="115"/>
                  </a:cubicBezTo>
                  <a:cubicBezTo>
                    <a:pt x="20" y="115"/>
                    <a:pt x="20" y="114"/>
                    <a:pt x="20" y="114"/>
                  </a:cubicBezTo>
                  <a:cubicBezTo>
                    <a:pt x="21" y="114"/>
                    <a:pt x="21" y="114"/>
                    <a:pt x="21" y="114"/>
                  </a:cubicBezTo>
                  <a:cubicBezTo>
                    <a:pt x="21" y="114"/>
                    <a:pt x="21" y="114"/>
                    <a:pt x="21" y="114"/>
                  </a:cubicBezTo>
                  <a:cubicBezTo>
                    <a:pt x="22" y="114"/>
                    <a:pt x="22" y="114"/>
                    <a:pt x="22" y="114"/>
                  </a:cubicBezTo>
                  <a:cubicBezTo>
                    <a:pt x="22" y="113"/>
                    <a:pt x="22" y="113"/>
                    <a:pt x="23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3" y="113"/>
                    <a:pt x="23" y="112"/>
                    <a:pt x="24" y="112"/>
                  </a:cubicBezTo>
                  <a:cubicBezTo>
                    <a:pt x="24" y="112"/>
                    <a:pt x="24" y="112"/>
                    <a:pt x="24" y="112"/>
                  </a:cubicBezTo>
                  <a:cubicBezTo>
                    <a:pt x="24" y="112"/>
                    <a:pt x="24" y="112"/>
                    <a:pt x="24" y="112"/>
                  </a:cubicBezTo>
                  <a:cubicBezTo>
                    <a:pt x="25" y="112"/>
                    <a:pt x="25" y="112"/>
                    <a:pt x="25" y="112"/>
                  </a:cubicBezTo>
                  <a:cubicBezTo>
                    <a:pt x="25" y="112"/>
                    <a:pt x="25" y="111"/>
                    <a:pt x="25" y="111"/>
                  </a:cubicBezTo>
                  <a:cubicBezTo>
                    <a:pt x="27" y="110"/>
                    <a:pt x="27" y="111"/>
                    <a:pt x="27" y="108"/>
                  </a:cubicBezTo>
                  <a:cubicBezTo>
                    <a:pt x="28" y="107"/>
                    <a:pt x="27" y="105"/>
                    <a:pt x="27" y="103"/>
                  </a:cubicBezTo>
                  <a:cubicBezTo>
                    <a:pt x="28" y="103"/>
                    <a:pt x="28" y="103"/>
                    <a:pt x="28" y="103"/>
                  </a:cubicBezTo>
                  <a:cubicBezTo>
                    <a:pt x="28" y="103"/>
                    <a:pt x="28" y="102"/>
                    <a:pt x="28" y="102"/>
                  </a:cubicBezTo>
                  <a:cubicBezTo>
                    <a:pt x="28" y="102"/>
                    <a:pt x="28" y="102"/>
                    <a:pt x="29" y="101"/>
                  </a:cubicBezTo>
                  <a:cubicBezTo>
                    <a:pt x="29" y="101"/>
                    <a:pt x="29" y="101"/>
                    <a:pt x="29" y="101"/>
                  </a:cubicBezTo>
                  <a:cubicBezTo>
                    <a:pt x="29" y="100"/>
                    <a:pt x="30" y="100"/>
                    <a:pt x="30" y="100"/>
                  </a:cubicBezTo>
                  <a:cubicBezTo>
                    <a:pt x="30" y="100"/>
                    <a:pt x="30" y="99"/>
                    <a:pt x="30" y="99"/>
                  </a:cubicBezTo>
                  <a:cubicBezTo>
                    <a:pt x="30" y="99"/>
                    <a:pt x="30" y="99"/>
                    <a:pt x="31" y="99"/>
                  </a:cubicBezTo>
                  <a:cubicBezTo>
                    <a:pt x="31" y="99"/>
                    <a:pt x="31" y="98"/>
                    <a:pt x="31" y="98"/>
                  </a:cubicBezTo>
                  <a:cubicBezTo>
                    <a:pt x="31" y="98"/>
                    <a:pt x="31" y="98"/>
                    <a:pt x="32" y="97"/>
                  </a:cubicBezTo>
                  <a:cubicBezTo>
                    <a:pt x="32" y="97"/>
                    <a:pt x="32" y="97"/>
                    <a:pt x="32" y="97"/>
                  </a:cubicBezTo>
                  <a:cubicBezTo>
                    <a:pt x="32" y="97"/>
                    <a:pt x="32" y="97"/>
                    <a:pt x="32" y="96"/>
                  </a:cubicBezTo>
                  <a:cubicBezTo>
                    <a:pt x="32" y="96"/>
                    <a:pt x="32" y="96"/>
                    <a:pt x="32" y="96"/>
                  </a:cubicBezTo>
                  <a:cubicBezTo>
                    <a:pt x="33" y="95"/>
                    <a:pt x="33" y="95"/>
                    <a:pt x="33" y="95"/>
                  </a:cubicBezTo>
                  <a:cubicBezTo>
                    <a:pt x="33" y="95"/>
                    <a:pt x="33" y="95"/>
                    <a:pt x="33" y="94"/>
                  </a:cubicBezTo>
                  <a:cubicBezTo>
                    <a:pt x="34" y="94"/>
                    <a:pt x="34" y="94"/>
                    <a:pt x="34" y="94"/>
                  </a:cubicBezTo>
                  <a:cubicBezTo>
                    <a:pt x="34" y="93"/>
                    <a:pt x="34" y="93"/>
                    <a:pt x="34" y="93"/>
                  </a:cubicBezTo>
                  <a:cubicBezTo>
                    <a:pt x="35" y="93"/>
                    <a:pt x="35" y="93"/>
                    <a:pt x="35" y="93"/>
                  </a:cubicBezTo>
                  <a:cubicBezTo>
                    <a:pt x="35" y="92"/>
                    <a:pt x="35" y="92"/>
                    <a:pt x="35" y="92"/>
                  </a:cubicBezTo>
                  <a:cubicBezTo>
                    <a:pt x="39" y="91"/>
                    <a:pt x="44" y="89"/>
                    <a:pt x="48" y="88"/>
                  </a:cubicBezTo>
                  <a:cubicBezTo>
                    <a:pt x="48" y="84"/>
                    <a:pt x="49" y="80"/>
                    <a:pt x="49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76"/>
                    <a:pt x="50" y="76"/>
                    <a:pt x="50" y="76"/>
                  </a:cubicBezTo>
                  <a:cubicBezTo>
                    <a:pt x="50" y="76"/>
                    <a:pt x="50" y="76"/>
                    <a:pt x="50" y="76"/>
                  </a:cubicBezTo>
                  <a:cubicBezTo>
                    <a:pt x="50" y="76"/>
                    <a:pt x="50" y="75"/>
                    <a:pt x="50" y="75"/>
                  </a:cubicBezTo>
                  <a:cubicBezTo>
                    <a:pt x="50" y="75"/>
                    <a:pt x="50" y="75"/>
                    <a:pt x="51" y="75"/>
                  </a:cubicBezTo>
                  <a:cubicBezTo>
                    <a:pt x="51" y="74"/>
                    <a:pt x="51" y="74"/>
                    <a:pt x="51" y="73"/>
                  </a:cubicBezTo>
                  <a:cubicBezTo>
                    <a:pt x="51" y="73"/>
                    <a:pt x="51" y="73"/>
                    <a:pt x="51" y="73"/>
                  </a:cubicBezTo>
                  <a:cubicBezTo>
                    <a:pt x="51" y="73"/>
                    <a:pt x="51" y="73"/>
                    <a:pt x="51" y="72"/>
                  </a:cubicBezTo>
                  <a:cubicBezTo>
                    <a:pt x="51" y="72"/>
                    <a:pt x="51" y="72"/>
                    <a:pt x="52" y="72"/>
                  </a:cubicBezTo>
                  <a:cubicBezTo>
                    <a:pt x="52" y="72"/>
                    <a:pt x="52" y="72"/>
                    <a:pt x="52" y="71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2" y="70"/>
                    <a:pt x="52" y="70"/>
                    <a:pt x="52" y="69"/>
                  </a:cubicBezTo>
                  <a:cubicBezTo>
                    <a:pt x="52" y="69"/>
                    <a:pt x="52" y="69"/>
                    <a:pt x="53" y="69"/>
                  </a:cubicBezTo>
                  <a:cubicBezTo>
                    <a:pt x="53" y="69"/>
                    <a:pt x="53" y="69"/>
                    <a:pt x="53" y="68"/>
                  </a:cubicBezTo>
                  <a:cubicBezTo>
                    <a:pt x="53" y="68"/>
                    <a:pt x="53" y="68"/>
                    <a:pt x="53" y="68"/>
                  </a:cubicBezTo>
                  <a:cubicBezTo>
                    <a:pt x="53" y="68"/>
                    <a:pt x="53" y="68"/>
                    <a:pt x="53" y="68"/>
                  </a:cubicBezTo>
                  <a:cubicBezTo>
                    <a:pt x="53" y="68"/>
                    <a:pt x="53" y="68"/>
                    <a:pt x="53" y="68"/>
                  </a:cubicBezTo>
                  <a:cubicBezTo>
                    <a:pt x="53" y="67"/>
                    <a:pt x="53" y="67"/>
                    <a:pt x="53" y="67"/>
                  </a:cubicBezTo>
                  <a:cubicBezTo>
                    <a:pt x="53" y="67"/>
                    <a:pt x="54" y="67"/>
                    <a:pt x="54" y="67"/>
                  </a:cubicBezTo>
                  <a:cubicBezTo>
                    <a:pt x="54" y="66"/>
                    <a:pt x="54" y="66"/>
                    <a:pt x="54" y="66"/>
                  </a:cubicBezTo>
                  <a:cubicBezTo>
                    <a:pt x="54" y="66"/>
                    <a:pt x="54" y="66"/>
                    <a:pt x="54" y="66"/>
                  </a:cubicBezTo>
                  <a:cubicBezTo>
                    <a:pt x="54" y="65"/>
                    <a:pt x="54" y="65"/>
                    <a:pt x="54" y="64"/>
                  </a:cubicBezTo>
                  <a:cubicBezTo>
                    <a:pt x="54" y="64"/>
                    <a:pt x="55" y="64"/>
                    <a:pt x="55" y="64"/>
                  </a:cubicBezTo>
                  <a:cubicBezTo>
                    <a:pt x="55" y="64"/>
                    <a:pt x="55" y="63"/>
                    <a:pt x="55" y="63"/>
                  </a:cubicBezTo>
                  <a:cubicBezTo>
                    <a:pt x="55" y="63"/>
                    <a:pt x="55" y="63"/>
                    <a:pt x="55" y="63"/>
                  </a:cubicBezTo>
                  <a:cubicBezTo>
                    <a:pt x="56" y="62"/>
                    <a:pt x="54" y="58"/>
                    <a:pt x="54" y="56"/>
                  </a:cubicBezTo>
                  <a:cubicBezTo>
                    <a:pt x="52" y="55"/>
                    <a:pt x="49" y="54"/>
                    <a:pt x="47" y="54"/>
                  </a:cubicBezTo>
                  <a:cubicBezTo>
                    <a:pt x="46" y="49"/>
                    <a:pt x="46" y="45"/>
                    <a:pt x="45" y="41"/>
                  </a:cubicBezTo>
                  <a:cubicBezTo>
                    <a:pt x="46" y="40"/>
                    <a:pt x="47" y="39"/>
                    <a:pt x="47" y="39"/>
                  </a:cubicBezTo>
                  <a:cubicBezTo>
                    <a:pt x="47" y="38"/>
                    <a:pt x="48" y="38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9" y="37"/>
                    <a:pt x="50" y="36"/>
                    <a:pt x="51" y="35"/>
                  </a:cubicBezTo>
                  <a:cubicBezTo>
                    <a:pt x="51" y="35"/>
                    <a:pt x="52" y="35"/>
                    <a:pt x="52" y="35"/>
                  </a:cubicBezTo>
                  <a:cubicBezTo>
                    <a:pt x="53" y="34"/>
                    <a:pt x="54" y="33"/>
                    <a:pt x="55" y="32"/>
                  </a:cubicBezTo>
                  <a:cubicBezTo>
                    <a:pt x="55" y="32"/>
                    <a:pt x="55" y="32"/>
                    <a:pt x="55" y="32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7" y="31"/>
                    <a:pt x="57" y="30"/>
                    <a:pt x="58" y="30"/>
                  </a:cubicBezTo>
                  <a:cubicBezTo>
                    <a:pt x="58" y="30"/>
                    <a:pt x="58" y="30"/>
                    <a:pt x="58" y="30"/>
                  </a:cubicBezTo>
                  <a:cubicBezTo>
                    <a:pt x="58" y="30"/>
                    <a:pt x="59" y="29"/>
                    <a:pt x="60" y="29"/>
                  </a:cubicBezTo>
                  <a:cubicBezTo>
                    <a:pt x="60" y="29"/>
                    <a:pt x="60" y="29"/>
                    <a:pt x="60" y="29"/>
                  </a:cubicBezTo>
                  <a:cubicBezTo>
                    <a:pt x="60" y="29"/>
                    <a:pt x="60" y="29"/>
                    <a:pt x="61" y="29"/>
                  </a:cubicBezTo>
                  <a:cubicBezTo>
                    <a:pt x="61" y="29"/>
                    <a:pt x="61" y="29"/>
                    <a:pt x="61" y="29"/>
                  </a:cubicBezTo>
                  <a:cubicBezTo>
                    <a:pt x="61" y="29"/>
                    <a:pt x="61" y="29"/>
                    <a:pt x="61" y="29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2" y="28"/>
                    <a:pt x="63" y="28"/>
                    <a:pt x="64" y="27"/>
                  </a:cubicBezTo>
                  <a:cubicBezTo>
                    <a:pt x="64" y="27"/>
                    <a:pt x="64" y="27"/>
                    <a:pt x="64" y="27"/>
                  </a:cubicBezTo>
                  <a:cubicBezTo>
                    <a:pt x="65" y="27"/>
                    <a:pt x="66" y="26"/>
                    <a:pt x="67" y="26"/>
                  </a:cubicBezTo>
                  <a:cubicBezTo>
                    <a:pt x="67" y="26"/>
                    <a:pt x="67" y="26"/>
                    <a:pt x="67" y="26"/>
                  </a:cubicBezTo>
                  <a:cubicBezTo>
                    <a:pt x="67" y="26"/>
                    <a:pt x="67" y="26"/>
                    <a:pt x="67" y="26"/>
                  </a:cubicBezTo>
                  <a:cubicBezTo>
                    <a:pt x="67" y="26"/>
                    <a:pt x="67" y="26"/>
                    <a:pt x="67" y="25"/>
                  </a:cubicBezTo>
                  <a:cubicBezTo>
                    <a:pt x="68" y="25"/>
                    <a:pt x="68" y="25"/>
                    <a:pt x="68" y="25"/>
                  </a:cubicBezTo>
                  <a:cubicBezTo>
                    <a:pt x="68" y="25"/>
                    <a:pt x="69" y="25"/>
                    <a:pt x="69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70" y="24"/>
                    <a:pt x="70" y="24"/>
                    <a:pt x="70" y="23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71" y="23"/>
                    <a:pt x="72" y="22"/>
                    <a:pt x="72" y="22"/>
                  </a:cubicBezTo>
                  <a:cubicBezTo>
                    <a:pt x="72" y="22"/>
                    <a:pt x="73" y="22"/>
                    <a:pt x="73" y="22"/>
                  </a:cubicBezTo>
                  <a:cubicBezTo>
                    <a:pt x="73" y="21"/>
                    <a:pt x="74" y="21"/>
                    <a:pt x="74" y="21"/>
                  </a:cubicBezTo>
                  <a:cubicBezTo>
                    <a:pt x="74" y="21"/>
                    <a:pt x="74" y="21"/>
                    <a:pt x="75" y="21"/>
                  </a:cubicBezTo>
                  <a:cubicBezTo>
                    <a:pt x="75" y="20"/>
                    <a:pt x="76" y="19"/>
                    <a:pt x="76" y="19"/>
                  </a:cubicBezTo>
                  <a:cubicBezTo>
                    <a:pt x="76" y="19"/>
                    <a:pt x="77" y="19"/>
                    <a:pt x="77" y="19"/>
                  </a:cubicBezTo>
                  <a:cubicBezTo>
                    <a:pt x="77" y="18"/>
                    <a:pt x="77" y="18"/>
                    <a:pt x="78" y="17"/>
                  </a:cubicBezTo>
                  <a:cubicBezTo>
                    <a:pt x="78" y="17"/>
                    <a:pt x="78" y="17"/>
                    <a:pt x="78" y="17"/>
                  </a:cubicBezTo>
                  <a:cubicBezTo>
                    <a:pt x="79" y="17"/>
                    <a:pt x="79" y="16"/>
                    <a:pt x="80" y="16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80" y="16"/>
                    <a:pt x="81" y="15"/>
                    <a:pt x="81" y="15"/>
                  </a:cubicBezTo>
                  <a:cubicBezTo>
                    <a:pt x="80" y="14"/>
                    <a:pt x="80" y="13"/>
                    <a:pt x="80" y="12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79" y="12"/>
                    <a:pt x="79" y="11"/>
                    <a:pt x="79" y="11"/>
                  </a:cubicBezTo>
                  <a:cubicBezTo>
                    <a:pt x="79" y="11"/>
                    <a:pt x="79" y="11"/>
                    <a:pt x="79" y="11"/>
                  </a:cubicBezTo>
                  <a:cubicBezTo>
                    <a:pt x="79" y="10"/>
                    <a:pt x="78" y="10"/>
                    <a:pt x="78" y="9"/>
                  </a:cubicBezTo>
                  <a:cubicBezTo>
                    <a:pt x="78" y="9"/>
                    <a:pt x="78" y="9"/>
                    <a:pt x="78" y="9"/>
                  </a:cubicBezTo>
                  <a:cubicBezTo>
                    <a:pt x="78" y="9"/>
                    <a:pt x="78" y="8"/>
                    <a:pt x="78" y="8"/>
                  </a:cubicBezTo>
                  <a:cubicBezTo>
                    <a:pt x="78" y="8"/>
                    <a:pt x="78" y="8"/>
                    <a:pt x="77" y="8"/>
                  </a:cubicBezTo>
                  <a:cubicBezTo>
                    <a:pt x="77" y="7"/>
                    <a:pt x="78" y="6"/>
                    <a:pt x="78" y="5"/>
                  </a:cubicBezTo>
                  <a:cubicBezTo>
                    <a:pt x="78" y="5"/>
                    <a:pt x="78" y="5"/>
                    <a:pt x="78" y="4"/>
                  </a:cubicBezTo>
                  <a:cubicBezTo>
                    <a:pt x="79" y="3"/>
                    <a:pt x="80" y="1"/>
                    <a:pt x="81" y="0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</a:ln>
            <a:effectLst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64800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4000" b="1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0000"/>
                </a:solidFill>
                <a:latin typeface="UKIJ Qolyazma" pitchFamily="18" charset="0"/>
                <a:cs typeface="UKIJ Qolyazma" pitchFamily="18" charset="0"/>
              </a:endParaRPr>
            </a:p>
          </p:txBody>
        </p:sp>
        <p:sp>
          <p:nvSpPr>
            <p:cNvPr id="127" name="Freeform 10">
              <a:extLst>
                <a:ext uri="{FF2B5EF4-FFF2-40B4-BE49-F238E27FC236}">
                  <a16:creationId xmlns:a16="http://schemas.microsoft.com/office/drawing/2014/main" id="{37686A68-A8B4-FA52-4374-0B5980EE6E5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3680" y="1660030"/>
              <a:ext cx="746270" cy="430263"/>
            </a:xfrm>
            <a:custGeom>
              <a:avLst/>
              <a:gdLst>
                <a:gd name="T0" fmla="*/ 279 w 343"/>
                <a:gd name="T1" fmla="*/ 151 h 198"/>
                <a:gd name="T2" fmla="*/ 277 w 343"/>
                <a:gd name="T3" fmla="*/ 155 h 198"/>
                <a:gd name="T4" fmla="*/ 272 w 343"/>
                <a:gd name="T5" fmla="*/ 162 h 198"/>
                <a:gd name="T6" fmla="*/ 264 w 343"/>
                <a:gd name="T7" fmla="*/ 167 h 198"/>
                <a:gd name="T8" fmla="*/ 258 w 343"/>
                <a:gd name="T9" fmla="*/ 170 h 198"/>
                <a:gd name="T10" fmla="*/ 251 w 343"/>
                <a:gd name="T11" fmla="*/ 175 h 198"/>
                <a:gd name="T12" fmla="*/ 247 w 343"/>
                <a:gd name="T13" fmla="*/ 180 h 198"/>
                <a:gd name="T14" fmla="*/ 245 w 343"/>
                <a:gd name="T15" fmla="*/ 186 h 198"/>
                <a:gd name="T16" fmla="*/ 241 w 343"/>
                <a:gd name="T17" fmla="*/ 191 h 198"/>
                <a:gd name="T18" fmla="*/ 237 w 343"/>
                <a:gd name="T19" fmla="*/ 193 h 198"/>
                <a:gd name="T20" fmla="*/ 234 w 343"/>
                <a:gd name="T21" fmla="*/ 195 h 198"/>
                <a:gd name="T22" fmla="*/ 228 w 343"/>
                <a:gd name="T23" fmla="*/ 198 h 198"/>
                <a:gd name="T24" fmla="*/ 202 w 343"/>
                <a:gd name="T25" fmla="*/ 196 h 198"/>
                <a:gd name="T26" fmla="*/ 181 w 343"/>
                <a:gd name="T27" fmla="*/ 191 h 198"/>
                <a:gd name="T28" fmla="*/ 175 w 343"/>
                <a:gd name="T29" fmla="*/ 188 h 198"/>
                <a:gd name="T30" fmla="*/ 169 w 343"/>
                <a:gd name="T31" fmla="*/ 184 h 198"/>
                <a:gd name="T32" fmla="*/ 160 w 343"/>
                <a:gd name="T33" fmla="*/ 179 h 198"/>
                <a:gd name="T34" fmla="*/ 154 w 343"/>
                <a:gd name="T35" fmla="*/ 176 h 198"/>
                <a:gd name="T36" fmla="*/ 143 w 343"/>
                <a:gd name="T37" fmla="*/ 169 h 198"/>
                <a:gd name="T38" fmla="*/ 130 w 343"/>
                <a:gd name="T39" fmla="*/ 159 h 198"/>
                <a:gd name="T40" fmla="*/ 117 w 343"/>
                <a:gd name="T41" fmla="*/ 148 h 198"/>
                <a:gd name="T42" fmla="*/ 104 w 343"/>
                <a:gd name="T43" fmla="*/ 136 h 198"/>
                <a:gd name="T44" fmla="*/ 94 w 343"/>
                <a:gd name="T45" fmla="*/ 127 h 198"/>
                <a:gd name="T46" fmla="*/ 45 w 343"/>
                <a:gd name="T47" fmla="*/ 83 h 198"/>
                <a:gd name="T48" fmla="*/ 22 w 343"/>
                <a:gd name="T49" fmla="*/ 76 h 198"/>
                <a:gd name="T50" fmla="*/ 14 w 343"/>
                <a:gd name="T51" fmla="*/ 71 h 198"/>
                <a:gd name="T52" fmla="*/ 4 w 343"/>
                <a:gd name="T53" fmla="*/ 66 h 198"/>
                <a:gd name="T54" fmla="*/ 13 w 343"/>
                <a:gd name="T55" fmla="*/ 23 h 198"/>
                <a:gd name="T56" fmla="*/ 25 w 343"/>
                <a:gd name="T57" fmla="*/ 10 h 198"/>
                <a:gd name="T58" fmla="*/ 53 w 343"/>
                <a:gd name="T59" fmla="*/ 1 h 198"/>
                <a:gd name="T60" fmla="*/ 62 w 343"/>
                <a:gd name="T61" fmla="*/ 4 h 198"/>
                <a:gd name="T62" fmla="*/ 69 w 343"/>
                <a:gd name="T63" fmla="*/ 6 h 198"/>
                <a:gd name="T64" fmla="*/ 75 w 343"/>
                <a:gd name="T65" fmla="*/ 9 h 198"/>
                <a:gd name="T66" fmla="*/ 79 w 343"/>
                <a:gd name="T67" fmla="*/ 11 h 198"/>
                <a:gd name="T68" fmla="*/ 87 w 343"/>
                <a:gd name="T69" fmla="*/ 14 h 198"/>
                <a:gd name="T70" fmla="*/ 93 w 343"/>
                <a:gd name="T71" fmla="*/ 17 h 198"/>
                <a:gd name="T72" fmla="*/ 99 w 343"/>
                <a:gd name="T73" fmla="*/ 19 h 198"/>
                <a:gd name="T74" fmla="*/ 106 w 343"/>
                <a:gd name="T75" fmla="*/ 22 h 198"/>
                <a:gd name="T76" fmla="*/ 114 w 343"/>
                <a:gd name="T77" fmla="*/ 25 h 198"/>
                <a:gd name="T78" fmla="*/ 127 w 343"/>
                <a:gd name="T79" fmla="*/ 27 h 198"/>
                <a:gd name="T80" fmla="*/ 146 w 343"/>
                <a:gd name="T81" fmla="*/ 25 h 198"/>
                <a:gd name="T82" fmla="*/ 199 w 343"/>
                <a:gd name="T83" fmla="*/ 9 h 198"/>
                <a:gd name="T84" fmla="*/ 210 w 343"/>
                <a:gd name="T85" fmla="*/ 8 h 198"/>
                <a:gd name="T86" fmla="*/ 248 w 343"/>
                <a:gd name="T87" fmla="*/ 18 h 198"/>
                <a:gd name="T88" fmla="*/ 256 w 343"/>
                <a:gd name="T89" fmla="*/ 24 h 198"/>
                <a:gd name="T90" fmla="*/ 269 w 343"/>
                <a:gd name="T91" fmla="*/ 38 h 198"/>
                <a:gd name="T92" fmla="*/ 273 w 343"/>
                <a:gd name="T93" fmla="*/ 45 h 198"/>
                <a:gd name="T94" fmla="*/ 277 w 343"/>
                <a:gd name="T95" fmla="*/ 52 h 198"/>
                <a:gd name="T96" fmla="*/ 279 w 343"/>
                <a:gd name="T97" fmla="*/ 56 h 198"/>
                <a:gd name="T98" fmla="*/ 281 w 343"/>
                <a:gd name="T99" fmla="*/ 60 h 198"/>
                <a:gd name="T100" fmla="*/ 284 w 343"/>
                <a:gd name="T101" fmla="*/ 64 h 198"/>
                <a:gd name="T102" fmla="*/ 288 w 343"/>
                <a:gd name="T103" fmla="*/ 72 h 198"/>
                <a:gd name="T104" fmla="*/ 294 w 343"/>
                <a:gd name="T105" fmla="*/ 78 h 198"/>
                <a:gd name="T106" fmla="*/ 310 w 343"/>
                <a:gd name="T107" fmla="*/ 82 h 198"/>
                <a:gd name="T108" fmla="*/ 324 w 343"/>
                <a:gd name="T109" fmla="*/ 82 h 198"/>
                <a:gd name="T110" fmla="*/ 330 w 343"/>
                <a:gd name="T111" fmla="*/ 87 h 198"/>
                <a:gd name="T112" fmla="*/ 336 w 343"/>
                <a:gd name="T113" fmla="*/ 91 h 198"/>
                <a:gd name="T114" fmla="*/ 343 w 343"/>
                <a:gd name="T115" fmla="*/ 96 h 198"/>
                <a:gd name="T116" fmla="*/ 334 w 343"/>
                <a:gd name="T117" fmla="*/ 107 h 198"/>
                <a:gd name="T118" fmla="*/ 326 w 343"/>
                <a:gd name="T119" fmla="*/ 117 h 198"/>
                <a:gd name="T120" fmla="*/ 314 w 343"/>
                <a:gd name="T121" fmla="*/ 130 h 198"/>
                <a:gd name="T122" fmla="*/ 296 w 343"/>
                <a:gd name="T123" fmla="*/ 142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43" h="198">
                  <a:moveTo>
                    <a:pt x="283" y="143"/>
                  </a:moveTo>
                  <a:cubicBezTo>
                    <a:pt x="283" y="144"/>
                    <a:pt x="282" y="145"/>
                    <a:pt x="282" y="146"/>
                  </a:cubicBezTo>
                  <a:cubicBezTo>
                    <a:pt x="282" y="146"/>
                    <a:pt x="282" y="146"/>
                    <a:pt x="282" y="146"/>
                  </a:cubicBezTo>
                  <a:cubicBezTo>
                    <a:pt x="282" y="146"/>
                    <a:pt x="282" y="146"/>
                    <a:pt x="281" y="146"/>
                  </a:cubicBezTo>
                  <a:cubicBezTo>
                    <a:pt x="281" y="147"/>
                    <a:pt x="281" y="148"/>
                    <a:pt x="281" y="148"/>
                  </a:cubicBezTo>
                  <a:cubicBezTo>
                    <a:pt x="281" y="148"/>
                    <a:pt x="281" y="148"/>
                    <a:pt x="281" y="148"/>
                  </a:cubicBezTo>
                  <a:cubicBezTo>
                    <a:pt x="281" y="149"/>
                    <a:pt x="280" y="149"/>
                    <a:pt x="280" y="150"/>
                  </a:cubicBezTo>
                  <a:cubicBezTo>
                    <a:pt x="280" y="150"/>
                    <a:pt x="280" y="150"/>
                    <a:pt x="280" y="150"/>
                  </a:cubicBezTo>
                  <a:cubicBezTo>
                    <a:pt x="280" y="150"/>
                    <a:pt x="280" y="151"/>
                    <a:pt x="280" y="151"/>
                  </a:cubicBezTo>
                  <a:cubicBezTo>
                    <a:pt x="280" y="151"/>
                    <a:pt x="279" y="151"/>
                    <a:pt x="279" y="151"/>
                  </a:cubicBezTo>
                  <a:cubicBezTo>
                    <a:pt x="279" y="151"/>
                    <a:pt x="279" y="151"/>
                    <a:pt x="279" y="152"/>
                  </a:cubicBezTo>
                  <a:cubicBezTo>
                    <a:pt x="279" y="152"/>
                    <a:pt x="279" y="152"/>
                    <a:pt x="279" y="152"/>
                  </a:cubicBezTo>
                  <a:cubicBezTo>
                    <a:pt x="279" y="152"/>
                    <a:pt x="279" y="152"/>
                    <a:pt x="279" y="152"/>
                  </a:cubicBezTo>
                  <a:cubicBezTo>
                    <a:pt x="279" y="152"/>
                    <a:pt x="279" y="152"/>
                    <a:pt x="279" y="152"/>
                  </a:cubicBezTo>
                  <a:cubicBezTo>
                    <a:pt x="279" y="153"/>
                    <a:pt x="278" y="153"/>
                    <a:pt x="278" y="154"/>
                  </a:cubicBezTo>
                  <a:cubicBezTo>
                    <a:pt x="278" y="154"/>
                    <a:pt x="278" y="154"/>
                    <a:pt x="278" y="154"/>
                  </a:cubicBezTo>
                  <a:cubicBezTo>
                    <a:pt x="278" y="154"/>
                    <a:pt x="278" y="154"/>
                    <a:pt x="278" y="155"/>
                  </a:cubicBezTo>
                  <a:cubicBezTo>
                    <a:pt x="278" y="155"/>
                    <a:pt x="278" y="155"/>
                    <a:pt x="278" y="155"/>
                  </a:cubicBezTo>
                  <a:cubicBezTo>
                    <a:pt x="278" y="155"/>
                    <a:pt x="278" y="155"/>
                    <a:pt x="278" y="155"/>
                  </a:cubicBezTo>
                  <a:cubicBezTo>
                    <a:pt x="277" y="155"/>
                    <a:pt x="277" y="155"/>
                    <a:pt x="277" y="155"/>
                  </a:cubicBezTo>
                  <a:cubicBezTo>
                    <a:pt x="277" y="156"/>
                    <a:pt x="277" y="156"/>
                    <a:pt x="277" y="156"/>
                  </a:cubicBezTo>
                  <a:cubicBezTo>
                    <a:pt x="277" y="156"/>
                    <a:pt x="277" y="156"/>
                    <a:pt x="277" y="156"/>
                  </a:cubicBezTo>
                  <a:cubicBezTo>
                    <a:pt x="277" y="156"/>
                    <a:pt x="277" y="157"/>
                    <a:pt x="277" y="157"/>
                  </a:cubicBezTo>
                  <a:cubicBezTo>
                    <a:pt x="277" y="157"/>
                    <a:pt x="277" y="157"/>
                    <a:pt x="277" y="157"/>
                  </a:cubicBezTo>
                  <a:cubicBezTo>
                    <a:pt x="276" y="158"/>
                    <a:pt x="276" y="160"/>
                    <a:pt x="275" y="160"/>
                  </a:cubicBezTo>
                  <a:cubicBezTo>
                    <a:pt x="275" y="160"/>
                    <a:pt x="275" y="160"/>
                    <a:pt x="274" y="160"/>
                  </a:cubicBezTo>
                  <a:cubicBezTo>
                    <a:pt x="274" y="160"/>
                    <a:pt x="274" y="160"/>
                    <a:pt x="274" y="161"/>
                  </a:cubicBezTo>
                  <a:cubicBezTo>
                    <a:pt x="274" y="161"/>
                    <a:pt x="273" y="161"/>
                    <a:pt x="273" y="161"/>
                  </a:cubicBezTo>
                  <a:cubicBezTo>
                    <a:pt x="273" y="161"/>
                    <a:pt x="273" y="161"/>
                    <a:pt x="273" y="161"/>
                  </a:cubicBezTo>
                  <a:cubicBezTo>
                    <a:pt x="273" y="162"/>
                    <a:pt x="272" y="162"/>
                    <a:pt x="272" y="162"/>
                  </a:cubicBezTo>
                  <a:cubicBezTo>
                    <a:pt x="272" y="162"/>
                    <a:pt x="271" y="162"/>
                    <a:pt x="271" y="162"/>
                  </a:cubicBezTo>
                  <a:cubicBezTo>
                    <a:pt x="271" y="163"/>
                    <a:pt x="270" y="163"/>
                    <a:pt x="270" y="163"/>
                  </a:cubicBezTo>
                  <a:cubicBezTo>
                    <a:pt x="270" y="163"/>
                    <a:pt x="270" y="163"/>
                    <a:pt x="270" y="163"/>
                  </a:cubicBezTo>
                  <a:cubicBezTo>
                    <a:pt x="269" y="164"/>
                    <a:pt x="269" y="164"/>
                    <a:pt x="268" y="164"/>
                  </a:cubicBezTo>
                  <a:cubicBezTo>
                    <a:pt x="268" y="164"/>
                    <a:pt x="268" y="164"/>
                    <a:pt x="268" y="165"/>
                  </a:cubicBezTo>
                  <a:cubicBezTo>
                    <a:pt x="268" y="165"/>
                    <a:pt x="267" y="165"/>
                    <a:pt x="267" y="165"/>
                  </a:cubicBezTo>
                  <a:cubicBezTo>
                    <a:pt x="267" y="165"/>
                    <a:pt x="267" y="165"/>
                    <a:pt x="267" y="165"/>
                  </a:cubicBezTo>
                  <a:cubicBezTo>
                    <a:pt x="266" y="165"/>
                    <a:pt x="266" y="165"/>
                    <a:pt x="265" y="166"/>
                  </a:cubicBezTo>
                  <a:cubicBezTo>
                    <a:pt x="265" y="166"/>
                    <a:pt x="265" y="166"/>
                    <a:pt x="265" y="166"/>
                  </a:cubicBezTo>
                  <a:cubicBezTo>
                    <a:pt x="265" y="166"/>
                    <a:pt x="264" y="167"/>
                    <a:pt x="264" y="167"/>
                  </a:cubicBezTo>
                  <a:cubicBezTo>
                    <a:pt x="264" y="167"/>
                    <a:pt x="264" y="167"/>
                    <a:pt x="264" y="167"/>
                  </a:cubicBezTo>
                  <a:cubicBezTo>
                    <a:pt x="263" y="167"/>
                    <a:pt x="263" y="167"/>
                    <a:pt x="263" y="167"/>
                  </a:cubicBezTo>
                  <a:cubicBezTo>
                    <a:pt x="262" y="168"/>
                    <a:pt x="262" y="168"/>
                    <a:pt x="262" y="168"/>
                  </a:cubicBezTo>
                  <a:cubicBezTo>
                    <a:pt x="262" y="168"/>
                    <a:pt x="262" y="168"/>
                    <a:pt x="262" y="168"/>
                  </a:cubicBezTo>
                  <a:cubicBezTo>
                    <a:pt x="262" y="168"/>
                    <a:pt x="262" y="168"/>
                    <a:pt x="262" y="168"/>
                  </a:cubicBezTo>
                  <a:cubicBezTo>
                    <a:pt x="261" y="168"/>
                    <a:pt x="261" y="168"/>
                    <a:pt x="261" y="168"/>
                  </a:cubicBezTo>
                  <a:cubicBezTo>
                    <a:pt x="261" y="169"/>
                    <a:pt x="261" y="169"/>
                    <a:pt x="260" y="169"/>
                  </a:cubicBezTo>
                  <a:cubicBezTo>
                    <a:pt x="260" y="169"/>
                    <a:pt x="260" y="169"/>
                    <a:pt x="259" y="169"/>
                  </a:cubicBezTo>
                  <a:cubicBezTo>
                    <a:pt x="259" y="170"/>
                    <a:pt x="259" y="170"/>
                    <a:pt x="259" y="170"/>
                  </a:cubicBezTo>
                  <a:cubicBezTo>
                    <a:pt x="258" y="170"/>
                    <a:pt x="258" y="170"/>
                    <a:pt x="258" y="170"/>
                  </a:cubicBezTo>
                  <a:cubicBezTo>
                    <a:pt x="258" y="170"/>
                    <a:pt x="258" y="171"/>
                    <a:pt x="258" y="171"/>
                  </a:cubicBezTo>
                  <a:cubicBezTo>
                    <a:pt x="257" y="171"/>
                    <a:pt x="257" y="171"/>
                    <a:pt x="256" y="171"/>
                  </a:cubicBezTo>
                  <a:cubicBezTo>
                    <a:pt x="256" y="171"/>
                    <a:pt x="256" y="172"/>
                    <a:pt x="256" y="172"/>
                  </a:cubicBezTo>
                  <a:cubicBezTo>
                    <a:pt x="255" y="172"/>
                    <a:pt x="255" y="172"/>
                    <a:pt x="255" y="172"/>
                  </a:cubicBezTo>
                  <a:cubicBezTo>
                    <a:pt x="254" y="172"/>
                    <a:pt x="254" y="173"/>
                    <a:pt x="254" y="173"/>
                  </a:cubicBezTo>
                  <a:cubicBezTo>
                    <a:pt x="254" y="173"/>
                    <a:pt x="253" y="173"/>
                    <a:pt x="253" y="173"/>
                  </a:cubicBezTo>
                  <a:cubicBezTo>
                    <a:pt x="253" y="173"/>
                    <a:pt x="253" y="174"/>
                    <a:pt x="253" y="174"/>
                  </a:cubicBezTo>
                  <a:cubicBezTo>
                    <a:pt x="252" y="174"/>
                    <a:pt x="252" y="174"/>
                    <a:pt x="252" y="174"/>
                  </a:cubicBezTo>
                  <a:cubicBezTo>
                    <a:pt x="252" y="174"/>
                    <a:pt x="251" y="174"/>
                    <a:pt x="251" y="175"/>
                  </a:cubicBezTo>
                  <a:cubicBezTo>
                    <a:pt x="251" y="175"/>
                    <a:pt x="251" y="175"/>
                    <a:pt x="251" y="175"/>
                  </a:cubicBezTo>
                  <a:cubicBezTo>
                    <a:pt x="251" y="175"/>
                    <a:pt x="251" y="175"/>
                    <a:pt x="251" y="175"/>
                  </a:cubicBezTo>
                  <a:cubicBezTo>
                    <a:pt x="250" y="175"/>
                    <a:pt x="250" y="175"/>
                    <a:pt x="250" y="175"/>
                  </a:cubicBezTo>
                  <a:cubicBezTo>
                    <a:pt x="250" y="175"/>
                    <a:pt x="250" y="175"/>
                    <a:pt x="250" y="176"/>
                  </a:cubicBezTo>
                  <a:cubicBezTo>
                    <a:pt x="249" y="176"/>
                    <a:pt x="249" y="176"/>
                    <a:pt x="249" y="176"/>
                  </a:cubicBezTo>
                  <a:cubicBezTo>
                    <a:pt x="249" y="176"/>
                    <a:pt x="249" y="176"/>
                    <a:pt x="249" y="176"/>
                  </a:cubicBezTo>
                  <a:cubicBezTo>
                    <a:pt x="248" y="177"/>
                    <a:pt x="248" y="176"/>
                    <a:pt x="248" y="177"/>
                  </a:cubicBezTo>
                  <a:cubicBezTo>
                    <a:pt x="248" y="177"/>
                    <a:pt x="248" y="177"/>
                    <a:pt x="248" y="177"/>
                  </a:cubicBezTo>
                  <a:cubicBezTo>
                    <a:pt x="247" y="178"/>
                    <a:pt x="247" y="179"/>
                    <a:pt x="247" y="179"/>
                  </a:cubicBezTo>
                  <a:cubicBezTo>
                    <a:pt x="247" y="179"/>
                    <a:pt x="247" y="179"/>
                    <a:pt x="247" y="179"/>
                  </a:cubicBezTo>
                  <a:cubicBezTo>
                    <a:pt x="247" y="180"/>
                    <a:pt x="247" y="180"/>
                    <a:pt x="247" y="180"/>
                  </a:cubicBezTo>
                  <a:cubicBezTo>
                    <a:pt x="247" y="180"/>
                    <a:pt x="247" y="180"/>
                    <a:pt x="246" y="180"/>
                  </a:cubicBezTo>
                  <a:cubicBezTo>
                    <a:pt x="246" y="181"/>
                    <a:pt x="246" y="181"/>
                    <a:pt x="246" y="181"/>
                  </a:cubicBezTo>
                  <a:cubicBezTo>
                    <a:pt x="246" y="181"/>
                    <a:pt x="246" y="181"/>
                    <a:pt x="246" y="181"/>
                  </a:cubicBezTo>
                  <a:cubicBezTo>
                    <a:pt x="246" y="182"/>
                    <a:pt x="246" y="182"/>
                    <a:pt x="246" y="182"/>
                  </a:cubicBezTo>
                  <a:cubicBezTo>
                    <a:pt x="246" y="182"/>
                    <a:pt x="246" y="182"/>
                    <a:pt x="246" y="182"/>
                  </a:cubicBezTo>
                  <a:cubicBezTo>
                    <a:pt x="246" y="183"/>
                    <a:pt x="246" y="183"/>
                    <a:pt x="246" y="183"/>
                  </a:cubicBezTo>
                  <a:cubicBezTo>
                    <a:pt x="246" y="183"/>
                    <a:pt x="246" y="183"/>
                    <a:pt x="245" y="183"/>
                  </a:cubicBezTo>
                  <a:cubicBezTo>
                    <a:pt x="245" y="184"/>
                    <a:pt x="245" y="184"/>
                    <a:pt x="245" y="184"/>
                  </a:cubicBezTo>
                  <a:cubicBezTo>
                    <a:pt x="245" y="184"/>
                    <a:pt x="245" y="184"/>
                    <a:pt x="245" y="184"/>
                  </a:cubicBezTo>
                  <a:cubicBezTo>
                    <a:pt x="245" y="185"/>
                    <a:pt x="245" y="185"/>
                    <a:pt x="245" y="186"/>
                  </a:cubicBezTo>
                  <a:cubicBezTo>
                    <a:pt x="245" y="186"/>
                    <a:pt x="245" y="186"/>
                    <a:pt x="245" y="186"/>
                  </a:cubicBezTo>
                  <a:cubicBezTo>
                    <a:pt x="245" y="186"/>
                    <a:pt x="245" y="186"/>
                    <a:pt x="245" y="187"/>
                  </a:cubicBezTo>
                  <a:cubicBezTo>
                    <a:pt x="245" y="187"/>
                    <a:pt x="244" y="187"/>
                    <a:pt x="244" y="187"/>
                  </a:cubicBezTo>
                  <a:cubicBezTo>
                    <a:pt x="244" y="187"/>
                    <a:pt x="244" y="187"/>
                    <a:pt x="244" y="188"/>
                  </a:cubicBezTo>
                  <a:cubicBezTo>
                    <a:pt x="244" y="188"/>
                    <a:pt x="244" y="188"/>
                    <a:pt x="244" y="188"/>
                  </a:cubicBezTo>
                  <a:cubicBezTo>
                    <a:pt x="244" y="188"/>
                    <a:pt x="244" y="189"/>
                    <a:pt x="244" y="190"/>
                  </a:cubicBezTo>
                  <a:cubicBezTo>
                    <a:pt x="244" y="190"/>
                    <a:pt x="243" y="190"/>
                    <a:pt x="243" y="190"/>
                  </a:cubicBezTo>
                  <a:cubicBezTo>
                    <a:pt x="243" y="190"/>
                    <a:pt x="243" y="190"/>
                    <a:pt x="242" y="190"/>
                  </a:cubicBezTo>
                  <a:cubicBezTo>
                    <a:pt x="242" y="191"/>
                    <a:pt x="242" y="191"/>
                    <a:pt x="242" y="191"/>
                  </a:cubicBezTo>
                  <a:cubicBezTo>
                    <a:pt x="242" y="191"/>
                    <a:pt x="241" y="191"/>
                    <a:pt x="241" y="191"/>
                  </a:cubicBezTo>
                  <a:cubicBezTo>
                    <a:pt x="241" y="191"/>
                    <a:pt x="241" y="191"/>
                    <a:pt x="241" y="191"/>
                  </a:cubicBezTo>
                  <a:cubicBezTo>
                    <a:pt x="241" y="191"/>
                    <a:pt x="241" y="191"/>
                    <a:pt x="241" y="191"/>
                  </a:cubicBezTo>
                  <a:cubicBezTo>
                    <a:pt x="241" y="191"/>
                    <a:pt x="241" y="191"/>
                    <a:pt x="241" y="191"/>
                  </a:cubicBezTo>
                  <a:cubicBezTo>
                    <a:pt x="240" y="191"/>
                    <a:pt x="240" y="191"/>
                    <a:pt x="240" y="191"/>
                  </a:cubicBezTo>
                  <a:cubicBezTo>
                    <a:pt x="240" y="192"/>
                    <a:pt x="240" y="192"/>
                    <a:pt x="240" y="192"/>
                  </a:cubicBezTo>
                  <a:cubicBezTo>
                    <a:pt x="240" y="192"/>
                    <a:pt x="239" y="192"/>
                    <a:pt x="239" y="192"/>
                  </a:cubicBezTo>
                  <a:cubicBezTo>
                    <a:pt x="239" y="192"/>
                    <a:pt x="239" y="192"/>
                    <a:pt x="239" y="193"/>
                  </a:cubicBezTo>
                  <a:cubicBezTo>
                    <a:pt x="239" y="193"/>
                    <a:pt x="238" y="193"/>
                    <a:pt x="238" y="193"/>
                  </a:cubicBezTo>
                  <a:cubicBezTo>
                    <a:pt x="238" y="193"/>
                    <a:pt x="238" y="193"/>
                    <a:pt x="238" y="193"/>
                  </a:cubicBezTo>
                  <a:cubicBezTo>
                    <a:pt x="238" y="193"/>
                    <a:pt x="238" y="193"/>
                    <a:pt x="237" y="193"/>
                  </a:cubicBezTo>
                  <a:cubicBezTo>
                    <a:pt x="237" y="193"/>
                    <a:pt x="237" y="193"/>
                    <a:pt x="237" y="193"/>
                  </a:cubicBezTo>
                  <a:cubicBezTo>
                    <a:pt x="237" y="193"/>
                    <a:pt x="237" y="193"/>
                    <a:pt x="237" y="193"/>
                  </a:cubicBezTo>
                  <a:cubicBezTo>
                    <a:pt x="237" y="193"/>
                    <a:pt x="237" y="193"/>
                    <a:pt x="237" y="194"/>
                  </a:cubicBezTo>
                  <a:cubicBezTo>
                    <a:pt x="236" y="194"/>
                    <a:pt x="236" y="194"/>
                    <a:pt x="236" y="194"/>
                  </a:cubicBezTo>
                  <a:cubicBezTo>
                    <a:pt x="236" y="194"/>
                    <a:pt x="236" y="194"/>
                    <a:pt x="236" y="194"/>
                  </a:cubicBezTo>
                  <a:cubicBezTo>
                    <a:pt x="236" y="194"/>
                    <a:pt x="236" y="194"/>
                    <a:pt x="235" y="194"/>
                  </a:cubicBezTo>
                  <a:cubicBezTo>
                    <a:pt x="235" y="194"/>
                    <a:pt x="235" y="194"/>
                    <a:pt x="235" y="194"/>
                  </a:cubicBezTo>
                  <a:cubicBezTo>
                    <a:pt x="235" y="194"/>
                    <a:pt x="235" y="194"/>
                    <a:pt x="235" y="194"/>
                  </a:cubicBezTo>
                  <a:cubicBezTo>
                    <a:pt x="235" y="194"/>
                    <a:pt x="235" y="194"/>
                    <a:pt x="235" y="195"/>
                  </a:cubicBezTo>
                  <a:cubicBezTo>
                    <a:pt x="234" y="195"/>
                    <a:pt x="234" y="195"/>
                    <a:pt x="234" y="195"/>
                  </a:cubicBezTo>
                  <a:cubicBezTo>
                    <a:pt x="234" y="195"/>
                    <a:pt x="234" y="195"/>
                    <a:pt x="234" y="195"/>
                  </a:cubicBezTo>
                  <a:cubicBezTo>
                    <a:pt x="234" y="195"/>
                    <a:pt x="233" y="195"/>
                    <a:pt x="233" y="195"/>
                  </a:cubicBezTo>
                  <a:cubicBezTo>
                    <a:pt x="233" y="195"/>
                    <a:pt x="233" y="195"/>
                    <a:pt x="233" y="195"/>
                  </a:cubicBezTo>
                  <a:cubicBezTo>
                    <a:pt x="233" y="195"/>
                    <a:pt x="233" y="195"/>
                    <a:pt x="232" y="195"/>
                  </a:cubicBezTo>
                  <a:cubicBezTo>
                    <a:pt x="232" y="195"/>
                    <a:pt x="232" y="196"/>
                    <a:pt x="232" y="196"/>
                  </a:cubicBezTo>
                  <a:cubicBezTo>
                    <a:pt x="232" y="196"/>
                    <a:pt x="232" y="196"/>
                    <a:pt x="231" y="196"/>
                  </a:cubicBezTo>
                  <a:cubicBezTo>
                    <a:pt x="231" y="196"/>
                    <a:pt x="231" y="196"/>
                    <a:pt x="231" y="197"/>
                  </a:cubicBezTo>
                  <a:cubicBezTo>
                    <a:pt x="230" y="197"/>
                    <a:pt x="230" y="197"/>
                    <a:pt x="230" y="197"/>
                  </a:cubicBezTo>
                  <a:cubicBezTo>
                    <a:pt x="230" y="197"/>
                    <a:pt x="230" y="197"/>
                    <a:pt x="230" y="197"/>
                  </a:cubicBezTo>
                  <a:cubicBezTo>
                    <a:pt x="229" y="197"/>
                    <a:pt x="229" y="198"/>
                    <a:pt x="228" y="198"/>
                  </a:cubicBezTo>
                  <a:cubicBezTo>
                    <a:pt x="228" y="198"/>
                    <a:pt x="228" y="198"/>
                    <a:pt x="228" y="198"/>
                  </a:cubicBezTo>
                  <a:cubicBezTo>
                    <a:pt x="227" y="198"/>
                    <a:pt x="227" y="198"/>
                    <a:pt x="227" y="198"/>
                  </a:cubicBezTo>
                  <a:cubicBezTo>
                    <a:pt x="227" y="198"/>
                    <a:pt x="227" y="198"/>
                    <a:pt x="227" y="198"/>
                  </a:cubicBezTo>
                  <a:cubicBezTo>
                    <a:pt x="225" y="198"/>
                    <a:pt x="223" y="198"/>
                    <a:pt x="221" y="198"/>
                  </a:cubicBezTo>
                  <a:cubicBezTo>
                    <a:pt x="221" y="198"/>
                    <a:pt x="221" y="198"/>
                    <a:pt x="221" y="197"/>
                  </a:cubicBezTo>
                  <a:cubicBezTo>
                    <a:pt x="218" y="197"/>
                    <a:pt x="216" y="197"/>
                    <a:pt x="214" y="197"/>
                  </a:cubicBezTo>
                  <a:cubicBezTo>
                    <a:pt x="214" y="197"/>
                    <a:pt x="214" y="197"/>
                    <a:pt x="214" y="197"/>
                  </a:cubicBezTo>
                  <a:cubicBezTo>
                    <a:pt x="211" y="197"/>
                    <a:pt x="209" y="197"/>
                    <a:pt x="206" y="197"/>
                  </a:cubicBezTo>
                  <a:cubicBezTo>
                    <a:pt x="205" y="197"/>
                    <a:pt x="203" y="197"/>
                    <a:pt x="202" y="197"/>
                  </a:cubicBezTo>
                  <a:cubicBezTo>
                    <a:pt x="202" y="197"/>
                    <a:pt x="202" y="196"/>
                    <a:pt x="202" y="196"/>
                  </a:cubicBezTo>
                  <a:cubicBezTo>
                    <a:pt x="201" y="196"/>
                    <a:pt x="200" y="196"/>
                    <a:pt x="199" y="196"/>
                  </a:cubicBezTo>
                  <a:cubicBezTo>
                    <a:pt x="196" y="196"/>
                    <a:pt x="193" y="196"/>
                    <a:pt x="190" y="196"/>
                  </a:cubicBezTo>
                  <a:cubicBezTo>
                    <a:pt x="190" y="196"/>
                    <a:pt x="190" y="196"/>
                    <a:pt x="190" y="196"/>
                  </a:cubicBezTo>
                  <a:cubicBezTo>
                    <a:pt x="189" y="196"/>
                    <a:pt x="189" y="196"/>
                    <a:pt x="188" y="196"/>
                  </a:cubicBezTo>
                  <a:cubicBezTo>
                    <a:pt x="188" y="195"/>
                    <a:pt x="188" y="195"/>
                    <a:pt x="188" y="195"/>
                  </a:cubicBezTo>
                  <a:cubicBezTo>
                    <a:pt x="187" y="195"/>
                    <a:pt x="187" y="194"/>
                    <a:pt x="186" y="194"/>
                  </a:cubicBezTo>
                  <a:cubicBezTo>
                    <a:pt x="186" y="194"/>
                    <a:pt x="186" y="194"/>
                    <a:pt x="186" y="194"/>
                  </a:cubicBezTo>
                  <a:cubicBezTo>
                    <a:pt x="185" y="193"/>
                    <a:pt x="184" y="193"/>
                    <a:pt x="184" y="193"/>
                  </a:cubicBezTo>
                  <a:cubicBezTo>
                    <a:pt x="183" y="193"/>
                    <a:pt x="183" y="192"/>
                    <a:pt x="183" y="192"/>
                  </a:cubicBezTo>
                  <a:cubicBezTo>
                    <a:pt x="182" y="192"/>
                    <a:pt x="182" y="192"/>
                    <a:pt x="181" y="191"/>
                  </a:cubicBezTo>
                  <a:cubicBezTo>
                    <a:pt x="181" y="191"/>
                    <a:pt x="181" y="191"/>
                    <a:pt x="181" y="191"/>
                  </a:cubicBezTo>
                  <a:cubicBezTo>
                    <a:pt x="180" y="191"/>
                    <a:pt x="179" y="190"/>
                    <a:pt x="179" y="190"/>
                  </a:cubicBezTo>
                  <a:cubicBezTo>
                    <a:pt x="179" y="190"/>
                    <a:pt x="178" y="190"/>
                    <a:pt x="178" y="189"/>
                  </a:cubicBezTo>
                  <a:cubicBezTo>
                    <a:pt x="178" y="189"/>
                    <a:pt x="178" y="189"/>
                    <a:pt x="178" y="189"/>
                  </a:cubicBezTo>
                  <a:cubicBezTo>
                    <a:pt x="178" y="189"/>
                    <a:pt x="178" y="189"/>
                    <a:pt x="178" y="189"/>
                  </a:cubicBezTo>
                  <a:cubicBezTo>
                    <a:pt x="177" y="189"/>
                    <a:pt x="177" y="189"/>
                    <a:pt x="177" y="189"/>
                  </a:cubicBezTo>
                  <a:cubicBezTo>
                    <a:pt x="177" y="189"/>
                    <a:pt x="177" y="189"/>
                    <a:pt x="177" y="189"/>
                  </a:cubicBezTo>
                  <a:cubicBezTo>
                    <a:pt x="177" y="189"/>
                    <a:pt x="176" y="189"/>
                    <a:pt x="176" y="189"/>
                  </a:cubicBezTo>
                  <a:cubicBezTo>
                    <a:pt x="176" y="188"/>
                    <a:pt x="176" y="188"/>
                    <a:pt x="176" y="188"/>
                  </a:cubicBezTo>
                  <a:cubicBezTo>
                    <a:pt x="176" y="188"/>
                    <a:pt x="175" y="188"/>
                    <a:pt x="175" y="188"/>
                  </a:cubicBezTo>
                  <a:cubicBezTo>
                    <a:pt x="175" y="188"/>
                    <a:pt x="175" y="188"/>
                    <a:pt x="175" y="188"/>
                  </a:cubicBezTo>
                  <a:cubicBezTo>
                    <a:pt x="175" y="188"/>
                    <a:pt x="175" y="188"/>
                    <a:pt x="174" y="188"/>
                  </a:cubicBezTo>
                  <a:cubicBezTo>
                    <a:pt x="174" y="187"/>
                    <a:pt x="174" y="187"/>
                    <a:pt x="174" y="187"/>
                  </a:cubicBezTo>
                  <a:cubicBezTo>
                    <a:pt x="174" y="187"/>
                    <a:pt x="174" y="187"/>
                    <a:pt x="174" y="187"/>
                  </a:cubicBezTo>
                  <a:cubicBezTo>
                    <a:pt x="174" y="187"/>
                    <a:pt x="173" y="187"/>
                    <a:pt x="173" y="187"/>
                  </a:cubicBezTo>
                  <a:cubicBezTo>
                    <a:pt x="173" y="187"/>
                    <a:pt x="173" y="187"/>
                    <a:pt x="173" y="187"/>
                  </a:cubicBezTo>
                  <a:cubicBezTo>
                    <a:pt x="173" y="186"/>
                    <a:pt x="173" y="186"/>
                    <a:pt x="173" y="186"/>
                  </a:cubicBezTo>
                  <a:cubicBezTo>
                    <a:pt x="172" y="186"/>
                    <a:pt x="172" y="186"/>
                    <a:pt x="171" y="186"/>
                  </a:cubicBezTo>
                  <a:cubicBezTo>
                    <a:pt x="171" y="186"/>
                    <a:pt x="171" y="185"/>
                    <a:pt x="171" y="185"/>
                  </a:cubicBezTo>
                  <a:cubicBezTo>
                    <a:pt x="170" y="185"/>
                    <a:pt x="170" y="185"/>
                    <a:pt x="169" y="184"/>
                  </a:cubicBezTo>
                  <a:cubicBezTo>
                    <a:pt x="169" y="184"/>
                    <a:pt x="169" y="184"/>
                    <a:pt x="168" y="184"/>
                  </a:cubicBezTo>
                  <a:cubicBezTo>
                    <a:pt x="168" y="184"/>
                    <a:pt x="167" y="183"/>
                    <a:pt x="166" y="183"/>
                  </a:cubicBezTo>
                  <a:cubicBezTo>
                    <a:pt x="166" y="183"/>
                    <a:pt x="166" y="183"/>
                    <a:pt x="166" y="182"/>
                  </a:cubicBezTo>
                  <a:cubicBezTo>
                    <a:pt x="165" y="182"/>
                    <a:pt x="165" y="182"/>
                    <a:pt x="164" y="182"/>
                  </a:cubicBezTo>
                  <a:cubicBezTo>
                    <a:pt x="164" y="181"/>
                    <a:pt x="164" y="181"/>
                    <a:pt x="164" y="181"/>
                  </a:cubicBezTo>
                  <a:cubicBezTo>
                    <a:pt x="163" y="181"/>
                    <a:pt x="162" y="181"/>
                    <a:pt x="161" y="180"/>
                  </a:cubicBezTo>
                  <a:cubicBezTo>
                    <a:pt x="161" y="180"/>
                    <a:pt x="161" y="180"/>
                    <a:pt x="161" y="180"/>
                  </a:cubicBezTo>
                  <a:cubicBezTo>
                    <a:pt x="161" y="180"/>
                    <a:pt x="161" y="180"/>
                    <a:pt x="160" y="180"/>
                  </a:cubicBezTo>
                  <a:cubicBezTo>
                    <a:pt x="160" y="179"/>
                    <a:pt x="160" y="179"/>
                    <a:pt x="160" y="179"/>
                  </a:cubicBezTo>
                  <a:cubicBezTo>
                    <a:pt x="160" y="179"/>
                    <a:pt x="160" y="179"/>
                    <a:pt x="160" y="179"/>
                  </a:cubicBezTo>
                  <a:cubicBezTo>
                    <a:pt x="160" y="179"/>
                    <a:pt x="160" y="179"/>
                    <a:pt x="160" y="179"/>
                  </a:cubicBezTo>
                  <a:cubicBezTo>
                    <a:pt x="160" y="179"/>
                    <a:pt x="159" y="179"/>
                    <a:pt x="159" y="179"/>
                  </a:cubicBezTo>
                  <a:cubicBezTo>
                    <a:pt x="159" y="179"/>
                    <a:pt x="159" y="178"/>
                    <a:pt x="159" y="178"/>
                  </a:cubicBezTo>
                  <a:cubicBezTo>
                    <a:pt x="158" y="178"/>
                    <a:pt x="157" y="178"/>
                    <a:pt x="157" y="177"/>
                  </a:cubicBezTo>
                  <a:cubicBezTo>
                    <a:pt x="156" y="177"/>
                    <a:pt x="156" y="177"/>
                    <a:pt x="156" y="177"/>
                  </a:cubicBezTo>
                  <a:cubicBezTo>
                    <a:pt x="156" y="177"/>
                    <a:pt x="156" y="177"/>
                    <a:pt x="156" y="177"/>
                  </a:cubicBezTo>
                  <a:cubicBezTo>
                    <a:pt x="156" y="177"/>
                    <a:pt x="156" y="177"/>
                    <a:pt x="156" y="176"/>
                  </a:cubicBezTo>
                  <a:cubicBezTo>
                    <a:pt x="155" y="176"/>
                    <a:pt x="155" y="176"/>
                    <a:pt x="155" y="176"/>
                  </a:cubicBezTo>
                  <a:cubicBezTo>
                    <a:pt x="155" y="176"/>
                    <a:pt x="155" y="176"/>
                    <a:pt x="155" y="176"/>
                  </a:cubicBezTo>
                  <a:cubicBezTo>
                    <a:pt x="155" y="176"/>
                    <a:pt x="154" y="176"/>
                    <a:pt x="154" y="176"/>
                  </a:cubicBezTo>
                  <a:cubicBezTo>
                    <a:pt x="154" y="176"/>
                    <a:pt x="154" y="176"/>
                    <a:pt x="154" y="175"/>
                  </a:cubicBezTo>
                  <a:cubicBezTo>
                    <a:pt x="153" y="175"/>
                    <a:pt x="152" y="175"/>
                    <a:pt x="152" y="175"/>
                  </a:cubicBezTo>
                  <a:cubicBezTo>
                    <a:pt x="152" y="174"/>
                    <a:pt x="151" y="174"/>
                    <a:pt x="151" y="174"/>
                  </a:cubicBezTo>
                  <a:cubicBezTo>
                    <a:pt x="151" y="174"/>
                    <a:pt x="150" y="174"/>
                    <a:pt x="149" y="173"/>
                  </a:cubicBezTo>
                  <a:cubicBezTo>
                    <a:pt x="149" y="173"/>
                    <a:pt x="149" y="173"/>
                    <a:pt x="149" y="173"/>
                  </a:cubicBezTo>
                  <a:cubicBezTo>
                    <a:pt x="148" y="172"/>
                    <a:pt x="147" y="172"/>
                    <a:pt x="147" y="172"/>
                  </a:cubicBezTo>
                  <a:cubicBezTo>
                    <a:pt x="147" y="172"/>
                    <a:pt x="147" y="171"/>
                    <a:pt x="146" y="171"/>
                  </a:cubicBezTo>
                  <a:cubicBezTo>
                    <a:pt x="146" y="171"/>
                    <a:pt x="145" y="171"/>
                    <a:pt x="144" y="170"/>
                  </a:cubicBezTo>
                  <a:cubicBezTo>
                    <a:pt x="144" y="170"/>
                    <a:pt x="144" y="170"/>
                    <a:pt x="144" y="170"/>
                  </a:cubicBezTo>
                  <a:cubicBezTo>
                    <a:pt x="144" y="170"/>
                    <a:pt x="143" y="170"/>
                    <a:pt x="143" y="169"/>
                  </a:cubicBezTo>
                  <a:cubicBezTo>
                    <a:pt x="142" y="169"/>
                    <a:pt x="142" y="169"/>
                    <a:pt x="142" y="168"/>
                  </a:cubicBezTo>
                  <a:cubicBezTo>
                    <a:pt x="142" y="168"/>
                    <a:pt x="141" y="168"/>
                    <a:pt x="141" y="168"/>
                  </a:cubicBezTo>
                  <a:cubicBezTo>
                    <a:pt x="140" y="167"/>
                    <a:pt x="140" y="167"/>
                    <a:pt x="139" y="166"/>
                  </a:cubicBezTo>
                  <a:cubicBezTo>
                    <a:pt x="139" y="166"/>
                    <a:pt x="139" y="166"/>
                    <a:pt x="138" y="166"/>
                  </a:cubicBezTo>
                  <a:cubicBezTo>
                    <a:pt x="138" y="165"/>
                    <a:pt x="137" y="164"/>
                    <a:pt x="136" y="163"/>
                  </a:cubicBezTo>
                  <a:cubicBezTo>
                    <a:pt x="136" y="163"/>
                    <a:pt x="136" y="163"/>
                    <a:pt x="136" y="163"/>
                  </a:cubicBezTo>
                  <a:cubicBezTo>
                    <a:pt x="135" y="163"/>
                    <a:pt x="134" y="162"/>
                    <a:pt x="134" y="161"/>
                  </a:cubicBezTo>
                  <a:cubicBezTo>
                    <a:pt x="134" y="161"/>
                    <a:pt x="133" y="161"/>
                    <a:pt x="133" y="161"/>
                  </a:cubicBezTo>
                  <a:cubicBezTo>
                    <a:pt x="132" y="161"/>
                    <a:pt x="132" y="160"/>
                    <a:pt x="131" y="159"/>
                  </a:cubicBezTo>
                  <a:cubicBezTo>
                    <a:pt x="131" y="159"/>
                    <a:pt x="131" y="159"/>
                    <a:pt x="130" y="159"/>
                  </a:cubicBezTo>
                  <a:cubicBezTo>
                    <a:pt x="130" y="158"/>
                    <a:pt x="129" y="158"/>
                    <a:pt x="129" y="157"/>
                  </a:cubicBezTo>
                  <a:cubicBezTo>
                    <a:pt x="128" y="157"/>
                    <a:pt x="128" y="157"/>
                    <a:pt x="128" y="157"/>
                  </a:cubicBezTo>
                  <a:cubicBezTo>
                    <a:pt x="127" y="156"/>
                    <a:pt x="127" y="155"/>
                    <a:pt x="126" y="154"/>
                  </a:cubicBezTo>
                  <a:cubicBezTo>
                    <a:pt x="126" y="154"/>
                    <a:pt x="125" y="154"/>
                    <a:pt x="125" y="154"/>
                  </a:cubicBezTo>
                  <a:cubicBezTo>
                    <a:pt x="125" y="154"/>
                    <a:pt x="124" y="153"/>
                    <a:pt x="123" y="152"/>
                  </a:cubicBezTo>
                  <a:cubicBezTo>
                    <a:pt x="123" y="152"/>
                    <a:pt x="123" y="152"/>
                    <a:pt x="123" y="152"/>
                  </a:cubicBezTo>
                  <a:cubicBezTo>
                    <a:pt x="122" y="151"/>
                    <a:pt x="121" y="151"/>
                    <a:pt x="121" y="150"/>
                  </a:cubicBezTo>
                  <a:cubicBezTo>
                    <a:pt x="120" y="150"/>
                    <a:pt x="120" y="150"/>
                    <a:pt x="120" y="150"/>
                  </a:cubicBezTo>
                  <a:cubicBezTo>
                    <a:pt x="119" y="149"/>
                    <a:pt x="119" y="148"/>
                    <a:pt x="118" y="148"/>
                  </a:cubicBezTo>
                  <a:cubicBezTo>
                    <a:pt x="118" y="148"/>
                    <a:pt x="118" y="148"/>
                    <a:pt x="117" y="148"/>
                  </a:cubicBezTo>
                  <a:cubicBezTo>
                    <a:pt x="117" y="147"/>
                    <a:pt x="116" y="146"/>
                    <a:pt x="115" y="145"/>
                  </a:cubicBezTo>
                  <a:cubicBezTo>
                    <a:pt x="115" y="145"/>
                    <a:pt x="115" y="145"/>
                    <a:pt x="115" y="145"/>
                  </a:cubicBezTo>
                  <a:cubicBezTo>
                    <a:pt x="114" y="145"/>
                    <a:pt x="113" y="144"/>
                    <a:pt x="113" y="143"/>
                  </a:cubicBezTo>
                  <a:cubicBezTo>
                    <a:pt x="113" y="143"/>
                    <a:pt x="112" y="143"/>
                    <a:pt x="112" y="143"/>
                  </a:cubicBezTo>
                  <a:cubicBezTo>
                    <a:pt x="111" y="142"/>
                    <a:pt x="111" y="142"/>
                    <a:pt x="110" y="141"/>
                  </a:cubicBezTo>
                  <a:cubicBezTo>
                    <a:pt x="110" y="141"/>
                    <a:pt x="110" y="141"/>
                    <a:pt x="109" y="141"/>
                  </a:cubicBezTo>
                  <a:cubicBezTo>
                    <a:pt x="109" y="140"/>
                    <a:pt x="108" y="139"/>
                    <a:pt x="108" y="139"/>
                  </a:cubicBezTo>
                  <a:cubicBezTo>
                    <a:pt x="107" y="139"/>
                    <a:pt x="107" y="139"/>
                    <a:pt x="107" y="139"/>
                  </a:cubicBezTo>
                  <a:cubicBezTo>
                    <a:pt x="106" y="138"/>
                    <a:pt x="106" y="137"/>
                    <a:pt x="105" y="136"/>
                  </a:cubicBezTo>
                  <a:cubicBezTo>
                    <a:pt x="105" y="136"/>
                    <a:pt x="104" y="136"/>
                    <a:pt x="104" y="136"/>
                  </a:cubicBezTo>
                  <a:cubicBezTo>
                    <a:pt x="104" y="136"/>
                    <a:pt x="104" y="136"/>
                    <a:pt x="103" y="135"/>
                  </a:cubicBezTo>
                  <a:cubicBezTo>
                    <a:pt x="103" y="135"/>
                    <a:pt x="103" y="135"/>
                    <a:pt x="102" y="134"/>
                  </a:cubicBezTo>
                  <a:cubicBezTo>
                    <a:pt x="102" y="134"/>
                    <a:pt x="102" y="134"/>
                    <a:pt x="102" y="134"/>
                  </a:cubicBezTo>
                  <a:cubicBezTo>
                    <a:pt x="102" y="134"/>
                    <a:pt x="102" y="134"/>
                    <a:pt x="102" y="134"/>
                  </a:cubicBezTo>
                  <a:cubicBezTo>
                    <a:pt x="101" y="133"/>
                    <a:pt x="100" y="132"/>
                    <a:pt x="100" y="132"/>
                  </a:cubicBezTo>
                  <a:cubicBezTo>
                    <a:pt x="99" y="132"/>
                    <a:pt x="99" y="132"/>
                    <a:pt x="99" y="132"/>
                  </a:cubicBezTo>
                  <a:cubicBezTo>
                    <a:pt x="98" y="131"/>
                    <a:pt x="98" y="130"/>
                    <a:pt x="97" y="130"/>
                  </a:cubicBezTo>
                  <a:cubicBezTo>
                    <a:pt x="97" y="130"/>
                    <a:pt x="97" y="130"/>
                    <a:pt x="96" y="130"/>
                  </a:cubicBezTo>
                  <a:cubicBezTo>
                    <a:pt x="96" y="129"/>
                    <a:pt x="95" y="128"/>
                    <a:pt x="94" y="127"/>
                  </a:cubicBezTo>
                  <a:cubicBezTo>
                    <a:pt x="94" y="127"/>
                    <a:pt x="94" y="127"/>
                    <a:pt x="94" y="127"/>
                  </a:cubicBezTo>
                  <a:cubicBezTo>
                    <a:pt x="93" y="126"/>
                    <a:pt x="92" y="125"/>
                    <a:pt x="91" y="124"/>
                  </a:cubicBezTo>
                  <a:cubicBezTo>
                    <a:pt x="89" y="122"/>
                    <a:pt x="87" y="120"/>
                    <a:pt x="85" y="118"/>
                  </a:cubicBezTo>
                  <a:cubicBezTo>
                    <a:pt x="77" y="111"/>
                    <a:pt x="70" y="103"/>
                    <a:pt x="63" y="96"/>
                  </a:cubicBezTo>
                  <a:cubicBezTo>
                    <a:pt x="62" y="95"/>
                    <a:pt x="61" y="94"/>
                    <a:pt x="60" y="93"/>
                  </a:cubicBezTo>
                  <a:cubicBezTo>
                    <a:pt x="58" y="91"/>
                    <a:pt x="56" y="89"/>
                    <a:pt x="54" y="87"/>
                  </a:cubicBezTo>
                  <a:cubicBezTo>
                    <a:pt x="53" y="86"/>
                    <a:pt x="52" y="85"/>
                    <a:pt x="50" y="84"/>
                  </a:cubicBezTo>
                  <a:cubicBezTo>
                    <a:pt x="49" y="84"/>
                    <a:pt x="48" y="84"/>
                    <a:pt x="47" y="84"/>
                  </a:cubicBezTo>
                  <a:cubicBezTo>
                    <a:pt x="47" y="84"/>
                    <a:pt x="47" y="84"/>
                    <a:pt x="47" y="83"/>
                  </a:cubicBezTo>
                  <a:cubicBezTo>
                    <a:pt x="46" y="83"/>
                    <a:pt x="46" y="83"/>
                    <a:pt x="45" y="83"/>
                  </a:cubicBezTo>
                  <a:cubicBezTo>
                    <a:pt x="45" y="83"/>
                    <a:pt x="45" y="83"/>
                    <a:pt x="45" y="83"/>
                  </a:cubicBezTo>
                  <a:cubicBezTo>
                    <a:pt x="45" y="83"/>
                    <a:pt x="44" y="83"/>
                    <a:pt x="44" y="83"/>
                  </a:cubicBezTo>
                  <a:cubicBezTo>
                    <a:pt x="40" y="82"/>
                    <a:pt x="35" y="81"/>
                    <a:pt x="31" y="80"/>
                  </a:cubicBezTo>
                  <a:cubicBezTo>
                    <a:pt x="30" y="80"/>
                    <a:pt x="28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6" y="79"/>
                    <a:pt x="26" y="79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4" y="78"/>
                    <a:pt x="24" y="77"/>
                    <a:pt x="23" y="77"/>
                  </a:cubicBezTo>
                  <a:cubicBezTo>
                    <a:pt x="23" y="77"/>
                    <a:pt x="23" y="77"/>
                    <a:pt x="23" y="76"/>
                  </a:cubicBezTo>
                  <a:cubicBezTo>
                    <a:pt x="22" y="76"/>
                    <a:pt x="22" y="76"/>
                    <a:pt x="22" y="76"/>
                  </a:cubicBezTo>
                  <a:cubicBezTo>
                    <a:pt x="22" y="76"/>
                    <a:pt x="22" y="76"/>
                    <a:pt x="22" y="76"/>
                  </a:cubicBezTo>
                  <a:cubicBezTo>
                    <a:pt x="22" y="76"/>
                    <a:pt x="21" y="76"/>
                    <a:pt x="21" y="76"/>
                  </a:cubicBezTo>
                  <a:cubicBezTo>
                    <a:pt x="21" y="76"/>
                    <a:pt x="21" y="76"/>
                    <a:pt x="21" y="75"/>
                  </a:cubicBezTo>
                  <a:cubicBezTo>
                    <a:pt x="20" y="75"/>
                    <a:pt x="19" y="75"/>
                    <a:pt x="19" y="75"/>
                  </a:cubicBezTo>
                  <a:cubicBezTo>
                    <a:pt x="19" y="74"/>
                    <a:pt x="19" y="74"/>
                    <a:pt x="18" y="74"/>
                  </a:cubicBezTo>
                  <a:cubicBezTo>
                    <a:pt x="18" y="74"/>
                    <a:pt x="18" y="74"/>
                    <a:pt x="17" y="74"/>
                  </a:cubicBezTo>
                  <a:cubicBezTo>
                    <a:pt x="17" y="73"/>
                    <a:pt x="17" y="73"/>
                    <a:pt x="17" y="73"/>
                  </a:cubicBezTo>
                  <a:cubicBezTo>
                    <a:pt x="16" y="73"/>
                    <a:pt x="15" y="72"/>
                    <a:pt x="15" y="72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14" y="71"/>
                    <a:pt x="14" y="71"/>
                    <a:pt x="14" y="71"/>
                  </a:cubicBezTo>
                  <a:cubicBezTo>
                    <a:pt x="13" y="71"/>
                    <a:pt x="13" y="71"/>
                    <a:pt x="13" y="71"/>
                  </a:cubicBezTo>
                  <a:cubicBezTo>
                    <a:pt x="13" y="71"/>
                    <a:pt x="13" y="71"/>
                    <a:pt x="12" y="70"/>
                  </a:cubicBezTo>
                  <a:cubicBezTo>
                    <a:pt x="12" y="70"/>
                    <a:pt x="11" y="70"/>
                    <a:pt x="10" y="70"/>
                  </a:cubicBezTo>
                  <a:cubicBezTo>
                    <a:pt x="10" y="70"/>
                    <a:pt x="10" y="69"/>
                    <a:pt x="10" y="69"/>
                  </a:cubicBezTo>
                  <a:cubicBezTo>
                    <a:pt x="10" y="69"/>
                    <a:pt x="9" y="69"/>
                    <a:pt x="9" y="69"/>
                  </a:cubicBezTo>
                  <a:cubicBezTo>
                    <a:pt x="9" y="68"/>
                    <a:pt x="8" y="68"/>
                    <a:pt x="8" y="68"/>
                  </a:cubicBezTo>
                  <a:cubicBezTo>
                    <a:pt x="8" y="68"/>
                    <a:pt x="7" y="68"/>
                    <a:pt x="6" y="67"/>
                  </a:cubicBezTo>
                  <a:cubicBezTo>
                    <a:pt x="6" y="67"/>
                    <a:pt x="6" y="67"/>
                    <a:pt x="6" y="67"/>
                  </a:cubicBezTo>
                  <a:cubicBezTo>
                    <a:pt x="5" y="66"/>
                    <a:pt x="5" y="66"/>
                    <a:pt x="4" y="66"/>
                  </a:cubicBezTo>
                  <a:cubicBezTo>
                    <a:pt x="4" y="66"/>
                    <a:pt x="4" y="66"/>
                    <a:pt x="4" y="66"/>
                  </a:cubicBezTo>
                  <a:cubicBezTo>
                    <a:pt x="4" y="65"/>
                    <a:pt x="3" y="65"/>
                    <a:pt x="3" y="65"/>
                  </a:cubicBezTo>
                  <a:cubicBezTo>
                    <a:pt x="2" y="65"/>
                    <a:pt x="2" y="64"/>
                    <a:pt x="0" y="64"/>
                  </a:cubicBezTo>
                  <a:cubicBezTo>
                    <a:pt x="0" y="55"/>
                    <a:pt x="0" y="46"/>
                    <a:pt x="0" y="37"/>
                  </a:cubicBezTo>
                  <a:cubicBezTo>
                    <a:pt x="1" y="36"/>
                    <a:pt x="2" y="35"/>
                    <a:pt x="3" y="3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4" y="33"/>
                    <a:pt x="5" y="32"/>
                    <a:pt x="6" y="31"/>
                  </a:cubicBezTo>
                  <a:cubicBezTo>
                    <a:pt x="6" y="31"/>
                    <a:pt x="6" y="30"/>
                    <a:pt x="7" y="30"/>
                  </a:cubicBezTo>
                  <a:cubicBezTo>
                    <a:pt x="8" y="29"/>
                    <a:pt x="9" y="28"/>
                    <a:pt x="10" y="27"/>
                  </a:cubicBezTo>
                  <a:cubicBezTo>
                    <a:pt x="10" y="27"/>
                    <a:pt x="10" y="27"/>
                    <a:pt x="10" y="26"/>
                  </a:cubicBezTo>
                  <a:cubicBezTo>
                    <a:pt x="11" y="25"/>
                    <a:pt x="12" y="24"/>
                    <a:pt x="13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4" y="21"/>
                    <a:pt x="16" y="20"/>
                    <a:pt x="17" y="19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8" y="18"/>
                    <a:pt x="19" y="17"/>
                    <a:pt x="19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1" y="14"/>
                    <a:pt x="23" y="13"/>
                    <a:pt x="24" y="12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5" y="10"/>
                    <a:pt x="25" y="10"/>
                  </a:cubicBezTo>
                  <a:cubicBezTo>
                    <a:pt x="26" y="9"/>
                    <a:pt x="26" y="9"/>
                    <a:pt x="26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7" y="8"/>
                    <a:pt x="27" y="7"/>
                    <a:pt x="27" y="7"/>
                  </a:cubicBezTo>
                  <a:cubicBezTo>
                    <a:pt x="27" y="7"/>
                    <a:pt x="28" y="7"/>
                    <a:pt x="28" y="7"/>
                  </a:cubicBezTo>
                  <a:cubicBezTo>
                    <a:pt x="29" y="6"/>
                    <a:pt x="31" y="4"/>
                    <a:pt x="31" y="2"/>
                  </a:cubicBezTo>
                  <a:cubicBezTo>
                    <a:pt x="34" y="2"/>
                    <a:pt x="37" y="1"/>
                    <a:pt x="39" y="1"/>
                  </a:cubicBezTo>
                  <a:cubicBezTo>
                    <a:pt x="41" y="0"/>
                    <a:pt x="43" y="0"/>
                    <a:pt x="44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5" y="0"/>
                    <a:pt x="47" y="0"/>
                    <a:pt x="48" y="0"/>
                  </a:cubicBezTo>
                  <a:cubicBezTo>
                    <a:pt x="50" y="0"/>
                    <a:pt x="52" y="1"/>
                    <a:pt x="53" y="1"/>
                  </a:cubicBezTo>
                  <a:cubicBezTo>
                    <a:pt x="54" y="1"/>
                    <a:pt x="54" y="1"/>
                    <a:pt x="55" y="1"/>
                  </a:cubicBezTo>
                  <a:cubicBezTo>
                    <a:pt x="55" y="1"/>
                    <a:pt x="55" y="1"/>
                    <a:pt x="55" y="2"/>
                  </a:cubicBezTo>
                  <a:cubicBezTo>
                    <a:pt x="56" y="2"/>
                    <a:pt x="56" y="2"/>
                    <a:pt x="57" y="2"/>
                  </a:cubicBezTo>
                  <a:cubicBezTo>
                    <a:pt x="57" y="2"/>
                    <a:pt x="57" y="2"/>
                    <a:pt x="57" y="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8" y="2"/>
                    <a:pt x="58" y="2"/>
                    <a:pt x="58" y="3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60" y="3"/>
                    <a:pt x="61" y="3"/>
                    <a:pt x="62" y="3"/>
                  </a:cubicBezTo>
                  <a:cubicBezTo>
                    <a:pt x="62" y="3"/>
                    <a:pt x="62" y="4"/>
                    <a:pt x="62" y="4"/>
                  </a:cubicBezTo>
                  <a:cubicBezTo>
                    <a:pt x="62" y="4"/>
                    <a:pt x="62" y="4"/>
                    <a:pt x="63" y="4"/>
                  </a:cubicBezTo>
                  <a:cubicBezTo>
                    <a:pt x="63" y="4"/>
                    <a:pt x="63" y="4"/>
                    <a:pt x="63" y="4"/>
                  </a:cubicBezTo>
                  <a:cubicBezTo>
                    <a:pt x="64" y="4"/>
                    <a:pt x="65" y="4"/>
                    <a:pt x="66" y="5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7" y="5"/>
                    <a:pt x="67" y="5"/>
                    <a:pt x="67" y="5"/>
                  </a:cubicBezTo>
                  <a:cubicBezTo>
                    <a:pt x="67" y="6"/>
                    <a:pt x="67" y="6"/>
                    <a:pt x="67" y="6"/>
                  </a:cubicBezTo>
                  <a:cubicBezTo>
                    <a:pt x="68" y="6"/>
                    <a:pt x="69" y="6"/>
                    <a:pt x="69" y="6"/>
                  </a:cubicBezTo>
                  <a:cubicBezTo>
                    <a:pt x="69" y="6"/>
                    <a:pt x="69" y="6"/>
                    <a:pt x="69" y="6"/>
                  </a:cubicBezTo>
                  <a:cubicBezTo>
                    <a:pt x="69" y="6"/>
                    <a:pt x="70" y="6"/>
                    <a:pt x="70" y="6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70" y="7"/>
                    <a:pt x="71" y="7"/>
                    <a:pt x="71" y="7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71" y="7"/>
                    <a:pt x="72" y="7"/>
                    <a:pt x="72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4" y="8"/>
                    <a:pt x="74" y="8"/>
                    <a:pt x="75" y="9"/>
                  </a:cubicBezTo>
                  <a:cubicBezTo>
                    <a:pt x="75" y="9"/>
                    <a:pt x="75" y="9"/>
                    <a:pt x="75" y="9"/>
                  </a:cubicBezTo>
                  <a:cubicBezTo>
                    <a:pt x="75" y="9"/>
                    <a:pt x="75" y="9"/>
                    <a:pt x="76" y="9"/>
                  </a:cubicBezTo>
                  <a:cubicBezTo>
                    <a:pt x="76" y="9"/>
                    <a:pt x="76" y="9"/>
                    <a:pt x="76" y="9"/>
                  </a:cubicBezTo>
                  <a:cubicBezTo>
                    <a:pt x="76" y="9"/>
                    <a:pt x="76" y="9"/>
                    <a:pt x="76" y="9"/>
                  </a:cubicBezTo>
                  <a:cubicBezTo>
                    <a:pt x="76" y="9"/>
                    <a:pt x="76" y="9"/>
                    <a:pt x="76" y="10"/>
                  </a:cubicBezTo>
                  <a:cubicBezTo>
                    <a:pt x="77" y="10"/>
                    <a:pt x="77" y="10"/>
                    <a:pt x="77" y="10"/>
                  </a:cubicBezTo>
                  <a:cubicBezTo>
                    <a:pt x="77" y="10"/>
                    <a:pt x="77" y="10"/>
                    <a:pt x="77" y="10"/>
                  </a:cubicBezTo>
                  <a:cubicBezTo>
                    <a:pt x="77" y="10"/>
                    <a:pt x="78" y="10"/>
                    <a:pt x="78" y="10"/>
                  </a:cubicBezTo>
                  <a:cubicBezTo>
                    <a:pt x="78" y="10"/>
                    <a:pt x="78" y="10"/>
                    <a:pt x="78" y="10"/>
                  </a:cubicBezTo>
                  <a:cubicBezTo>
                    <a:pt x="78" y="10"/>
                    <a:pt x="79" y="10"/>
                    <a:pt x="79" y="10"/>
                  </a:cubicBezTo>
                  <a:cubicBezTo>
                    <a:pt x="79" y="10"/>
                    <a:pt x="79" y="11"/>
                    <a:pt x="79" y="11"/>
                  </a:cubicBezTo>
                  <a:cubicBezTo>
                    <a:pt x="79" y="11"/>
                    <a:pt x="79" y="11"/>
                    <a:pt x="80" y="11"/>
                  </a:cubicBezTo>
                  <a:cubicBezTo>
                    <a:pt x="80" y="11"/>
                    <a:pt x="80" y="11"/>
                    <a:pt x="80" y="11"/>
                  </a:cubicBezTo>
                  <a:cubicBezTo>
                    <a:pt x="80" y="11"/>
                    <a:pt x="81" y="11"/>
                    <a:pt x="82" y="12"/>
                  </a:cubicBezTo>
                  <a:cubicBezTo>
                    <a:pt x="82" y="12"/>
                    <a:pt x="82" y="12"/>
                    <a:pt x="82" y="12"/>
                  </a:cubicBezTo>
                  <a:cubicBezTo>
                    <a:pt x="82" y="12"/>
                    <a:pt x="83" y="12"/>
                    <a:pt x="83" y="12"/>
                  </a:cubicBezTo>
                  <a:cubicBezTo>
                    <a:pt x="83" y="13"/>
                    <a:pt x="83" y="13"/>
                    <a:pt x="83" y="13"/>
                  </a:cubicBezTo>
                  <a:cubicBezTo>
                    <a:pt x="84" y="13"/>
                    <a:pt x="85" y="13"/>
                    <a:pt x="86" y="13"/>
                  </a:cubicBezTo>
                  <a:cubicBezTo>
                    <a:pt x="86" y="14"/>
                    <a:pt x="86" y="14"/>
                    <a:pt x="86" y="14"/>
                  </a:cubicBezTo>
                  <a:cubicBezTo>
                    <a:pt x="86" y="14"/>
                    <a:pt x="86" y="14"/>
                    <a:pt x="87" y="14"/>
                  </a:cubicBezTo>
                  <a:cubicBezTo>
                    <a:pt x="87" y="14"/>
                    <a:pt x="87" y="14"/>
                    <a:pt x="87" y="14"/>
                  </a:cubicBezTo>
                  <a:cubicBezTo>
                    <a:pt x="87" y="14"/>
                    <a:pt x="87" y="14"/>
                    <a:pt x="87" y="14"/>
                  </a:cubicBezTo>
                  <a:cubicBezTo>
                    <a:pt x="87" y="14"/>
                    <a:pt x="87" y="14"/>
                    <a:pt x="87" y="14"/>
                  </a:cubicBezTo>
                  <a:cubicBezTo>
                    <a:pt x="88" y="15"/>
                    <a:pt x="89" y="15"/>
                    <a:pt x="89" y="15"/>
                  </a:cubicBezTo>
                  <a:cubicBezTo>
                    <a:pt x="89" y="15"/>
                    <a:pt x="89" y="15"/>
                    <a:pt x="89" y="16"/>
                  </a:cubicBezTo>
                  <a:cubicBezTo>
                    <a:pt x="90" y="16"/>
                    <a:pt x="90" y="16"/>
                    <a:pt x="90" y="16"/>
                  </a:cubicBezTo>
                  <a:cubicBezTo>
                    <a:pt x="90" y="16"/>
                    <a:pt x="90" y="16"/>
                    <a:pt x="90" y="16"/>
                  </a:cubicBezTo>
                  <a:cubicBezTo>
                    <a:pt x="91" y="16"/>
                    <a:pt x="91" y="16"/>
                    <a:pt x="91" y="16"/>
                  </a:cubicBezTo>
                  <a:cubicBezTo>
                    <a:pt x="91" y="16"/>
                    <a:pt x="91" y="16"/>
                    <a:pt x="91" y="16"/>
                  </a:cubicBezTo>
                  <a:cubicBezTo>
                    <a:pt x="92" y="16"/>
                    <a:pt x="92" y="16"/>
                    <a:pt x="93" y="17"/>
                  </a:cubicBezTo>
                  <a:cubicBezTo>
                    <a:pt x="93" y="17"/>
                    <a:pt x="93" y="17"/>
                    <a:pt x="93" y="17"/>
                  </a:cubicBezTo>
                  <a:cubicBezTo>
                    <a:pt x="93" y="17"/>
                    <a:pt x="93" y="17"/>
                    <a:pt x="94" y="17"/>
                  </a:cubicBezTo>
                  <a:cubicBezTo>
                    <a:pt x="94" y="17"/>
                    <a:pt x="94" y="17"/>
                    <a:pt x="94" y="17"/>
                  </a:cubicBezTo>
                  <a:cubicBezTo>
                    <a:pt x="94" y="17"/>
                    <a:pt x="95" y="18"/>
                    <a:pt x="95" y="18"/>
                  </a:cubicBezTo>
                  <a:cubicBezTo>
                    <a:pt x="95" y="18"/>
                    <a:pt x="95" y="18"/>
                    <a:pt x="95" y="18"/>
                  </a:cubicBezTo>
                  <a:cubicBezTo>
                    <a:pt x="95" y="18"/>
                    <a:pt x="96" y="18"/>
                    <a:pt x="96" y="18"/>
                  </a:cubicBezTo>
                  <a:cubicBezTo>
                    <a:pt x="96" y="18"/>
                    <a:pt x="96" y="18"/>
                    <a:pt x="96" y="18"/>
                  </a:cubicBezTo>
                  <a:cubicBezTo>
                    <a:pt x="97" y="18"/>
                    <a:pt x="97" y="19"/>
                    <a:pt x="97" y="19"/>
                  </a:cubicBezTo>
                  <a:cubicBezTo>
                    <a:pt x="97" y="19"/>
                    <a:pt x="97" y="19"/>
                    <a:pt x="97" y="19"/>
                  </a:cubicBezTo>
                  <a:cubicBezTo>
                    <a:pt x="98" y="19"/>
                    <a:pt x="98" y="19"/>
                    <a:pt x="99" y="19"/>
                  </a:cubicBezTo>
                  <a:cubicBezTo>
                    <a:pt x="99" y="19"/>
                    <a:pt x="99" y="19"/>
                    <a:pt x="99" y="19"/>
                  </a:cubicBezTo>
                  <a:cubicBezTo>
                    <a:pt x="99" y="19"/>
                    <a:pt x="99" y="19"/>
                    <a:pt x="99" y="19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100" y="20"/>
                    <a:pt x="100" y="20"/>
                    <a:pt x="101" y="20"/>
                  </a:cubicBezTo>
                  <a:cubicBezTo>
                    <a:pt x="101" y="20"/>
                    <a:pt x="101" y="20"/>
                    <a:pt x="101" y="20"/>
                  </a:cubicBezTo>
                  <a:cubicBezTo>
                    <a:pt x="101" y="20"/>
                    <a:pt x="102" y="20"/>
                    <a:pt x="102" y="20"/>
                  </a:cubicBezTo>
                  <a:cubicBezTo>
                    <a:pt x="102" y="21"/>
                    <a:pt x="102" y="21"/>
                    <a:pt x="102" y="21"/>
                  </a:cubicBezTo>
                  <a:cubicBezTo>
                    <a:pt x="102" y="21"/>
                    <a:pt x="102" y="21"/>
                    <a:pt x="103" y="21"/>
                  </a:cubicBezTo>
                  <a:cubicBezTo>
                    <a:pt x="103" y="21"/>
                    <a:pt x="103" y="21"/>
                    <a:pt x="103" y="21"/>
                  </a:cubicBezTo>
                  <a:cubicBezTo>
                    <a:pt x="104" y="21"/>
                    <a:pt x="105" y="22"/>
                    <a:pt x="106" y="22"/>
                  </a:cubicBezTo>
                  <a:cubicBezTo>
                    <a:pt x="106" y="22"/>
                    <a:pt x="106" y="22"/>
                    <a:pt x="106" y="22"/>
                  </a:cubicBezTo>
                  <a:cubicBezTo>
                    <a:pt x="106" y="22"/>
                    <a:pt x="106" y="22"/>
                    <a:pt x="107" y="22"/>
                  </a:cubicBezTo>
                  <a:cubicBezTo>
                    <a:pt x="107" y="22"/>
                    <a:pt x="107" y="22"/>
                    <a:pt x="107" y="23"/>
                  </a:cubicBezTo>
                  <a:cubicBezTo>
                    <a:pt x="108" y="23"/>
                    <a:pt x="109" y="23"/>
                    <a:pt x="110" y="23"/>
                  </a:cubicBezTo>
                  <a:cubicBezTo>
                    <a:pt x="110" y="23"/>
                    <a:pt x="110" y="23"/>
                    <a:pt x="110" y="24"/>
                  </a:cubicBezTo>
                  <a:cubicBezTo>
                    <a:pt x="110" y="24"/>
                    <a:pt x="111" y="24"/>
                    <a:pt x="111" y="24"/>
                  </a:cubicBezTo>
                  <a:cubicBezTo>
                    <a:pt x="111" y="24"/>
                    <a:pt x="111" y="24"/>
                    <a:pt x="111" y="24"/>
                  </a:cubicBezTo>
                  <a:cubicBezTo>
                    <a:pt x="111" y="24"/>
                    <a:pt x="112" y="24"/>
                    <a:pt x="112" y="24"/>
                  </a:cubicBezTo>
                  <a:cubicBezTo>
                    <a:pt x="112" y="24"/>
                    <a:pt x="112" y="24"/>
                    <a:pt x="112" y="24"/>
                  </a:cubicBezTo>
                  <a:cubicBezTo>
                    <a:pt x="113" y="24"/>
                    <a:pt x="113" y="24"/>
                    <a:pt x="114" y="24"/>
                  </a:cubicBezTo>
                  <a:cubicBezTo>
                    <a:pt x="114" y="24"/>
                    <a:pt x="114" y="25"/>
                    <a:pt x="114" y="25"/>
                  </a:cubicBezTo>
                  <a:cubicBezTo>
                    <a:pt x="115" y="25"/>
                    <a:pt x="115" y="25"/>
                    <a:pt x="116" y="25"/>
                  </a:cubicBezTo>
                  <a:cubicBezTo>
                    <a:pt x="116" y="25"/>
                    <a:pt x="116" y="25"/>
                    <a:pt x="116" y="25"/>
                  </a:cubicBezTo>
                  <a:cubicBezTo>
                    <a:pt x="117" y="25"/>
                    <a:pt x="118" y="25"/>
                    <a:pt x="118" y="25"/>
                  </a:cubicBezTo>
                  <a:cubicBezTo>
                    <a:pt x="118" y="25"/>
                    <a:pt x="118" y="26"/>
                    <a:pt x="118" y="26"/>
                  </a:cubicBezTo>
                  <a:cubicBezTo>
                    <a:pt x="119" y="26"/>
                    <a:pt x="119" y="26"/>
                    <a:pt x="120" y="26"/>
                  </a:cubicBezTo>
                  <a:cubicBezTo>
                    <a:pt x="120" y="26"/>
                    <a:pt x="120" y="26"/>
                    <a:pt x="120" y="26"/>
                  </a:cubicBezTo>
                  <a:cubicBezTo>
                    <a:pt x="121" y="26"/>
                    <a:pt x="121" y="26"/>
                    <a:pt x="122" y="26"/>
                  </a:cubicBezTo>
                  <a:cubicBezTo>
                    <a:pt x="122" y="26"/>
                    <a:pt x="122" y="26"/>
                    <a:pt x="122" y="26"/>
                  </a:cubicBezTo>
                  <a:cubicBezTo>
                    <a:pt x="124" y="26"/>
                    <a:pt x="126" y="26"/>
                    <a:pt x="127" y="26"/>
                  </a:cubicBezTo>
                  <a:cubicBezTo>
                    <a:pt x="127" y="27"/>
                    <a:pt x="127" y="27"/>
                    <a:pt x="127" y="27"/>
                  </a:cubicBezTo>
                  <a:cubicBezTo>
                    <a:pt x="128" y="27"/>
                    <a:pt x="130" y="27"/>
                    <a:pt x="131" y="26"/>
                  </a:cubicBezTo>
                  <a:cubicBezTo>
                    <a:pt x="133" y="26"/>
                    <a:pt x="134" y="26"/>
                    <a:pt x="136" y="26"/>
                  </a:cubicBezTo>
                  <a:cubicBezTo>
                    <a:pt x="136" y="26"/>
                    <a:pt x="136" y="26"/>
                    <a:pt x="136" y="26"/>
                  </a:cubicBezTo>
                  <a:cubicBezTo>
                    <a:pt x="137" y="26"/>
                    <a:pt x="138" y="26"/>
                    <a:pt x="139" y="26"/>
                  </a:cubicBezTo>
                  <a:cubicBezTo>
                    <a:pt x="139" y="26"/>
                    <a:pt x="139" y="26"/>
                    <a:pt x="139" y="26"/>
                  </a:cubicBezTo>
                  <a:cubicBezTo>
                    <a:pt x="140" y="26"/>
                    <a:pt x="141" y="26"/>
                    <a:pt x="142" y="26"/>
                  </a:cubicBezTo>
                  <a:cubicBezTo>
                    <a:pt x="142" y="26"/>
                    <a:pt x="142" y="25"/>
                    <a:pt x="142" y="25"/>
                  </a:cubicBezTo>
                  <a:cubicBezTo>
                    <a:pt x="143" y="25"/>
                    <a:pt x="144" y="25"/>
                    <a:pt x="144" y="25"/>
                  </a:cubicBezTo>
                  <a:cubicBezTo>
                    <a:pt x="144" y="25"/>
                    <a:pt x="144" y="25"/>
                    <a:pt x="144" y="25"/>
                  </a:cubicBezTo>
                  <a:cubicBezTo>
                    <a:pt x="145" y="25"/>
                    <a:pt x="146" y="25"/>
                    <a:pt x="146" y="25"/>
                  </a:cubicBezTo>
                  <a:cubicBezTo>
                    <a:pt x="146" y="25"/>
                    <a:pt x="146" y="25"/>
                    <a:pt x="146" y="25"/>
                  </a:cubicBezTo>
                  <a:cubicBezTo>
                    <a:pt x="147" y="25"/>
                    <a:pt x="148" y="25"/>
                    <a:pt x="148" y="25"/>
                  </a:cubicBezTo>
                  <a:cubicBezTo>
                    <a:pt x="148" y="25"/>
                    <a:pt x="148" y="24"/>
                    <a:pt x="148" y="24"/>
                  </a:cubicBezTo>
                  <a:cubicBezTo>
                    <a:pt x="149" y="24"/>
                    <a:pt x="150" y="24"/>
                    <a:pt x="150" y="24"/>
                  </a:cubicBezTo>
                  <a:cubicBezTo>
                    <a:pt x="154" y="23"/>
                    <a:pt x="158" y="23"/>
                    <a:pt x="162" y="22"/>
                  </a:cubicBezTo>
                  <a:cubicBezTo>
                    <a:pt x="164" y="21"/>
                    <a:pt x="167" y="22"/>
                    <a:pt x="168" y="21"/>
                  </a:cubicBezTo>
                  <a:cubicBezTo>
                    <a:pt x="174" y="19"/>
                    <a:pt x="180" y="16"/>
                    <a:pt x="185" y="13"/>
                  </a:cubicBezTo>
                  <a:cubicBezTo>
                    <a:pt x="189" y="12"/>
                    <a:pt x="192" y="11"/>
                    <a:pt x="196" y="10"/>
                  </a:cubicBezTo>
                  <a:cubicBezTo>
                    <a:pt x="197" y="10"/>
                    <a:pt x="198" y="10"/>
                    <a:pt x="199" y="10"/>
                  </a:cubicBezTo>
                  <a:cubicBezTo>
                    <a:pt x="199" y="9"/>
                    <a:pt x="199" y="9"/>
                    <a:pt x="199" y="9"/>
                  </a:cubicBezTo>
                  <a:cubicBezTo>
                    <a:pt x="200" y="9"/>
                    <a:pt x="200" y="9"/>
                    <a:pt x="201" y="9"/>
                  </a:cubicBezTo>
                  <a:cubicBezTo>
                    <a:pt x="201" y="9"/>
                    <a:pt x="201" y="9"/>
                    <a:pt x="201" y="9"/>
                  </a:cubicBezTo>
                  <a:cubicBezTo>
                    <a:pt x="201" y="9"/>
                    <a:pt x="202" y="9"/>
                    <a:pt x="202" y="9"/>
                  </a:cubicBezTo>
                  <a:cubicBezTo>
                    <a:pt x="202" y="9"/>
                    <a:pt x="202" y="9"/>
                    <a:pt x="202" y="9"/>
                  </a:cubicBezTo>
                  <a:cubicBezTo>
                    <a:pt x="203" y="9"/>
                    <a:pt x="204" y="9"/>
                    <a:pt x="204" y="9"/>
                  </a:cubicBezTo>
                  <a:cubicBezTo>
                    <a:pt x="204" y="8"/>
                    <a:pt x="204" y="8"/>
                    <a:pt x="204" y="8"/>
                  </a:cubicBezTo>
                  <a:cubicBezTo>
                    <a:pt x="205" y="8"/>
                    <a:pt x="206" y="8"/>
                    <a:pt x="207" y="8"/>
                  </a:cubicBezTo>
                  <a:cubicBezTo>
                    <a:pt x="207" y="8"/>
                    <a:pt x="207" y="8"/>
                    <a:pt x="207" y="8"/>
                  </a:cubicBezTo>
                  <a:cubicBezTo>
                    <a:pt x="208" y="8"/>
                    <a:pt x="209" y="8"/>
                    <a:pt x="210" y="8"/>
                  </a:cubicBezTo>
                  <a:cubicBezTo>
                    <a:pt x="210" y="8"/>
                    <a:pt x="210" y="8"/>
                    <a:pt x="210" y="8"/>
                  </a:cubicBezTo>
                  <a:cubicBezTo>
                    <a:pt x="211" y="8"/>
                    <a:pt x="212" y="8"/>
                    <a:pt x="214" y="8"/>
                  </a:cubicBezTo>
                  <a:cubicBezTo>
                    <a:pt x="215" y="7"/>
                    <a:pt x="221" y="7"/>
                    <a:pt x="222" y="7"/>
                  </a:cubicBezTo>
                  <a:cubicBezTo>
                    <a:pt x="222" y="7"/>
                    <a:pt x="222" y="7"/>
                    <a:pt x="222" y="8"/>
                  </a:cubicBezTo>
                  <a:cubicBezTo>
                    <a:pt x="224" y="8"/>
                    <a:pt x="226" y="8"/>
                    <a:pt x="228" y="8"/>
                  </a:cubicBezTo>
                  <a:cubicBezTo>
                    <a:pt x="230" y="9"/>
                    <a:pt x="233" y="10"/>
                    <a:pt x="236" y="11"/>
                  </a:cubicBezTo>
                  <a:cubicBezTo>
                    <a:pt x="239" y="12"/>
                    <a:pt x="243" y="14"/>
                    <a:pt x="246" y="16"/>
                  </a:cubicBezTo>
                  <a:cubicBezTo>
                    <a:pt x="246" y="16"/>
                    <a:pt x="246" y="16"/>
                    <a:pt x="246" y="17"/>
                  </a:cubicBezTo>
                  <a:cubicBezTo>
                    <a:pt x="246" y="17"/>
                    <a:pt x="247" y="17"/>
                    <a:pt x="247" y="17"/>
                  </a:cubicBezTo>
                  <a:cubicBezTo>
                    <a:pt x="247" y="17"/>
                    <a:pt x="247" y="17"/>
                    <a:pt x="248" y="18"/>
                  </a:cubicBezTo>
                  <a:cubicBezTo>
                    <a:pt x="248" y="18"/>
                    <a:pt x="248" y="18"/>
                    <a:pt x="248" y="18"/>
                  </a:cubicBezTo>
                  <a:cubicBezTo>
                    <a:pt x="248" y="18"/>
                    <a:pt x="248" y="18"/>
                    <a:pt x="249" y="18"/>
                  </a:cubicBezTo>
                  <a:cubicBezTo>
                    <a:pt x="249" y="18"/>
                    <a:pt x="249" y="18"/>
                    <a:pt x="249" y="18"/>
                  </a:cubicBezTo>
                  <a:cubicBezTo>
                    <a:pt x="249" y="19"/>
                    <a:pt x="249" y="19"/>
                    <a:pt x="249" y="19"/>
                  </a:cubicBezTo>
                  <a:cubicBezTo>
                    <a:pt x="249" y="19"/>
                    <a:pt x="250" y="19"/>
                    <a:pt x="250" y="19"/>
                  </a:cubicBezTo>
                  <a:cubicBezTo>
                    <a:pt x="250" y="20"/>
                    <a:pt x="251" y="20"/>
                    <a:pt x="251" y="20"/>
                  </a:cubicBezTo>
                  <a:cubicBezTo>
                    <a:pt x="251" y="20"/>
                    <a:pt x="251" y="20"/>
                    <a:pt x="252" y="20"/>
                  </a:cubicBezTo>
                  <a:cubicBezTo>
                    <a:pt x="253" y="21"/>
                    <a:pt x="253" y="22"/>
                    <a:pt x="254" y="23"/>
                  </a:cubicBezTo>
                  <a:cubicBezTo>
                    <a:pt x="254" y="23"/>
                    <a:pt x="254" y="23"/>
                    <a:pt x="255" y="23"/>
                  </a:cubicBezTo>
                  <a:cubicBezTo>
                    <a:pt x="255" y="23"/>
                    <a:pt x="255" y="24"/>
                    <a:pt x="255" y="24"/>
                  </a:cubicBezTo>
                  <a:cubicBezTo>
                    <a:pt x="255" y="24"/>
                    <a:pt x="255" y="24"/>
                    <a:pt x="256" y="24"/>
                  </a:cubicBezTo>
                  <a:cubicBezTo>
                    <a:pt x="256" y="24"/>
                    <a:pt x="256" y="24"/>
                    <a:pt x="256" y="25"/>
                  </a:cubicBezTo>
                  <a:cubicBezTo>
                    <a:pt x="257" y="25"/>
                    <a:pt x="257" y="26"/>
                    <a:pt x="258" y="26"/>
                  </a:cubicBezTo>
                  <a:cubicBezTo>
                    <a:pt x="258" y="27"/>
                    <a:pt x="258" y="27"/>
                    <a:pt x="258" y="27"/>
                  </a:cubicBezTo>
                  <a:cubicBezTo>
                    <a:pt x="259" y="28"/>
                    <a:pt x="260" y="29"/>
                    <a:pt x="262" y="30"/>
                  </a:cubicBezTo>
                  <a:cubicBezTo>
                    <a:pt x="262" y="31"/>
                    <a:pt x="262" y="31"/>
                    <a:pt x="262" y="31"/>
                  </a:cubicBezTo>
                  <a:cubicBezTo>
                    <a:pt x="262" y="32"/>
                    <a:pt x="263" y="32"/>
                    <a:pt x="263" y="32"/>
                  </a:cubicBezTo>
                  <a:cubicBezTo>
                    <a:pt x="263" y="33"/>
                    <a:pt x="263" y="33"/>
                    <a:pt x="263" y="33"/>
                  </a:cubicBezTo>
                  <a:cubicBezTo>
                    <a:pt x="265" y="34"/>
                    <a:pt x="266" y="36"/>
                    <a:pt x="267" y="37"/>
                  </a:cubicBezTo>
                  <a:cubicBezTo>
                    <a:pt x="267" y="37"/>
                    <a:pt x="267" y="37"/>
                    <a:pt x="267" y="38"/>
                  </a:cubicBezTo>
                  <a:cubicBezTo>
                    <a:pt x="268" y="38"/>
                    <a:pt x="268" y="38"/>
                    <a:pt x="269" y="38"/>
                  </a:cubicBezTo>
                  <a:cubicBezTo>
                    <a:pt x="269" y="39"/>
                    <a:pt x="269" y="39"/>
                    <a:pt x="269" y="39"/>
                  </a:cubicBezTo>
                  <a:cubicBezTo>
                    <a:pt x="269" y="39"/>
                    <a:pt x="269" y="39"/>
                    <a:pt x="270" y="40"/>
                  </a:cubicBezTo>
                  <a:cubicBezTo>
                    <a:pt x="270" y="40"/>
                    <a:pt x="270" y="40"/>
                    <a:pt x="270" y="40"/>
                  </a:cubicBezTo>
                  <a:cubicBezTo>
                    <a:pt x="270" y="40"/>
                    <a:pt x="270" y="41"/>
                    <a:pt x="270" y="41"/>
                  </a:cubicBezTo>
                  <a:cubicBezTo>
                    <a:pt x="270" y="41"/>
                    <a:pt x="270" y="41"/>
                    <a:pt x="270" y="41"/>
                  </a:cubicBezTo>
                  <a:cubicBezTo>
                    <a:pt x="270" y="42"/>
                    <a:pt x="271" y="42"/>
                    <a:pt x="271" y="42"/>
                  </a:cubicBezTo>
                  <a:cubicBezTo>
                    <a:pt x="271" y="42"/>
                    <a:pt x="271" y="42"/>
                    <a:pt x="271" y="43"/>
                  </a:cubicBezTo>
                  <a:cubicBezTo>
                    <a:pt x="271" y="43"/>
                    <a:pt x="272" y="43"/>
                    <a:pt x="272" y="43"/>
                  </a:cubicBezTo>
                  <a:cubicBezTo>
                    <a:pt x="272" y="43"/>
                    <a:pt x="272" y="44"/>
                    <a:pt x="272" y="44"/>
                  </a:cubicBezTo>
                  <a:cubicBezTo>
                    <a:pt x="272" y="44"/>
                    <a:pt x="272" y="44"/>
                    <a:pt x="273" y="45"/>
                  </a:cubicBezTo>
                  <a:cubicBezTo>
                    <a:pt x="273" y="45"/>
                    <a:pt x="273" y="46"/>
                    <a:pt x="273" y="46"/>
                  </a:cubicBezTo>
                  <a:cubicBezTo>
                    <a:pt x="273" y="46"/>
                    <a:pt x="274" y="46"/>
                    <a:pt x="274" y="46"/>
                  </a:cubicBezTo>
                  <a:cubicBezTo>
                    <a:pt x="274" y="47"/>
                    <a:pt x="274" y="47"/>
                    <a:pt x="274" y="48"/>
                  </a:cubicBezTo>
                  <a:cubicBezTo>
                    <a:pt x="274" y="48"/>
                    <a:pt x="275" y="48"/>
                    <a:pt x="275" y="48"/>
                  </a:cubicBezTo>
                  <a:cubicBezTo>
                    <a:pt x="275" y="48"/>
                    <a:pt x="275" y="49"/>
                    <a:pt x="275" y="49"/>
                  </a:cubicBezTo>
                  <a:cubicBezTo>
                    <a:pt x="275" y="49"/>
                    <a:pt x="275" y="49"/>
                    <a:pt x="275" y="49"/>
                  </a:cubicBezTo>
                  <a:cubicBezTo>
                    <a:pt x="275" y="49"/>
                    <a:pt x="276" y="50"/>
                    <a:pt x="276" y="51"/>
                  </a:cubicBezTo>
                  <a:cubicBezTo>
                    <a:pt x="276" y="51"/>
                    <a:pt x="276" y="51"/>
                    <a:pt x="277" y="51"/>
                  </a:cubicBezTo>
                  <a:cubicBezTo>
                    <a:pt x="277" y="51"/>
                    <a:pt x="277" y="52"/>
                    <a:pt x="277" y="52"/>
                  </a:cubicBezTo>
                  <a:cubicBezTo>
                    <a:pt x="277" y="52"/>
                    <a:pt x="277" y="52"/>
                    <a:pt x="277" y="52"/>
                  </a:cubicBezTo>
                  <a:cubicBezTo>
                    <a:pt x="277" y="52"/>
                    <a:pt x="277" y="52"/>
                    <a:pt x="277" y="53"/>
                  </a:cubicBezTo>
                  <a:cubicBezTo>
                    <a:pt x="277" y="53"/>
                    <a:pt x="277" y="53"/>
                    <a:pt x="277" y="53"/>
                  </a:cubicBezTo>
                  <a:cubicBezTo>
                    <a:pt x="277" y="53"/>
                    <a:pt x="277" y="53"/>
                    <a:pt x="277" y="53"/>
                  </a:cubicBezTo>
                  <a:cubicBezTo>
                    <a:pt x="277" y="53"/>
                    <a:pt x="277" y="53"/>
                    <a:pt x="278" y="53"/>
                  </a:cubicBezTo>
                  <a:cubicBezTo>
                    <a:pt x="278" y="54"/>
                    <a:pt x="278" y="54"/>
                    <a:pt x="278" y="54"/>
                  </a:cubicBezTo>
                  <a:cubicBezTo>
                    <a:pt x="278" y="54"/>
                    <a:pt x="278" y="54"/>
                    <a:pt x="278" y="54"/>
                  </a:cubicBezTo>
                  <a:cubicBezTo>
                    <a:pt x="278" y="55"/>
                    <a:pt x="278" y="55"/>
                    <a:pt x="278" y="55"/>
                  </a:cubicBezTo>
                  <a:cubicBezTo>
                    <a:pt x="278" y="55"/>
                    <a:pt x="279" y="55"/>
                    <a:pt x="279" y="55"/>
                  </a:cubicBezTo>
                  <a:cubicBezTo>
                    <a:pt x="279" y="55"/>
                    <a:pt x="279" y="56"/>
                    <a:pt x="279" y="56"/>
                  </a:cubicBezTo>
                  <a:cubicBezTo>
                    <a:pt x="279" y="56"/>
                    <a:pt x="279" y="56"/>
                    <a:pt x="279" y="56"/>
                  </a:cubicBezTo>
                  <a:cubicBezTo>
                    <a:pt x="279" y="56"/>
                    <a:pt x="279" y="56"/>
                    <a:pt x="279" y="56"/>
                  </a:cubicBezTo>
                  <a:cubicBezTo>
                    <a:pt x="279" y="56"/>
                    <a:pt x="279" y="56"/>
                    <a:pt x="279" y="56"/>
                  </a:cubicBezTo>
                  <a:cubicBezTo>
                    <a:pt x="279" y="57"/>
                    <a:pt x="279" y="57"/>
                    <a:pt x="279" y="57"/>
                  </a:cubicBezTo>
                  <a:cubicBezTo>
                    <a:pt x="279" y="57"/>
                    <a:pt x="280" y="57"/>
                    <a:pt x="280" y="57"/>
                  </a:cubicBezTo>
                  <a:cubicBezTo>
                    <a:pt x="280" y="58"/>
                    <a:pt x="280" y="58"/>
                    <a:pt x="280" y="59"/>
                  </a:cubicBezTo>
                  <a:cubicBezTo>
                    <a:pt x="280" y="59"/>
                    <a:pt x="281" y="59"/>
                    <a:pt x="281" y="59"/>
                  </a:cubicBezTo>
                  <a:cubicBezTo>
                    <a:pt x="281" y="59"/>
                    <a:pt x="281" y="59"/>
                    <a:pt x="281" y="60"/>
                  </a:cubicBezTo>
                  <a:cubicBezTo>
                    <a:pt x="281" y="60"/>
                    <a:pt x="281" y="60"/>
                    <a:pt x="281" y="60"/>
                  </a:cubicBezTo>
                  <a:cubicBezTo>
                    <a:pt x="281" y="60"/>
                    <a:pt x="281" y="60"/>
                    <a:pt x="281" y="60"/>
                  </a:cubicBezTo>
                  <a:cubicBezTo>
                    <a:pt x="281" y="60"/>
                    <a:pt x="281" y="60"/>
                    <a:pt x="281" y="60"/>
                  </a:cubicBezTo>
                  <a:cubicBezTo>
                    <a:pt x="281" y="61"/>
                    <a:pt x="281" y="61"/>
                    <a:pt x="281" y="61"/>
                  </a:cubicBezTo>
                  <a:cubicBezTo>
                    <a:pt x="282" y="61"/>
                    <a:pt x="282" y="61"/>
                    <a:pt x="282" y="61"/>
                  </a:cubicBezTo>
                  <a:cubicBezTo>
                    <a:pt x="282" y="61"/>
                    <a:pt x="282" y="61"/>
                    <a:pt x="282" y="62"/>
                  </a:cubicBezTo>
                  <a:cubicBezTo>
                    <a:pt x="282" y="62"/>
                    <a:pt x="282" y="62"/>
                    <a:pt x="282" y="62"/>
                  </a:cubicBezTo>
                  <a:cubicBezTo>
                    <a:pt x="282" y="62"/>
                    <a:pt x="282" y="63"/>
                    <a:pt x="282" y="63"/>
                  </a:cubicBezTo>
                  <a:cubicBezTo>
                    <a:pt x="283" y="63"/>
                    <a:pt x="283" y="63"/>
                    <a:pt x="283" y="63"/>
                  </a:cubicBezTo>
                  <a:cubicBezTo>
                    <a:pt x="283" y="63"/>
                    <a:pt x="283" y="63"/>
                    <a:pt x="283" y="63"/>
                  </a:cubicBezTo>
                  <a:cubicBezTo>
                    <a:pt x="283" y="63"/>
                    <a:pt x="283" y="63"/>
                    <a:pt x="283" y="63"/>
                  </a:cubicBezTo>
                  <a:cubicBezTo>
                    <a:pt x="283" y="64"/>
                    <a:pt x="283" y="64"/>
                    <a:pt x="283" y="64"/>
                  </a:cubicBezTo>
                  <a:cubicBezTo>
                    <a:pt x="283" y="64"/>
                    <a:pt x="283" y="64"/>
                    <a:pt x="284" y="64"/>
                  </a:cubicBezTo>
                  <a:cubicBezTo>
                    <a:pt x="284" y="64"/>
                    <a:pt x="284" y="65"/>
                    <a:pt x="284" y="65"/>
                  </a:cubicBezTo>
                  <a:cubicBezTo>
                    <a:pt x="284" y="65"/>
                    <a:pt x="284" y="65"/>
                    <a:pt x="284" y="65"/>
                  </a:cubicBezTo>
                  <a:cubicBezTo>
                    <a:pt x="284" y="66"/>
                    <a:pt x="284" y="66"/>
                    <a:pt x="285" y="67"/>
                  </a:cubicBezTo>
                  <a:cubicBezTo>
                    <a:pt x="285" y="67"/>
                    <a:pt x="285" y="67"/>
                    <a:pt x="285" y="67"/>
                  </a:cubicBezTo>
                  <a:cubicBezTo>
                    <a:pt x="285" y="67"/>
                    <a:pt x="286" y="68"/>
                    <a:pt x="286" y="68"/>
                  </a:cubicBezTo>
                  <a:cubicBezTo>
                    <a:pt x="286" y="68"/>
                    <a:pt x="286" y="68"/>
                    <a:pt x="286" y="68"/>
                  </a:cubicBezTo>
                  <a:cubicBezTo>
                    <a:pt x="286" y="69"/>
                    <a:pt x="286" y="69"/>
                    <a:pt x="286" y="69"/>
                  </a:cubicBezTo>
                  <a:cubicBezTo>
                    <a:pt x="287" y="70"/>
                    <a:pt x="287" y="70"/>
                    <a:pt x="287" y="70"/>
                  </a:cubicBezTo>
                  <a:cubicBezTo>
                    <a:pt x="287" y="70"/>
                    <a:pt x="287" y="71"/>
                    <a:pt x="287" y="71"/>
                  </a:cubicBezTo>
                  <a:cubicBezTo>
                    <a:pt x="288" y="71"/>
                    <a:pt x="288" y="71"/>
                    <a:pt x="288" y="72"/>
                  </a:cubicBezTo>
                  <a:cubicBezTo>
                    <a:pt x="288" y="72"/>
                    <a:pt x="288" y="72"/>
                    <a:pt x="288" y="72"/>
                  </a:cubicBezTo>
                  <a:cubicBezTo>
                    <a:pt x="288" y="72"/>
                    <a:pt x="289" y="73"/>
                    <a:pt x="289" y="73"/>
                  </a:cubicBezTo>
                  <a:cubicBezTo>
                    <a:pt x="289" y="73"/>
                    <a:pt x="289" y="73"/>
                    <a:pt x="289" y="74"/>
                  </a:cubicBezTo>
                  <a:cubicBezTo>
                    <a:pt x="289" y="74"/>
                    <a:pt x="290" y="74"/>
                    <a:pt x="290" y="74"/>
                  </a:cubicBezTo>
                  <a:cubicBezTo>
                    <a:pt x="290" y="75"/>
                    <a:pt x="290" y="75"/>
                    <a:pt x="290" y="75"/>
                  </a:cubicBezTo>
                  <a:cubicBezTo>
                    <a:pt x="291" y="75"/>
                    <a:pt x="291" y="76"/>
                    <a:pt x="292" y="76"/>
                  </a:cubicBezTo>
                  <a:cubicBezTo>
                    <a:pt x="292" y="76"/>
                    <a:pt x="292" y="77"/>
                    <a:pt x="292" y="77"/>
                  </a:cubicBezTo>
                  <a:cubicBezTo>
                    <a:pt x="292" y="77"/>
                    <a:pt x="292" y="77"/>
                    <a:pt x="292" y="77"/>
                  </a:cubicBezTo>
                  <a:cubicBezTo>
                    <a:pt x="293" y="78"/>
                    <a:pt x="293" y="78"/>
                    <a:pt x="293" y="78"/>
                  </a:cubicBezTo>
                  <a:cubicBezTo>
                    <a:pt x="294" y="78"/>
                    <a:pt x="294" y="78"/>
                    <a:pt x="294" y="78"/>
                  </a:cubicBezTo>
                  <a:cubicBezTo>
                    <a:pt x="294" y="79"/>
                    <a:pt x="294" y="79"/>
                    <a:pt x="295" y="80"/>
                  </a:cubicBezTo>
                  <a:cubicBezTo>
                    <a:pt x="295" y="80"/>
                    <a:pt x="295" y="80"/>
                    <a:pt x="295" y="80"/>
                  </a:cubicBezTo>
                  <a:cubicBezTo>
                    <a:pt x="296" y="80"/>
                    <a:pt x="296" y="80"/>
                    <a:pt x="296" y="80"/>
                  </a:cubicBezTo>
                  <a:cubicBezTo>
                    <a:pt x="296" y="80"/>
                    <a:pt x="296" y="80"/>
                    <a:pt x="296" y="80"/>
                  </a:cubicBezTo>
                  <a:cubicBezTo>
                    <a:pt x="296" y="80"/>
                    <a:pt x="296" y="80"/>
                    <a:pt x="296" y="81"/>
                  </a:cubicBezTo>
                  <a:cubicBezTo>
                    <a:pt x="297" y="81"/>
                    <a:pt x="297" y="81"/>
                    <a:pt x="298" y="81"/>
                  </a:cubicBezTo>
                  <a:cubicBezTo>
                    <a:pt x="298" y="81"/>
                    <a:pt x="298" y="81"/>
                    <a:pt x="298" y="81"/>
                  </a:cubicBezTo>
                  <a:cubicBezTo>
                    <a:pt x="299" y="82"/>
                    <a:pt x="306" y="83"/>
                    <a:pt x="308" y="82"/>
                  </a:cubicBezTo>
                  <a:cubicBezTo>
                    <a:pt x="308" y="82"/>
                    <a:pt x="308" y="82"/>
                    <a:pt x="308" y="82"/>
                  </a:cubicBezTo>
                  <a:cubicBezTo>
                    <a:pt x="309" y="82"/>
                    <a:pt x="310" y="82"/>
                    <a:pt x="310" y="82"/>
                  </a:cubicBezTo>
                  <a:cubicBezTo>
                    <a:pt x="312" y="82"/>
                    <a:pt x="314" y="81"/>
                    <a:pt x="316" y="81"/>
                  </a:cubicBezTo>
                  <a:cubicBezTo>
                    <a:pt x="317" y="81"/>
                    <a:pt x="317" y="81"/>
                    <a:pt x="318" y="81"/>
                  </a:cubicBezTo>
                  <a:cubicBezTo>
                    <a:pt x="318" y="80"/>
                    <a:pt x="318" y="80"/>
                    <a:pt x="318" y="80"/>
                  </a:cubicBezTo>
                  <a:cubicBezTo>
                    <a:pt x="319" y="80"/>
                    <a:pt x="320" y="80"/>
                    <a:pt x="321" y="80"/>
                  </a:cubicBezTo>
                  <a:cubicBezTo>
                    <a:pt x="321" y="80"/>
                    <a:pt x="321" y="80"/>
                    <a:pt x="321" y="81"/>
                  </a:cubicBezTo>
                  <a:cubicBezTo>
                    <a:pt x="321" y="81"/>
                    <a:pt x="321" y="81"/>
                    <a:pt x="322" y="81"/>
                  </a:cubicBezTo>
                  <a:cubicBezTo>
                    <a:pt x="322" y="81"/>
                    <a:pt x="322" y="81"/>
                    <a:pt x="322" y="81"/>
                  </a:cubicBezTo>
                  <a:cubicBezTo>
                    <a:pt x="322" y="81"/>
                    <a:pt x="322" y="82"/>
                    <a:pt x="323" y="82"/>
                  </a:cubicBezTo>
                  <a:cubicBezTo>
                    <a:pt x="323" y="82"/>
                    <a:pt x="323" y="82"/>
                    <a:pt x="323" y="82"/>
                  </a:cubicBezTo>
                  <a:cubicBezTo>
                    <a:pt x="323" y="82"/>
                    <a:pt x="324" y="82"/>
                    <a:pt x="324" y="82"/>
                  </a:cubicBezTo>
                  <a:cubicBezTo>
                    <a:pt x="324" y="83"/>
                    <a:pt x="324" y="83"/>
                    <a:pt x="324" y="83"/>
                  </a:cubicBezTo>
                  <a:cubicBezTo>
                    <a:pt x="325" y="83"/>
                    <a:pt x="325" y="83"/>
                    <a:pt x="325" y="83"/>
                  </a:cubicBezTo>
                  <a:cubicBezTo>
                    <a:pt x="325" y="84"/>
                    <a:pt x="325" y="84"/>
                    <a:pt x="326" y="84"/>
                  </a:cubicBezTo>
                  <a:cubicBezTo>
                    <a:pt x="326" y="84"/>
                    <a:pt x="326" y="84"/>
                    <a:pt x="326" y="84"/>
                  </a:cubicBezTo>
                  <a:cubicBezTo>
                    <a:pt x="326" y="84"/>
                    <a:pt x="327" y="85"/>
                    <a:pt x="327" y="85"/>
                  </a:cubicBezTo>
                  <a:cubicBezTo>
                    <a:pt x="327" y="85"/>
                    <a:pt x="327" y="85"/>
                    <a:pt x="328" y="85"/>
                  </a:cubicBezTo>
                  <a:cubicBezTo>
                    <a:pt x="328" y="85"/>
                    <a:pt x="328" y="86"/>
                    <a:pt x="328" y="86"/>
                  </a:cubicBezTo>
                  <a:cubicBezTo>
                    <a:pt x="328" y="86"/>
                    <a:pt x="328" y="86"/>
                    <a:pt x="329" y="86"/>
                  </a:cubicBezTo>
                  <a:cubicBezTo>
                    <a:pt x="329" y="86"/>
                    <a:pt x="329" y="87"/>
                    <a:pt x="329" y="87"/>
                  </a:cubicBezTo>
                  <a:cubicBezTo>
                    <a:pt x="330" y="87"/>
                    <a:pt x="330" y="87"/>
                    <a:pt x="330" y="87"/>
                  </a:cubicBezTo>
                  <a:cubicBezTo>
                    <a:pt x="330" y="87"/>
                    <a:pt x="330" y="87"/>
                    <a:pt x="330" y="88"/>
                  </a:cubicBezTo>
                  <a:cubicBezTo>
                    <a:pt x="331" y="88"/>
                    <a:pt x="331" y="88"/>
                    <a:pt x="331" y="88"/>
                  </a:cubicBezTo>
                  <a:cubicBezTo>
                    <a:pt x="331" y="88"/>
                    <a:pt x="332" y="88"/>
                    <a:pt x="332" y="89"/>
                  </a:cubicBezTo>
                  <a:cubicBezTo>
                    <a:pt x="332" y="89"/>
                    <a:pt x="332" y="89"/>
                    <a:pt x="333" y="89"/>
                  </a:cubicBezTo>
                  <a:cubicBezTo>
                    <a:pt x="333" y="89"/>
                    <a:pt x="333" y="89"/>
                    <a:pt x="333" y="89"/>
                  </a:cubicBezTo>
                  <a:cubicBezTo>
                    <a:pt x="333" y="89"/>
                    <a:pt x="333" y="89"/>
                    <a:pt x="334" y="89"/>
                  </a:cubicBezTo>
                  <a:cubicBezTo>
                    <a:pt x="334" y="90"/>
                    <a:pt x="334" y="90"/>
                    <a:pt x="334" y="90"/>
                  </a:cubicBezTo>
                  <a:cubicBezTo>
                    <a:pt x="334" y="90"/>
                    <a:pt x="335" y="90"/>
                    <a:pt x="335" y="90"/>
                  </a:cubicBezTo>
                  <a:cubicBezTo>
                    <a:pt x="335" y="91"/>
                    <a:pt x="335" y="91"/>
                    <a:pt x="335" y="91"/>
                  </a:cubicBezTo>
                  <a:cubicBezTo>
                    <a:pt x="336" y="91"/>
                    <a:pt x="336" y="91"/>
                    <a:pt x="336" y="91"/>
                  </a:cubicBezTo>
                  <a:cubicBezTo>
                    <a:pt x="336" y="91"/>
                    <a:pt x="336" y="92"/>
                    <a:pt x="337" y="92"/>
                  </a:cubicBezTo>
                  <a:cubicBezTo>
                    <a:pt x="337" y="92"/>
                    <a:pt x="337" y="92"/>
                    <a:pt x="337" y="92"/>
                  </a:cubicBezTo>
                  <a:cubicBezTo>
                    <a:pt x="338" y="92"/>
                    <a:pt x="338" y="93"/>
                    <a:pt x="338" y="93"/>
                  </a:cubicBezTo>
                  <a:cubicBezTo>
                    <a:pt x="338" y="93"/>
                    <a:pt x="339" y="93"/>
                    <a:pt x="339" y="93"/>
                  </a:cubicBezTo>
                  <a:cubicBezTo>
                    <a:pt x="339" y="93"/>
                    <a:pt x="339" y="94"/>
                    <a:pt x="339" y="94"/>
                  </a:cubicBezTo>
                  <a:cubicBezTo>
                    <a:pt x="339" y="94"/>
                    <a:pt x="340" y="94"/>
                    <a:pt x="340" y="94"/>
                  </a:cubicBezTo>
                  <a:cubicBezTo>
                    <a:pt x="340" y="94"/>
                    <a:pt x="340" y="95"/>
                    <a:pt x="341" y="95"/>
                  </a:cubicBezTo>
                  <a:cubicBezTo>
                    <a:pt x="341" y="95"/>
                    <a:pt x="341" y="95"/>
                    <a:pt x="341" y="95"/>
                  </a:cubicBezTo>
                  <a:cubicBezTo>
                    <a:pt x="341" y="95"/>
                    <a:pt x="341" y="95"/>
                    <a:pt x="342" y="96"/>
                  </a:cubicBezTo>
                  <a:cubicBezTo>
                    <a:pt x="342" y="96"/>
                    <a:pt x="342" y="96"/>
                    <a:pt x="343" y="96"/>
                  </a:cubicBezTo>
                  <a:cubicBezTo>
                    <a:pt x="342" y="97"/>
                    <a:pt x="343" y="96"/>
                    <a:pt x="342" y="97"/>
                  </a:cubicBezTo>
                  <a:cubicBezTo>
                    <a:pt x="342" y="98"/>
                    <a:pt x="341" y="98"/>
                    <a:pt x="341" y="99"/>
                  </a:cubicBezTo>
                  <a:cubicBezTo>
                    <a:pt x="340" y="99"/>
                    <a:pt x="340" y="99"/>
                    <a:pt x="340" y="99"/>
                  </a:cubicBezTo>
                  <a:cubicBezTo>
                    <a:pt x="340" y="99"/>
                    <a:pt x="340" y="100"/>
                    <a:pt x="340" y="100"/>
                  </a:cubicBezTo>
                  <a:cubicBezTo>
                    <a:pt x="339" y="100"/>
                    <a:pt x="339" y="101"/>
                    <a:pt x="338" y="102"/>
                  </a:cubicBezTo>
                  <a:cubicBezTo>
                    <a:pt x="338" y="102"/>
                    <a:pt x="338" y="102"/>
                    <a:pt x="338" y="102"/>
                  </a:cubicBezTo>
                  <a:cubicBezTo>
                    <a:pt x="337" y="103"/>
                    <a:pt x="337" y="103"/>
                    <a:pt x="336" y="104"/>
                  </a:cubicBezTo>
                  <a:cubicBezTo>
                    <a:pt x="336" y="104"/>
                    <a:pt x="336" y="104"/>
                    <a:pt x="336" y="105"/>
                  </a:cubicBezTo>
                  <a:cubicBezTo>
                    <a:pt x="335" y="105"/>
                    <a:pt x="335" y="106"/>
                    <a:pt x="334" y="106"/>
                  </a:cubicBezTo>
                  <a:cubicBezTo>
                    <a:pt x="334" y="107"/>
                    <a:pt x="334" y="107"/>
                    <a:pt x="334" y="107"/>
                  </a:cubicBezTo>
                  <a:cubicBezTo>
                    <a:pt x="333" y="108"/>
                    <a:pt x="333" y="108"/>
                    <a:pt x="332" y="109"/>
                  </a:cubicBezTo>
                  <a:cubicBezTo>
                    <a:pt x="332" y="109"/>
                    <a:pt x="332" y="109"/>
                    <a:pt x="332" y="110"/>
                  </a:cubicBezTo>
                  <a:cubicBezTo>
                    <a:pt x="331" y="110"/>
                    <a:pt x="330" y="111"/>
                    <a:pt x="330" y="111"/>
                  </a:cubicBezTo>
                  <a:cubicBezTo>
                    <a:pt x="330" y="112"/>
                    <a:pt x="330" y="112"/>
                    <a:pt x="330" y="112"/>
                  </a:cubicBezTo>
                  <a:cubicBezTo>
                    <a:pt x="329" y="113"/>
                    <a:pt x="328" y="113"/>
                    <a:pt x="328" y="114"/>
                  </a:cubicBezTo>
                  <a:cubicBezTo>
                    <a:pt x="328" y="114"/>
                    <a:pt x="328" y="114"/>
                    <a:pt x="328" y="115"/>
                  </a:cubicBezTo>
                  <a:cubicBezTo>
                    <a:pt x="327" y="115"/>
                    <a:pt x="327" y="115"/>
                    <a:pt x="327" y="115"/>
                  </a:cubicBezTo>
                  <a:cubicBezTo>
                    <a:pt x="327" y="115"/>
                    <a:pt x="327" y="115"/>
                    <a:pt x="327" y="116"/>
                  </a:cubicBezTo>
                  <a:cubicBezTo>
                    <a:pt x="326" y="116"/>
                    <a:pt x="326" y="116"/>
                    <a:pt x="326" y="116"/>
                  </a:cubicBezTo>
                  <a:cubicBezTo>
                    <a:pt x="326" y="116"/>
                    <a:pt x="326" y="116"/>
                    <a:pt x="326" y="117"/>
                  </a:cubicBezTo>
                  <a:cubicBezTo>
                    <a:pt x="325" y="117"/>
                    <a:pt x="324" y="118"/>
                    <a:pt x="324" y="118"/>
                  </a:cubicBezTo>
                  <a:cubicBezTo>
                    <a:pt x="324" y="119"/>
                    <a:pt x="324" y="119"/>
                    <a:pt x="324" y="119"/>
                  </a:cubicBezTo>
                  <a:cubicBezTo>
                    <a:pt x="323" y="120"/>
                    <a:pt x="322" y="121"/>
                    <a:pt x="321" y="122"/>
                  </a:cubicBezTo>
                  <a:cubicBezTo>
                    <a:pt x="321" y="122"/>
                    <a:pt x="321" y="122"/>
                    <a:pt x="321" y="122"/>
                  </a:cubicBezTo>
                  <a:cubicBezTo>
                    <a:pt x="320" y="123"/>
                    <a:pt x="319" y="124"/>
                    <a:pt x="318" y="125"/>
                  </a:cubicBezTo>
                  <a:cubicBezTo>
                    <a:pt x="318" y="125"/>
                    <a:pt x="318" y="125"/>
                    <a:pt x="318" y="126"/>
                  </a:cubicBezTo>
                  <a:cubicBezTo>
                    <a:pt x="317" y="126"/>
                    <a:pt x="317" y="127"/>
                    <a:pt x="316" y="127"/>
                  </a:cubicBezTo>
                  <a:cubicBezTo>
                    <a:pt x="316" y="128"/>
                    <a:pt x="315" y="128"/>
                    <a:pt x="315" y="129"/>
                  </a:cubicBezTo>
                  <a:cubicBezTo>
                    <a:pt x="315" y="129"/>
                    <a:pt x="315" y="129"/>
                    <a:pt x="314" y="129"/>
                  </a:cubicBezTo>
                  <a:cubicBezTo>
                    <a:pt x="314" y="129"/>
                    <a:pt x="314" y="129"/>
                    <a:pt x="314" y="130"/>
                  </a:cubicBezTo>
                  <a:cubicBezTo>
                    <a:pt x="313" y="130"/>
                    <a:pt x="312" y="131"/>
                    <a:pt x="312" y="132"/>
                  </a:cubicBezTo>
                  <a:cubicBezTo>
                    <a:pt x="311" y="132"/>
                    <a:pt x="311" y="133"/>
                    <a:pt x="311" y="133"/>
                  </a:cubicBezTo>
                  <a:cubicBezTo>
                    <a:pt x="310" y="134"/>
                    <a:pt x="309" y="135"/>
                    <a:pt x="308" y="136"/>
                  </a:cubicBezTo>
                  <a:cubicBezTo>
                    <a:pt x="308" y="136"/>
                    <a:pt x="308" y="136"/>
                    <a:pt x="308" y="137"/>
                  </a:cubicBezTo>
                  <a:cubicBezTo>
                    <a:pt x="307" y="137"/>
                    <a:pt x="306" y="138"/>
                    <a:pt x="305" y="139"/>
                  </a:cubicBezTo>
                  <a:cubicBezTo>
                    <a:pt x="305" y="140"/>
                    <a:pt x="305" y="140"/>
                    <a:pt x="305" y="140"/>
                  </a:cubicBezTo>
                  <a:cubicBezTo>
                    <a:pt x="305" y="140"/>
                    <a:pt x="305" y="140"/>
                    <a:pt x="305" y="140"/>
                  </a:cubicBezTo>
                  <a:cubicBezTo>
                    <a:pt x="304" y="141"/>
                    <a:pt x="304" y="141"/>
                    <a:pt x="303" y="142"/>
                  </a:cubicBezTo>
                  <a:cubicBezTo>
                    <a:pt x="303" y="142"/>
                    <a:pt x="302" y="142"/>
                    <a:pt x="302" y="142"/>
                  </a:cubicBezTo>
                  <a:cubicBezTo>
                    <a:pt x="301" y="143"/>
                    <a:pt x="297" y="142"/>
                    <a:pt x="296" y="142"/>
                  </a:cubicBezTo>
                  <a:cubicBezTo>
                    <a:pt x="292" y="142"/>
                    <a:pt x="287" y="143"/>
                    <a:pt x="283" y="143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</a:ln>
            <a:effectLst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64800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4000" b="1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0000"/>
                </a:solidFill>
                <a:latin typeface="UKIJ Qolyazma" pitchFamily="18" charset="0"/>
                <a:cs typeface="UKIJ Qolyazma" pitchFamily="18" charset="0"/>
              </a:endParaRPr>
            </a:p>
          </p:txBody>
        </p:sp>
      </p:grpSp>
      <p:pic>
        <p:nvPicPr>
          <p:cNvPr id="6" name="图片 5">
            <a:extLst>
              <a:ext uri="{FF2B5EF4-FFF2-40B4-BE49-F238E27FC236}">
                <a16:creationId xmlns:a16="http://schemas.microsoft.com/office/drawing/2014/main" id="{8185B62D-879E-4645-B164-9BA3E69FDF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156339" cy="1020855"/>
          </a:xfrm>
          <a:prstGeom prst="rect">
            <a:avLst/>
          </a:prstGeom>
        </p:spPr>
      </p:pic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3768A16A-6C85-4243-9C3B-39A90672F0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291" y="6461389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651ACD-316E-4365-9FB7-82A7CA47D71F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pic>
        <p:nvPicPr>
          <p:cNvPr id="25" name="图片 24">
            <a:extLst>
              <a:ext uri="{FF2B5EF4-FFF2-40B4-BE49-F238E27FC236}">
                <a16:creationId xmlns:a16="http://schemas.microsoft.com/office/drawing/2014/main" id="{75E325CD-B08D-429D-ADA1-4BF75513108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3897" y="266599"/>
            <a:ext cx="2181375" cy="252000"/>
          </a:xfrm>
          <a:prstGeom prst="rect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A5040B18-6B91-A199-5E40-E65DF3EDC52B}"/>
              </a:ext>
            </a:extLst>
          </p:cNvPr>
          <p:cNvSpPr txBox="1"/>
          <p:nvPr/>
        </p:nvSpPr>
        <p:spPr>
          <a:xfrm>
            <a:off x="330119" y="784778"/>
            <a:ext cx="1165854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100" cap="none" spc="0" normalizeH="0" baseline="0" noProof="0" dirty="0">
                <a:ln>
                  <a:noFill/>
                </a:ln>
                <a:solidFill>
                  <a:srgbClr val="4D81B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楷体_GB2312" panose="02010609030101010101" pitchFamily="49" charset="-122"/>
              </a:rPr>
              <a:t>管理单元划定的三个目标</a:t>
            </a:r>
          </a:p>
        </p:txBody>
      </p:sp>
      <p:sp>
        <p:nvSpPr>
          <p:cNvPr id="72" name="矩形 71">
            <a:extLst>
              <a:ext uri="{FF2B5EF4-FFF2-40B4-BE49-F238E27FC236}">
                <a16:creationId xmlns:a16="http://schemas.microsoft.com/office/drawing/2014/main" id="{4E471140-DE67-44DE-5272-78209EB63B8E}"/>
              </a:ext>
            </a:extLst>
          </p:cNvPr>
          <p:cNvSpPr/>
          <p:nvPr/>
        </p:nvSpPr>
        <p:spPr>
          <a:xfrm>
            <a:off x="-6765" y="2605963"/>
            <a:ext cx="3415375" cy="359653"/>
          </a:xfrm>
          <a:prstGeom prst="rect">
            <a:avLst/>
          </a:prstGeom>
          <a:solidFill>
            <a:srgbClr val="C9D9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3" name="文本框 72">
            <a:extLst>
              <a:ext uri="{FF2B5EF4-FFF2-40B4-BE49-F238E27FC236}">
                <a16:creationId xmlns:a16="http://schemas.microsoft.com/office/drawing/2014/main" id="{3672F5F6-FFE1-3DD6-3A5E-A9232F7BBA80}"/>
              </a:ext>
            </a:extLst>
          </p:cNvPr>
          <p:cNvSpPr txBox="1"/>
          <p:nvPr/>
        </p:nvSpPr>
        <p:spPr>
          <a:xfrm>
            <a:off x="441630" y="2612011"/>
            <a:ext cx="358718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zh-CN" altLang="zh-CN" sz="1800" b="1" dirty="0">
                <a:solidFill>
                  <a:schemeClr val="tx2">
                    <a:lumMod val="60000"/>
                    <a:lumOff val="40000"/>
                  </a:schemeClr>
                </a:solidFill>
                <a:effectLst/>
                <a:ea typeface="等线" panose="02010600030101010101" pitchFamily="2" charset="-122"/>
                <a:cs typeface="Times New Roman" panose="02020603050405020304" pitchFamily="18" charset="0"/>
              </a:rPr>
              <a:t>形成一套清晰的空间准则</a:t>
            </a:r>
            <a:endParaRPr lang="zh-CN" altLang="en-US" sz="2200" dirty="0">
              <a:solidFill>
                <a:schemeClr val="tx2">
                  <a:lumMod val="60000"/>
                  <a:lumOff val="4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6" name="矩形 75">
            <a:extLst>
              <a:ext uri="{FF2B5EF4-FFF2-40B4-BE49-F238E27FC236}">
                <a16:creationId xmlns:a16="http://schemas.microsoft.com/office/drawing/2014/main" id="{FEE2830E-7A4A-2A3F-7DB0-797F8ED4F44E}"/>
              </a:ext>
            </a:extLst>
          </p:cNvPr>
          <p:cNvSpPr/>
          <p:nvPr/>
        </p:nvSpPr>
        <p:spPr>
          <a:xfrm>
            <a:off x="-3650" y="3249173"/>
            <a:ext cx="3415375" cy="359653"/>
          </a:xfrm>
          <a:prstGeom prst="rect">
            <a:avLst/>
          </a:prstGeom>
          <a:solidFill>
            <a:srgbClr val="C9D9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文本框 76">
            <a:extLst>
              <a:ext uri="{FF2B5EF4-FFF2-40B4-BE49-F238E27FC236}">
                <a16:creationId xmlns:a16="http://schemas.microsoft.com/office/drawing/2014/main" id="{2A68333A-19B6-EC40-0185-CDDA9FEA78B3}"/>
              </a:ext>
            </a:extLst>
          </p:cNvPr>
          <p:cNvSpPr txBox="1"/>
          <p:nvPr/>
        </p:nvSpPr>
        <p:spPr>
          <a:xfrm>
            <a:off x="444745" y="3255221"/>
            <a:ext cx="358718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zh-CN" altLang="zh-CN" b="1" dirty="0">
                <a:solidFill>
                  <a:schemeClr val="tx2">
                    <a:lumMod val="60000"/>
                    <a:lumOff val="40000"/>
                  </a:schemeClr>
                </a:solidFill>
                <a:ea typeface="等线" panose="02010600030101010101" pitchFamily="2" charset="-122"/>
                <a:cs typeface="Times New Roman" panose="02020603050405020304" pitchFamily="18" charset="0"/>
              </a:rPr>
              <a:t>搭建一个稳定的规划平台</a:t>
            </a:r>
            <a:endParaRPr lang="zh-CN" altLang="en-US" b="1" dirty="0">
              <a:solidFill>
                <a:schemeClr val="tx2">
                  <a:lumMod val="60000"/>
                  <a:lumOff val="40000"/>
                </a:schemeClr>
              </a:solidFill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95" name="文本框 94">
            <a:extLst>
              <a:ext uri="{FF2B5EF4-FFF2-40B4-BE49-F238E27FC236}">
                <a16:creationId xmlns:a16="http://schemas.microsoft.com/office/drawing/2014/main" id="{3FAE1791-D72C-DC35-730B-2F9C71FCFDC5}"/>
              </a:ext>
            </a:extLst>
          </p:cNvPr>
          <p:cNvSpPr txBox="1"/>
          <p:nvPr/>
        </p:nvSpPr>
        <p:spPr>
          <a:xfrm>
            <a:off x="7648677" y="1252764"/>
            <a:ext cx="421320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zh-CN" altLang="zh-CN" sz="2400" b="1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已开展全市空间格局研究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2" name="文本框 111">
            <a:extLst>
              <a:ext uri="{FF2B5EF4-FFF2-40B4-BE49-F238E27FC236}">
                <a16:creationId xmlns:a16="http://schemas.microsoft.com/office/drawing/2014/main" id="{6955F75E-F774-AE6F-3203-F6DE40284ACB}"/>
              </a:ext>
            </a:extLst>
          </p:cNvPr>
          <p:cNvSpPr txBox="1"/>
          <p:nvPr/>
        </p:nvSpPr>
        <p:spPr>
          <a:xfrm>
            <a:off x="266727" y="145138"/>
            <a:ext cx="11658545" cy="4996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工作理解</a:t>
            </a:r>
            <a:endParaRPr kumimoji="0" lang="en-US" altLang="zh-CN" sz="2000" b="1" i="0" u="none" strike="noStrike" kern="1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DFD492AB-4BFB-BC1B-F636-C88EA0A25378}"/>
              </a:ext>
            </a:extLst>
          </p:cNvPr>
          <p:cNvGrpSpPr/>
          <p:nvPr/>
        </p:nvGrpSpPr>
        <p:grpSpPr>
          <a:xfrm>
            <a:off x="5113818" y="1387531"/>
            <a:ext cx="2454415" cy="1954676"/>
            <a:chOff x="5135509" y="1392758"/>
            <a:chExt cx="2454415" cy="1954676"/>
          </a:xfrm>
        </p:grpSpPr>
        <p:sp>
          <p:nvSpPr>
            <p:cNvPr id="140" name="Freeform 14">
              <a:extLst>
                <a:ext uri="{FF2B5EF4-FFF2-40B4-BE49-F238E27FC236}">
                  <a16:creationId xmlns:a16="http://schemas.microsoft.com/office/drawing/2014/main" id="{819EDD1B-D4B3-D314-4D18-E9260184683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5509" y="2406659"/>
              <a:ext cx="1173937" cy="940775"/>
            </a:xfrm>
            <a:custGeom>
              <a:avLst/>
              <a:gdLst>
                <a:gd name="T0" fmla="*/ 595 w 595"/>
                <a:gd name="T1" fmla="*/ 671 h 671"/>
                <a:gd name="T2" fmla="*/ 0 w 595"/>
                <a:gd name="T3" fmla="*/ 328 h 671"/>
                <a:gd name="T4" fmla="*/ 0 w 595"/>
                <a:gd name="T5" fmla="*/ 0 h 671"/>
                <a:gd name="T6" fmla="*/ 595 w 595"/>
                <a:gd name="T7" fmla="*/ 343 h 671"/>
                <a:gd name="T8" fmla="*/ 595 w 595"/>
                <a:gd name="T9" fmla="*/ 671 h 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5" h="671">
                  <a:moveTo>
                    <a:pt x="595" y="671"/>
                  </a:moveTo>
                  <a:lnTo>
                    <a:pt x="0" y="328"/>
                  </a:lnTo>
                  <a:lnTo>
                    <a:pt x="0" y="0"/>
                  </a:lnTo>
                  <a:lnTo>
                    <a:pt x="595" y="343"/>
                  </a:lnTo>
                  <a:lnTo>
                    <a:pt x="595" y="671"/>
                  </a:lnTo>
                  <a:close/>
                </a:path>
              </a:pathLst>
            </a:custGeom>
            <a:solidFill>
              <a:srgbClr val="5F86CD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6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庞门正道标题体" pitchFamily="2" charset="-122"/>
                <a:ea typeface="庞门正道标题体" pitchFamily="2" charset="-122"/>
              </a:endParaRPr>
            </a:p>
          </p:txBody>
        </p:sp>
        <p:sp>
          <p:nvSpPr>
            <p:cNvPr id="141" name="Freeform 15">
              <a:extLst>
                <a:ext uri="{FF2B5EF4-FFF2-40B4-BE49-F238E27FC236}">
                  <a16:creationId xmlns:a16="http://schemas.microsoft.com/office/drawing/2014/main" id="{97B63A62-C7A1-8BBA-AD6C-FEE70D1EA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5509" y="1893508"/>
              <a:ext cx="2454415" cy="994054"/>
            </a:xfrm>
            <a:custGeom>
              <a:avLst/>
              <a:gdLst>
                <a:gd name="T0" fmla="*/ 595 w 1244"/>
                <a:gd name="T1" fmla="*/ 709 h 709"/>
                <a:gd name="T2" fmla="*/ 0 w 1244"/>
                <a:gd name="T3" fmla="*/ 366 h 709"/>
                <a:gd name="T4" fmla="*/ 649 w 1244"/>
                <a:gd name="T5" fmla="*/ 0 h 709"/>
                <a:gd name="T6" fmla="*/ 1244 w 1244"/>
                <a:gd name="T7" fmla="*/ 343 h 709"/>
                <a:gd name="T8" fmla="*/ 595 w 1244"/>
                <a:gd name="T9" fmla="*/ 70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44" h="709">
                  <a:moveTo>
                    <a:pt x="595" y="709"/>
                  </a:moveTo>
                  <a:lnTo>
                    <a:pt x="0" y="366"/>
                  </a:lnTo>
                  <a:lnTo>
                    <a:pt x="649" y="0"/>
                  </a:lnTo>
                  <a:lnTo>
                    <a:pt x="1244" y="343"/>
                  </a:lnTo>
                  <a:lnTo>
                    <a:pt x="595" y="709"/>
                  </a:lnTo>
                  <a:close/>
                </a:path>
              </a:pathLst>
            </a:custGeom>
            <a:solidFill>
              <a:srgbClr val="5F86CD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6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庞门正道标题体" pitchFamily="2" charset="-122"/>
                <a:ea typeface="庞门正道标题体" pitchFamily="2" charset="-122"/>
              </a:endParaRPr>
            </a:p>
          </p:txBody>
        </p:sp>
        <p:sp>
          <p:nvSpPr>
            <p:cNvPr id="142" name="Freeform 16">
              <a:extLst>
                <a:ext uri="{FF2B5EF4-FFF2-40B4-BE49-F238E27FC236}">
                  <a16:creationId xmlns:a16="http://schemas.microsoft.com/office/drawing/2014/main" id="{F246825F-494D-8BC1-20BB-B81EB51FC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9446" y="2374411"/>
              <a:ext cx="1280478" cy="973023"/>
            </a:xfrm>
            <a:custGeom>
              <a:avLst/>
              <a:gdLst>
                <a:gd name="T0" fmla="*/ 649 w 649"/>
                <a:gd name="T1" fmla="*/ 0 h 694"/>
                <a:gd name="T2" fmla="*/ 649 w 649"/>
                <a:gd name="T3" fmla="*/ 328 h 694"/>
                <a:gd name="T4" fmla="*/ 0 w 649"/>
                <a:gd name="T5" fmla="*/ 694 h 694"/>
                <a:gd name="T6" fmla="*/ 0 w 649"/>
                <a:gd name="T7" fmla="*/ 366 h 694"/>
                <a:gd name="T8" fmla="*/ 649 w 649"/>
                <a:gd name="T9" fmla="*/ 0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9" h="694">
                  <a:moveTo>
                    <a:pt x="649" y="0"/>
                  </a:moveTo>
                  <a:lnTo>
                    <a:pt x="649" y="328"/>
                  </a:lnTo>
                  <a:lnTo>
                    <a:pt x="0" y="694"/>
                  </a:lnTo>
                  <a:lnTo>
                    <a:pt x="0" y="366"/>
                  </a:lnTo>
                  <a:lnTo>
                    <a:pt x="649" y="0"/>
                  </a:lnTo>
                  <a:close/>
                </a:path>
              </a:pathLst>
            </a:custGeom>
            <a:solidFill>
              <a:srgbClr val="5F86CD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6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庞门正道标题体" pitchFamily="2" charset="-122"/>
                <a:ea typeface="庞门正道标题体" pitchFamily="2" charset="-122"/>
              </a:endParaRPr>
            </a:p>
          </p:txBody>
        </p:sp>
        <p:sp>
          <p:nvSpPr>
            <p:cNvPr id="139" name="文本框 138">
              <a:extLst>
                <a:ext uri="{FF2B5EF4-FFF2-40B4-BE49-F238E27FC236}">
                  <a16:creationId xmlns:a16="http://schemas.microsoft.com/office/drawing/2014/main" id="{8E3D2C73-98CD-D867-B313-0AC395CBD228}"/>
                </a:ext>
              </a:extLst>
            </p:cNvPr>
            <p:cNvSpPr txBox="1"/>
            <p:nvPr/>
          </p:nvSpPr>
          <p:spPr>
            <a:xfrm>
              <a:off x="5317791" y="1392758"/>
              <a:ext cx="2210500" cy="120032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zh-CN" sz="7200" b="1" kern="100" dirty="0">
                  <a:solidFill>
                    <a:schemeClr val="tx1">
                      <a:lumMod val="85000"/>
                      <a:lumOff val="15000"/>
                    </a:schemeClr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市</a:t>
              </a:r>
              <a:r>
                <a:rPr lang="en-US" altLang="zh-CN" sz="3200" b="1" kern="1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 </a:t>
              </a:r>
              <a:r>
                <a:rPr lang="zh-CN" altLang="en-US" sz="3200" b="1" kern="1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层面</a:t>
              </a:r>
              <a:endParaRPr lang="zh-CN" altLang="en-US" sz="66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  <p:grpSp>
        <p:nvGrpSpPr>
          <p:cNvPr id="10" name="组合 9">
            <a:extLst>
              <a:ext uri="{FF2B5EF4-FFF2-40B4-BE49-F238E27FC236}">
                <a16:creationId xmlns:a16="http://schemas.microsoft.com/office/drawing/2014/main" id="{01B4437E-80F0-5890-BA8E-2DA9532BA800}"/>
              </a:ext>
            </a:extLst>
          </p:cNvPr>
          <p:cNvGrpSpPr/>
          <p:nvPr/>
        </p:nvGrpSpPr>
        <p:grpSpPr>
          <a:xfrm>
            <a:off x="1919816" y="4216017"/>
            <a:ext cx="2454415" cy="1951016"/>
            <a:chOff x="5135509" y="3302118"/>
            <a:chExt cx="2454415" cy="1951016"/>
          </a:xfrm>
        </p:grpSpPr>
        <p:sp>
          <p:nvSpPr>
            <p:cNvPr id="128" name="Freeform 14">
              <a:extLst>
                <a:ext uri="{FF2B5EF4-FFF2-40B4-BE49-F238E27FC236}">
                  <a16:creationId xmlns:a16="http://schemas.microsoft.com/office/drawing/2014/main" id="{3D19C5A8-07E3-A28C-73BE-0FD82AE94C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5509" y="4312359"/>
              <a:ext cx="1173937" cy="940775"/>
            </a:xfrm>
            <a:custGeom>
              <a:avLst/>
              <a:gdLst>
                <a:gd name="T0" fmla="*/ 595 w 595"/>
                <a:gd name="T1" fmla="*/ 671 h 671"/>
                <a:gd name="T2" fmla="*/ 0 w 595"/>
                <a:gd name="T3" fmla="*/ 328 h 671"/>
                <a:gd name="T4" fmla="*/ 0 w 595"/>
                <a:gd name="T5" fmla="*/ 0 h 671"/>
                <a:gd name="T6" fmla="*/ 595 w 595"/>
                <a:gd name="T7" fmla="*/ 343 h 671"/>
                <a:gd name="T8" fmla="*/ 595 w 595"/>
                <a:gd name="T9" fmla="*/ 671 h 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5" h="671">
                  <a:moveTo>
                    <a:pt x="595" y="671"/>
                  </a:moveTo>
                  <a:lnTo>
                    <a:pt x="0" y="328"/>
                  </a:lnTo>
                  <a:lnTo>
                    <a:pt x="0" y="0"/>
                  </a:lnTo>
                  <a:lnTo>
                    <a:pt x="595" y="343"/>
                  </a:lnTo>
                  <a:lnTo>
                    <a:pt x="595" y="671"/>
                  </a:lnTo>
                  <a:close/>
                </a:path>
              </a:pathLst>
            </a:custGeom>
            <a:solidFill>
              <a:srgbClr val="FC9E0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6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庞门正道标题体" pitchFamily="2" charset="-122"/>
                <a:ea typeface="庞门正道标题体" pitchFamily="2" charset="-122"/>
              </a:endParaRPr>
            </a:p>
          </p:txBody>
        </p:sp>
        <p:sp>
          <p:nvSpPr>
            <p:cNvPr id="129" name="Freeform 15">
              <a:extLst>
                <a:ext uri="{FF2B5EF4-FFF2-40B4-BE49-F238E27FC236}">
                  <a16:creationId xmlns:a16="http://schemas.microsoft.com/office/drawing/2014/main" id="{632A38FB-8145-944F-EC77-763746590F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5509" y="3799208"/>
              <a:ext cx="2454415" cy="994054"/>
            </a:xfrm>
            <a:custGeom>
              <a:avLst/>
              <a:gdLst>
                <a:gd name="T0" fmla="*/ 595 w 1244"/>
                <a:gd name="T1" fmla="*/ 709 h 709"/>
                <a:gd name="T2" fmla="*/ 0 w 1244"/>
                <a:gd name="T3" fmla="*/ 366 h 709"/>
                <a:gd name="T4" fmla="*/ 649 w 1244"/>
                <a:gd name="T5" fmla="*/ 0 h 709"/>
                <a:gd name="T6" fmla="*/ 1244 w 1244"/>
                <a:gd name="T7" fmla="*/ 343 h 709"/>
                <a:gd name="T8" fmla="*/ 595 w 1244"/>
                <a:gd name="T9" fmla="*/ 70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44" h="709">
                  <a:moveTo>
                    <a:pt x="595" y="709"/>
                  </a:moveTo>
                  <a:lnTo>
                    <a:pt x="0" y="366"/>
                  </a:lnTo>
                  <a:lnTo>
                    <a:pt x="649" y="0"/>
                  </a:lnTo>
                  <a:lnTo>
                    <a:pt x="1244" y="343"/>
                  </a:lnTo>
                  <a:lnTo>
                    <a:pt x="595" y="709"/>
                  </a:lnTo>
                  <a:close/>
                </a:path>
              </a:pathLst>
            </a:custGeom>
            <a:solidFill>
              <a:srgbClr val="FC9E0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6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庞门正道标题体" pitchFamily="2" charset="-122"/>
                <a:ea typeface="庞门正道标题体" pitchFamily="2" charset="-122"/>
              </a:endParaRPr>
            </a:p>
          </p:txBody>
        </p:sp>
        <p:sp>
          <p:nvSpPr>
            <p:cNvPr id="130" name="Freeform 16">
              <a:extLst>
                <a:ext uri="{FF2B5EF4-FFF2-40B4-BE49-F238E27FC236}">
                  <a16:creationId xmlns:a16="http://schemas.microsoft.com/office/drawing/2014/main" id="{6968F0FD-0645-9108-F13D-A147E7EAF57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9446" y="4280111"/>
              <a:ext cx="1280478" cy="973023"/>
            </a:xfrm>
            <a:custGeom>
              <a:avLst/>
              <a:gdLst>
                <a:gd name="T0" fmla="*/ 649 w 649"/>
                <a:gd name="T1" fmla="*/ 0 h 694"/>
                <a:gd name="T2" fmla="*/ 649 w 649"/>
                <a:gd name="T3" fmla="*/ 328 h 694"/>
                <a:gd name="T4" fmla="*/ 0 w 649"/>
                <a:gd name="T5" fmla="*/ 694 h 694"/>
                <a:gd name="T6" fmla="*/ 0 w 649"/>
                <a:gd name="T7" fmla="*/ 366 h 694"/>
                <a:gd name="T8" fmla="*/ 649 w 649"/>
                <a:gd name="T9" fmla="*/ 0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9" h="694">
                  <a:moveTo>
                    <a:pt x="649" y="0"/>
                  </a:moveTo>
                  <a:lnTo>
                    <a:pt x="649" y="328"/>
                  </a:lnTo>
                  <a:lnTo>
                    <a:pt x="0" y="694"/>
                  </a:lnTo>
                  <a:lnTo>
                    <a:pt x="0" y="366"/>
                  </a:lnTo>
                  <a:lnTo>
                    <a:pt x="649" y="0"/>
                  </a:lnTo>
                  <a:close/>
                </a:path>
              </a:pathLst>
            </a:custGeom>
            <a:solidFill>
              <a:srgbClr val="FC9E0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6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庞门正道标题体" pitchFamily="2" charset="-122"/>
                <a:ea typeface="庞门正道标题体" pitchFamily="2" charset="-122"/>
              </a:endParaRPr>
            </a:p>
          </p:txBody>
        </p:sp>
        <p:sp>
          <p:nvSpPr>
            <p:cNvPr id="143" name="文本框 142">
              <a:extLst>
                <a:ext uri="{FF2B5EF4-FFF2-40B4-BE49-F238E27FC236}">
                  <a16:creationId xmlns:a16="http://schemas.microsoft.com/office/drawing/2014/main" id="{96EC89EE-4553-23A7-BBBC-4F44DFE28AF7}"/>
                </a:ext>
              </a:extLst>
            </p:cNvPr>
            <p:cNvSpPr txBox="1"/>
            <p:nvPr/>
          </p:nvSpPr>
          <p:spPr>
            <a:xfrm>
              <a:off x="5315871" y="3302118"/>
              <a:ext cx="2210500" cy="120032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sz="7200" b="1" kern="100" dirty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镇</a:t>
              </a:r>
              <a:r>
                <a:rPr lang="en-US" altLang="zh-CN" sz="3200" b="1" kern="1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 </a:t>
              </a:r>
              <a:r>
                <a:rPr lang="zh-CN" altLang="en-US" sz="3200" b="1" kern="1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层面</a:t>
              </a:r>
              <a:endParaRPr lang="zh-CN" altLang="en-US" sz="66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cxnSp>
        <p:nvCxnSpPr>
          <p:cNvPr id="12" name="直接箭头连接符 11">
            <a:extLst>
              <a:ext uri="{FF2B5EF4-FFF2-40B4-BE49-F238E27FC236}">
                <a16:creationId xmlns:a16="http://schemas.microsoft.com/office/drawing/2014/main" id="{BD0EB088-E9B3-0B53-595D-318176523EAC}"/>
              </a:ext>
            </a:extLst>
          </p:cNvPr>
          <p:cNvCxnSpPr>
            <a:cxnSpLocks/>
            <a:stCxn id="95" idx="2"/>
            <a:endCxn id="144" idx="0"/>
          </p:cNvCxnSpPr>
          <p:nvPr/>
        </p:nvCxnSpPr>
        <p:spPr>
          <a:xfrm>
            <a:off x="9755279" y="1714429"/>
            <a:ext cx="1" cy="25530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文本框 143">
            <a:extLst>
              <a:ext uri="{FF2B5EF4-FFF2-40B4-BE49-F238E27FC236}">
                <a16:creationId xmlns:a16="http://schemas.microsoft.com/office/drawing/2014/main" id="{F85A4D50-29D8-D186-ADF7-0A6409FCF225}"/>
              </a:ext>
            </a:extLst>
          </p:cNvPr>
          <p:cNvSpPr txBox="1"/>
          <p:nvPr/>
        </p:nvSpPr>
        <p:spPr>
          <a:xfrm>
            <a:off x="8148030" y="1969738"/>
            <a:ext cx="3214499" cy="1200329"/>
          </a:xfrm>
          <a:prstGeom prst="rect">
            <a:avLst/>
          </a:prstGeom>
          <a:solidFill>
            <a:srgbClr val="FFFFFF">
              <a:alpha val="47059"/>
            </a:srgbClr>
          </a:solidFill>
        </p:spPr>
        <p:txBody>
          <a:bodyPr wrap="square">
            <a:spAutoFit/>
          </a:bodyPr>
          <a:lstStyle/>
          <a:p>
            <a:r>
              <a:rPr lang="zh-CN" altLang="zh-CN" sz="2400" b="1" kern="100" dirty="0">
                <a:latin typeface="仿宋" panose="02010609060101010101" pitchFamily="49" charset="-122"/>
                <a:ea typeface="仿宋" panose="02010609060101010101" pitchFamily="49" charset="-122"/>
                <a:cs typeface="Times New Roman" panose="02020603050405020304" pitchFamily="18" charset="0"/>
              </a:rPr>
              <a:t>梳理未来市级空间的组织关系，明确市级</a:t>
            </a:r>
            <a:r>
              <a:rPr lang="zh-CN" altLang="zh-CN" sz="2400" b="1" kern="100" dirty="0">
                <a:solidFill>
                  <a:srgbClr val="C00000"/>
                </a:solidFill>
                <a:latin typeface="仿宋" panose="02010609060101010101" pitchFamily="49" charset="-122"/>
                <a:ea typeface="仿宋" panose="02010609060101010101" pitchFamily="49" charset="-122"/>
                <a:cs typeface="Times New Roman" panose="02020603050405020304" pitchFamily="18" charset="0"/>
              </a:rPr>
              <a:t>重点地区、重点廊道</a:t>
            </a:r>
            <a:r>
              <a:rPr lang="zh-CN" altLang="en-US" sz="2400" b="1" kern="100" dirty="0">
                <a:solidFill>
                  <a:srgbClr val="C00000"/>
                </a:solidFill>
                <a:latin typeface="仿宋" panose="02010609060101010101" pitchFamily="49" charset="-122"/>
                <a:ea typeface="仿宋" panose="02010609060101010101" pitchFamily="49" charset="-122"/>
                <a:cs typeface="Times New Roman" panose="02020603050405020304" pitchFamily="18" charset="0"/>
              </a:rPr>
              <a:t>。</a:t>
            </a:r>
          </a:p>
        </p:txBody>
      </p:sp>
      <p:sp>
        <p:nvSpPr>
          <p:cNvPr id="145" name="文本框 144">
            <a:extLst>
              <a:ext uri="{FF2B5EF4-FFF2-40B4-BE49-F238E27FC236}">
                <a16:creationId xmlns:a16="http://schemas.microsoft.com/office/drawing/2014/main" id="{D92B9367-BA51-1346-0971-A0A1868D58E4}"/>
              </a:ext>
            </a:extLst>
          </p:cNvPr>
          <p:cNvSpPr txBox="1"/>
          <p:nvPr/>
        </p:nvSpPr>
        <p:spPr>
          <a:xfrm>
            <a:off x="4712435" y="4226048"/>
            <a:ext cx="439818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zh-CN" altLang="en-US" sz="2400" b="1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已</a:t>
            </a:r>
            <a:r>
              <a:rPr lang="zh-CN" altLang="en-US" sz="2400" b="1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开展</a:t>
            </a:r>
            <a:r>
              <a:rPr lang="zh-CN" altLang="en-US" sz="2400" b="1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上下结合的边界划定，进入逐镇的合理性审查阶段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46" name="直接箭头连接符 145">
            <a:extLst>
              <a:ext uri="{FF2B5EF4-FFF2-40B4-BE49-F238E27FC236}">
                <a16:creationId xmlns:a16="http://schemas.microsoft.com/office/drawing/2014/main" id="{C148E674-45F5-C80C-AA2D-3E464A8D4810}"/>
              </a:ext>
            </a:extLst>
          </p:cNvPr>
          <p:cNvCxnSpPr>
            <a:cxnSpLocks/>
            <a:stCxn id="145" idx="2"/>
          </p:cNvCxnSpPr>
          <p:nvPr/>
        </p:nvCxnSpPr>
        <p:spPr>
          <a:xfrm>
            <a:off x="6911529" y="5057045"/>
            <a:ext cx="0" cy="28117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文本框 146">
            <a:extLst>
              <a:ext uri="{FF2B5EF4-FFF2-40B4-BE49-F238E27FC236}">
                <a16:creationId xmlns:a16="http://schemas.microsoft.com/office/drawing/2014/main" id="{A454A6F9-0F40-7096-DF3F-0B8D9069F41C}"/>
              </a:ext>
            </a:extLst>
          </p:cNvPr>
          <p:cNvSpPr txBox="1"/>
          <p:nvPr/>
        </p:nvSpPr>
        <p:spPr>
          <a:xfrm>
            <a:off x="4976605" y="5312359"/>
            <a:ext cx="6711533" cy="1200329"/>
          </a:xfrm>
          <a:prstGeom prst="rect">
            <a:avLst/>
          </a:prstGeom>
          <a:solidFill>
            <a:schemeClr val="accent2">
              <a:lumMod val="20000"/>
              <a:lumOff val="80000"/>
              <a:alpha val="58039"/>
            </a:schemeClr>
          </a:solidFill>
        </p:spPr>
        <p:txBody>
          <a:bodyPr wrap="square">
            <a:spAutoFit/>
          </a:bodyPr>
          <a:lstStyle/>
          <a:p>
            <a:r>
              <a:rPr lang="zh-CN" altLang="en-US" sz="2400" b="1" kern="100" dirty="0">
                <a:latin typeface="仿宋" panose="02010609060101010101" pitchFamily="49" charset="-122"/>
                <a:ea typeface="仿宋" panose="02010609060101010101" pitchFamily="49" charset="-122"/>
                <a:cs typeface="Times New Roman" panose="02020603050405020304" pitchFamily="18" charset="0"/>
              </a:rPr>
              <a:t>作为技术手段辅助镇街、园区</a:t>
            </a:r>
            <a:r>
              <a:rPr lang="zh-CN" altLang="en-US" sz="2400" b="1" kern="100" dirty="0">
                <a:solidFill>
                  <a:srgbClr val="C00000"/>
                </a:solidFill>
                <a:latin typeface="仿宋" panose="02010609060101010101" pitchFamily="49" charset="-122"/>
                <a:ea typeface="仿宋" panose="02010609060101010101" pitchFamily="49" charset="-122"/>
                <a:cs typeface="Times New Roman" panose="02020603050405020304" pitchFamily="18" charset="0"/>
              </a:rPr>
              <a:t>锚固自身总体布局</a:t>
            </a:r>
            <a:r>
              <a:rPr lang="zh-CN" altLang="en-US" sz="2400" b="1" kern="100" dirty="0">
                <a:latin typeface="仿宋" panose="02010609060101010101" pitchFamily="49" charset="-122"/>
                <a:ea typeface="仿宋" panose="02010609060101010101" pitchFamily="49" charset="-122"/>
                <a:cs typeface="Times New Roman" panose="02020603050405020304" pitchFamily="18" charset="0"/>
              </a:rPr>
              <a:t>，实现城市、产业、乡村、耕地、生态等功能的</a:t>
            </a:r>
            <a:r>
              <a:rPr lang="zh-CN" altLang="en-US" sz="2400" b="1" kern="100" dirty="0">
                <a:solidFill>
                  <a:srgbClr val="C00000"/>
                </a:solidFill>
                <a:latin typeface="仿宋" panose="02010609060101010101" pitchFamily="49" charset="-122"/>
                <a:ea typeface="仿宋" panose="02010609060101010101" pitchFamily="49" charset="-122"/>
                <a:cs typeface="Times New Roman" panose="02020603050405020304" pitchFamily="18" charset="0"/>
              </a:rPr>
              <a:t>分类归置。</a:t>
            </a:r>
          </a:p>
        </p:txBody>
      </p:sp>
      <p:sp>
        <p:nvSpPr>
          <p:cNvPr id="69" name="矩形 68">
            <a:extLst>
              <a:ext uri="{FF2B5EF4-FFF2-40B4-BE49-F238E27FC236}">
                <a16:creationId xmlns:a16="http://schemas.microsoft.com/office/drawing/2014/main" id="{CBC33E3E-A489-C12E-0094-96D2620BDB9D}"/>
              </a:ext>
            </a:extLst>
          </p:cNvPr>
          <p:cNvSpPr/>
          <p:nvPr/>
        </p:nvSpPr>
        <p:spPr>
          <a:xfrm>
            <a:off x="-10562" y="1603729"/>
            <a:ext cx="4335829" cy="7174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7" name="文本框 66">
            <a:extLst>
              <a:ext uri="{FF2B5EF4-FFF2-40B4-BE49-F238E27FC236}">
                <a16:creationId xmlns:a16="http://schemas.microsoft.com/office/drawing/2014/main" id="{FABFB23D-A52F-5FC6-749F-6AF97946132D}"/>
              </a:ext>
            </a:extLst>
          </p:cNvPr>
          <p:cNvSpPr txBox="1"/>
          <p:nvPr/>
        </p:nvSpPr>
        <p:spPr>
          <a:xfrm>
            <a:off x="441630" y="1742939"/>
            <a:ext cx="35704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sz="2400" b="1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建立一个有序的空间秩序</a:t>
            </a:r>
            <a:endParaRPr lang="zh-CN" altLang="en-US" sz="2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6416691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1.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kWtLaD4UqssO3p3xxDk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g1uDwg8o0ibtyoFk1Fz3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kWtLaD4UqssO3p3xxDk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Wbd8f0FUGkZX12MQEh1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2DmDrrgfEqqWmUWg3LZ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1.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2457Y5e0iCc_3uI7RDG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NvgBOeTEKfn.zm9kvX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5tOe82GUGrZXUed6GUw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U0mheyuUOSN_e7C8gu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98W_SBeEuNc3X3WC6Tc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jS5yb9R0aBxRSYxNYni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d97q9wkG10jdALdGKp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z2VlrZ7mke56eAKKwtmLQ"/>
</p:tagLst>
</file>

<file path=ppt/theme/theme1.xml><?xml version="1.0" encoding="utf-8"?>
<a:theme xmlns:a="http://schemas.openxmlformats.org/drawingml/2006/main" name="1_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70</TotalTime>
  <Words>1616</Words>
  <Application>Microsoft Office PowerPoint</Application>
  <PresentationFormat>宽屏</PresentationFormat>
  <Paragraphs>197</Paragraphs>
  <Slides>12</Slides>
  <Notes>12</Notes>
  <HiddenSlides>0</HiddenSlides>
  <MMClips>0</MMClips>
  <ScaleCrop>false</ScaleCrop>
  <HeadingPairs>
    <vt:vector size="6" baseType="variant">
      <vt:variant>
        <vt:lpstr>已用的字体</vt:lpstr>
      </vt:variant>
      <vt:variant>
        <vt:i4>13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12</vt:i4>
      </vt:variant>
    </vt:vector>
  </HeadingPairs>
  <TitlesOfParts>
    <vt:vector size="26" baseType="lpstr">
      <vt:lpstr>UKIJ Qolyazma</vt:lpstr>
      <vt:lpstr>等线</vt:lpstr>
      <vt:lpstr>等线 Light</vt:lpstr>
      <vt:lpstr>方正水云简体_粗</vt:lpstr>
      <vt:lpstr>仿宋</vt:lpstr>
      <vt:lpstr>黑体</vt:lpstr>
      <vt:lpstr>华文仿宋</vt:lpstr>
      <vt:lpstr>楷体</vt:lpstr>
      <vt:lpstr>李旭科毛笔行书</vt:lpstr>
      <vt:lpstr>庞门正道标题体</vt:lpstr>
      <vt:lpstr>微软雅黑</vt:lpstr>
      <vt:lpstr>Arial</vt:lpstr>
      <vt:lpstr>Wingdings</vt:lpstr>
      <vt:lpstr>1_Office 主题​​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潘卓鸿</dc:creator>
  <cp:lastModifiedBy>杨 焯斯</cp:lastModifiedBy>
  <cp:revision>32</cp:revision>
  <dcterms:created xsi:type="dcterms:W3CDTF">2022-07-20T09:13:32Z</dcterms:created>
  <dcterms:modified xsi:type="dcterms:W3CDTF">2022-10-12T13:55:33Z</dcterms:modified>
</cp:coreProperties>
</file>